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wmv" ContentType="video/x-ms-wmv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9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8" r:id="rId2"/>
    <p:sldMasterId id="2147483672" r:id="rId3"/>
    <p:sldMasterId id="2147483685" r:id="rId4"/>
    <p:sldMasterId id="2147483699" r:id="rId5"/>
    <p:sldMasterId id="2147483736" r:id="rId6"/>
    <p:sldMasterId id="2147483752" r:id="rId7"/>
  </p:sldMasterIdLst>
  <p:notesMasterIdLst>
    <p:notesMasterId r:id="rId45"/>
  </p:notesMasterIdLst>
  <p:handoutMasterIdLst>
    <p:handoutMasterId r:id="rId46"/>
  </p:handoutMasterIdLst>
  <p:sldIdLst>
    <p:sldId id="740" r:id="rId8"/>
    <p:sldId id="702" r:id="rId9"/>
    <p:sldId id="751" r:id="rId10"/>
    <p:sldId id="753" r:id="rId11"/>
    <p:sldId id="754" r:id="rId12"/>
    <p:sldId id="755" r:id="rId13"/>
    <p:sldId id="756" r:id="rId14"/>
    <p:sldId id="757" r:id="rId15"/>
    <p:sldId id="731" r:id="rId16"/>
    <p:sldId id="758" r:id="rId17"/>
    <p:sldId id="759" r:id="rId18"/>
    <p:sldId id="760" r:id="rId19"/>
    <p:sldId id="761" r:id="rId20"/>
    <p:sldId id="762" r:id="rId21"/>
    <p:sldId id="763" r:id="rId22"/>
    <p:sldId id="764" r:id="rId23"/>
    <p:sldId id="746" r:id="rId24"/>
    <p:sldId id="701" r:id="rId25"/>
    <p:sldId id="723" r:id="rId26"/>
    <p:sldId id="747" r:id="rId27"/>
    <p:sldId id="765" r:id="rId28"/>
    <p:sldId id="766" r:id="rId29"/>
    <p:sldId id="767" r:id="rId30"/>
    <p:sldId id="768" r:id="rId31"/>
    <p:sldId id="770" r:id="rId32"/>
    <p:sldId id="711" r:id="rId33"/>
    <p:sldId id="712" r:id="rId34"/>
    <p:sldId id="729" r:id="rId35"/>
    <p:sldId id="730" r:id="rId36"/>
    <p:sldId id="749" r:id="rId37"/>
    <p:sldId id="722" r:id="rId38"/>
    <p:sldId id="739" r:id="rId39"/>
    <p:sldId id="750" r:id="rId40"/>
    <p:sldId id="737" r:id="rId41"/>
    <p:sldId id="738" r:id="rId42"/>
    <p:sldId id="718" r:id="rId43"/>
    <p:sldId id="258" r:id="rId44"/>
  </p:sldIdLst>
  <p:sldSz cx="12192000" cy="6858000"/>
  <p:notesSz cx="7099300" cy="10234613"/>
  <p:custDataLst>
    <p:tags r:id="rId47"/>
  </p:custDataLst>
  <p:defaultTextStyle>
    <a:defPPr>
      <a:defRPr lang="nl-BE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3393" userDrawn="1">
          <p15:clr>
            <a:srgbClr val="A4A3A4"/>
          </p15:clr>
        </p15:guide>
        <p15:guide id="3" orient="horz" pos="618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ït Abderrahim Hamid" initials="AAH" lastIdx="3" clrIdx="0"/>
  <p:cmAuthor id="2" name="De Bruyn Didier" initials="DBD" lastIdx="10" clrIdx="1">
    <p:extLst/>
  </p:cmAuthor>
  <p:cmAuthor id="3" name="De Preter Stijn" initials="DPS" lastIdx="17" clrIdx="2">
    <p:extLst/>
  </p:cmAuthor>
  <p:cmAuthor id="4" name="Hamid Aït Abderrahim" initials="haitabde" lastIdx="4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DC3"/>
    <a:srgbClr val="F36D47"/>
    <a:srgbClr val="F3663F"/>
    <a:srgbClr val="898989"/>
    <a:srgbClr val="3E8FCD"/>
    <a:srgbClr val="0DA9FF"/>
    <a:srgbClr val="FFFF99"/>
    <a:srgbClr val="96D9FF"/>
    <a:srgbClr val="00A4FF"/>
    <a:srgbClr val="40B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114" autoAdjust="0"/>
    <p:restoredTop sz="95220" autoAdjust="0"/>
  </p:normalViewPr>
  <p:slideViewPr>
    <p:cSldViewPr>
      <p:cViewPr varScale="1">
        <p:scale>
          <a:sx n="79" d="100"/>
          <a:sy n="79" d="100"/>
        </p:scale>
        <p:origin x="110" y="264"/>
      </p:cViewPr>
      <p:guideLst>
        <p:guide orient="horz" pos="1207"/>
        <p:guide pos="3393"/>
        <p:guide orient="horz" pos="61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tags" Target="tags/tag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commentAuthors" Target="commentAuthors.xml"/><Relationship Id="rId8" Type="http://schemas.openxmlformats.org/officeDocument/2006/relationships/slide" Target="slides/slide1.xml"/><Relationship Id="rId51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9249BC-E7A1-4962-A1B3-4FCF1191CDD4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BE"/>
        </a:p>
      </dgm:t>
    </dgm:pt>
    <dgm:pt modelId="{BA4F9824-C3A7-444C-BE80-9039DB3E8243}">
      <dgm:prSet phldrT="[Text]"/>
      <dgm:spPr/>
      <dgm:t>
        <a:bodyPr/>
        <a:lstStyle/>
        <a:p>
          <a:r>
            <a:rPr lang="nl-BE" dirty="0" smtClean="0"/>
            <a:t>1 ton </a:t>
          </a:r>
          <a:r>
            <a:rPr lang="nl-BE" dirty="0" err="1" smtClean="0"/>
            <a:t>UO</a:t>
          </a:r>
          <a:r>
            <a:rPr lang="nl-BE" baseline="-25000" dirty="0" err="1" smtClean="0"/>
            <a:t>2</a:t>
          </a:r>
          <a:r>
            <a:rPr lang="nl-BE" baseline="-25000" dirty="0" smtClean="0"/>
            <a:t> </a:t>
          </a:r>
          <a:r>
            <a:rPr lang="nl-BE" baseline="0" dirty="0" err="1" smtClean="0"/>
            <a:t>used</a:t>
          </a:r>
          <a:r>
            <a:rPr lang="nl-BE" baseline="0" dirty="0" smtClean="0"/>
            <a:t> </a:t>
          </a:r>
          <a:r>
            <a:rPr lang="nl-BE" baseline="0" dirty="0" err="1" smtClean="0"/>
            <a:t>fuel</a:t>
          </a:r>
          <a:r>
            <a:rPr lang="nl-BE" baseline="0" dirty="0" smtClean="0"/>
            <a:t> (50 </a:t>
          </a:r>
          <a:r>
            <a:rPr lang="nl-BE" baseline="0" dirty="0" err="1" smtClean="0"/>
            <a:t>GWd</a:t>
          </a:r>
          <a:r>
            <a:rPr lang="nl-BE" baseline="0" dirty="0" smtClean="0"/>
            <a:t>/t)</a:t>
          </a:r>
          <a:endParaRPr lang="nl-BE" baseline="0" dirty="0"/>
        </a:p>
      </dgm:t>
    </dgm:pt>
    <dgm:pt modelId="{2720627F-C4D7-4A36-BC7C-07AAC0B05DB6}" type="parTrans" cxnId="{3EA5FAC9-EBC9-4910-B884-48BD526E96D8}">
      <dgm:prSet/>
      <dgm:spPr/>
      <dgm:t>
        <a:bodyPr/>
        <a:lstStyle/>
        <a:p>
          <a:endParaRPr lang="nl-BE"/>
        </a:p>
      </dgm:t>
    </dgm:pt>
    <dgm:pt modelId="{9C37A826-52CE-4E02-B584-2DBFBF973057}" type="sibTrans" cxnId="{3EA5FAC9-EBC9-4910-B884-48BD526E96D8}">
      <dgm:prSet/>
      <dgm:spPr/>
      <dgm:t>
        <a:bodyPr/>
        <a:lstStyle/>
        <a:p>
          <a:endParaRPr lang="nl-BE"/>
        </a:p>
      </dgm:t>
    </dgm:pt>
    <dgm:pt modelId="{3AA63BB2-D220-49E4-AB73-0BC881B65AE9}">
      <dgm:prSet phldrT="[Text]"/>
      <dgm:spPr>
        <a:solidFill>
          <a:srgbClr val="FF0000"/>
        </a:solidFill>
      </dgm:spPr>
      <dgm:t>
        <a:bodyPr/>
        <a:lstStyle/>
        <a:p>
          <a:r>
            <a:rPr lang="nl-BE" dirty="0" smtClean="0"/>
            <a:t>93,5 % U</a:t>
          </a:r>
          <a:endParaRPr lang="nl-BE" dirty="0"/>
        </a:p>
      </dgm:t>
    </dgm:pt>
    <dgm:pt modelId="{A484ADE6-F5F9-4EDB-8129-6CD114DE4349}" type="parTrans" cxnId="{D2390B40-7795-4B70-8BD4-09CF5752A871}">
      <dgm:prSet/>
      <dgm:spPr/>
      <dgm:t>
        <a:bodyPr/>
        <a:lstStyle/>
        <a:p>
          <a:endParaRPr lang="nl-BE"/>
        </a:p>
      </dgm:t>
    </dgm:pt>
    <dgm:pt modelId="{A4E063BB-3743-45C3-A911-AB7504BC1289}" type="sibTrans" cxnId="{D2390B40-7795-4B70-8BD4-09CF5752A871}">
      <dgm:prSet/>
      <dgm:spPr/>
      <dgm:t>
        <a:bodyPr/>
        <a:lstStyle/>
        <a:p>
          <a:endParaRPr lang="nl-BE"/>
        </a:p>
      </dgm:t>
    </dgm:pt>
    <dgm:pt modelId="{BAB512AC-91CC-4ECD-8A47-B7C96AEFC0C6}">
      <dgm:prSet phldrT="[Text]"/>
      <dgm:spPr>
        <a:solidFill>
          <a:srgbClr val="FF0000"/>
        </a:solidFill>
      </dgm:spPr>
      <dgm:t>
        <a:bodyPr/>
        <a:lstStyle/>
        <a:p>
          <a:r>
            <a:rPr lang="nl-BE" dirty="0" smtClean="0"/>
            <a:t>1,2 % Pu</a:t>
          </a:r>
          <a:endParaRPr lang="nl-BE" dirty="0"/>
        </a:p>
      </dgm:t>
    </dgm:pt>
    <dgm:pt modelId="{4D411A30-F2D6-431E-B7C9-055A443D931A}" type="parTrans" cxnId="{600454DB-FE6E-4FB1-8337-AD4F71C6AEEB}">
      <dgm:prSet/>
      <dgm:spPr/>
      <dgm:t>
        <a:bodyPr/>
        <a:lstStyle/>
        <a:p>
          <a:endParaRPr lang="nl-BE"/>
        </a:p>
      </dgm:t>
    </dgm:pt>
    <dgm:pt modelId="{28780325-97CB-4F9A-B898-CDF9AAFF4505}" type="sibTrans" cxnId="{600454DB-FE6E-4FB1-8337-AD4F71C6AEEB}">
      <dgm:prSet/>
      <dgm:spPr/>
      <dgm:t>
        <a:bodyPr/>
        <a:lstStyle/>
        <a:p>
          <a:endParaRPr lang="nl-BE"/>
        </a:p>
      </dgm:t>
    </dgm:pt>
    <dgm:pt modelId="{D483006C-0E8D-44FE-9941-1EF6FC14AC4C}">
      <dgm:prSet phldrT="[Text]"/>
      <dgm:spPr>
        <a:solidFill>
          <a:srgbClr val="FF0000"/>
        </a:solidFill>
      </dgm:spPr>
      <dgm:t>
        <a:bodyPr/>
        <a:lstStyle/>
        <a:p>
          <a:r>
            <a:rPr lang="nl-BE" dirty="0" smtClean="0"/>
            <a:t>0,2 % </a:t>
          </a:r>
          <a:r>
            <a:rPr lang="nl-BE" dirty="0" err="1" smtClean="0"/>
            <a:t>MAs</a:t>
          </a:r>
          <a:endParaRPr lang="nl-BE" dirty="0"/>
        </a:p>
      </dgm:t>
    </dgm:pt>
    <dgm:pt modelId="{340211CC-6173-4ACC-8885-C9E8A415F3C4}" type="parTrans" cxnId="{759E9FAD-FD32-48E4-865A-7A2980CB6E51}">
      <dgm:prSet/>
      <dgm:spPr/>
      <dgm:t>
        <a:bodyPr/>
        <a:lstStyle/>
        <a:p>
          <a:endParaRPr lang="nl-BE"/>
        </a:p>
      </dgm:t>
    </dgm:pt>
    <dgm:pt modelId="{75FE9F3E-47D2-4934-B74A-08E2D1FC71F7}" type="sibTrans" cxnId="{759E9FAD-FD32-48E4-865A-7A2980CB6E51}">
      <dgm:prSet/>
      <dgm:spPr/>
      <dgm:t>
        <a:bodyPr/>
        <a:lstStyle/>
        <a:p>
          <a:endParaRPr lang="nl-BE"/>
        </a:p>
      </dgm:t>
    </dgm:pt>
    <dgm:pt modelId="{38CC7F77-C9EC-4DAF-BE52-A13C0897C37F}">
      <dgm:prSet phldrT="[Text]"/>
      <dgm:spPr>
        <a:solidFill>
          <a:srgbClr val="FF0000"/>
        </a:solidFill>
      </dgm:spPr>
      <dgm:t>
        <a:bodyPr/>
        <a:lstStyle/>
        <a:p>
          <a:r>
            <a:rPr lang="nl-BE" dirty="0" err="1" smtClean="0"/>
            <a:t>Vitrified</a:t>
          </a:r>
          <a:r>
            <a:rPr lang="nl-BE" dirty="0" smtClean="0"/>
            <a:t> </a:t>
          </a:r>
          <a:r>
            <a:rPr lang="nl-BE" dirty="0" err="1" smtClean="0"/>
            <a:t>with</a:t>
          </a:r>
          <a:r>
            <a:rPr lang="nl-BE" dirty="0" smtClean="0"/>
            <a:t> </a:t>
          </a:r>
          <a:r>
            <a:rPr lang="nl-BE" dirty="0" err="1" smtClean="0"/>
            <a:t>FPs</a:t>
          </a:r>
          <a:endParaRPr lang="nl-BE" dirty="0" smtClean="0"/>
        </a:p>
        <a:p>
          <a:r>
            <a:rPr lang="nl-BE" dirty="0" smtClean="0"/>
            <a:t>(in 2)</a:t>
          </a:r>
          <a:endParaRPr lang="nl-BE" dirty="0"/>
        </a:p>
      </dgm:t>
    </dgm:pt>
    <dgm:pt modelId="{BCBBA6F0-9B3B-4371-A544-11B7D9605E0F}" type="parTrans" cxnId="{23EAC951-E98D-413C-A36D-A9DAC3DA3355}">
      <dgm:prSet/>
      <dgm:spPr/>
      <dgm:t>
        <a:bodyPr/>
        <a:lstStyle/>
        <a:p>
          <a:endParaRPr lang="nl-BE"/>
        </a:p>
      </dgm:t>
    </dgm:pt>
    <dgm:pt modelId="{CA119EB0-992A-4B72-BECF-527838D78CDA}" type="sibTrans" cxnId="{23EAC951-E98D-413C-A36D-A9DAC3DA3355}">
      <dgm:prSet/>
      <dgm:spPr/>
      <dgm:t>
        <a:bodyPr/>
        <a:lstStyle/>
        <a:p>
          <a:endParaRPr lang="nl-BE"/>
        </a:p>
      </dgm:t>
    </dgm:pt>
    <dgm:pt modelId="{97F233B0-42AD-4ED0-842F-1600F87C24A6}">
      <dgm:prSet phldrT="[Text]"/>
      <dgm:spPr>
        <a:solidFill>
          <a:srgbClr val="FF0000"/>
        </a:solidFill>
      </dgm:spPr>
      <dgm:t>
        <a:bodyPr/>
        <a:lstStyle/>
        <a:p>
          <a:r>
            <a:rPr lang="nl-BE" dirty="0" err="1" smtClean="0"/>
            <a:t>Transmuted</a:t>
          </a:r>
          <a:r>
            <a:rPr lang="nl-BE" dirty="0" smtClean="0"/>
            <a:t> is ADS</a:t>
          </a:r>
        </a:p>
        <a:p>
          <a:r>
            <a:rPr lang="nl-BE" dirty="0" smtClean="0"/>
            <a:t>(in 3)</a:t>
          </a:r>
          <a:endParaRPr lang="nl-BE" dirty="0"/>
        </a:p>
      </dgm:t>
    </dgm:pt>
    <dgm:pt modelId="{2EE3C2E9-2269-4F7C-8ED1-61E16F0C7A65}" type="parTrans" cxnId="{9D036665-A25B-44C2-B5B1-42B854E2329B}">
      <dgm:prSet/>
      <dgm:spPr/>
      <dgm:t>
        <a:bodyPr/>
        <a:lstStyle/>
        <a:p>
          <a:endParaRPr lang="nl-BE"/>
        </a:p>
      </dgm:t>
    </dgm:pt>
    <dgm:pt modelId="{9DC8C3B4-D867-43DD-9087-D25301930BA6}" type="sibTrans" cxnId="{9D036665-A25B-44C2-B5B1-42B854E2329B}">
      <dgm:prSet/>
      <dgm:spPr/>
      <dgm:t>
        <a:bodyPr/>
        <a:lstStyle/>
        <a:p>
          <a:endParaRPr lang="nl-BE"/>
        </a:p>
      </dgm:t>
    </dgm:pt>
    <dgm:pt modelId="{23340520-FC94-41B1-B8BB-A809DA4A2404}">
      <dgm:prSet phldrT="[Text]"/>
      <dgm:spPr>
        <a:solidFill>
          <a:srgbClr val="FF0000"/>
        </a:solidFill>
      </dgm:spPr>
      <dgm:t>
        <a:bodyPr/>
        <a:lstStyle/>
        <a:p>
          <a:r>
            <a:rPr lang="nl-BE" baseline="0" dirty="0" smtClean="0"/>
            <a:t>~</a:t>
          </a:r>
          <a:r>
            <a:rPr lang="nl-BE" dirty="0" smtClean="0"/>
            <a:t>5,1 % </a:t>
          </a:r>
          <a:r>
            <a:rPr lang="nl-BE" dirty="0" err="1" smtClean="0"/>
            <a:t>FPs</a:t>
          </a:r>
          <a:endParaRPr lang="nl-BE" dirty="0"/>
        </a:p>
      </dgm:t>
    </dgm:pt>
    <dgm:pt modelId="{4A140623-EB82-43F4-B9B3-7AA36AD6F257}" type="parTrans" cxnId="{B5E193FA-2493-49DC-AD58-2668D30FCBFA}">
      <dgm:prSet/>
      <dgm:spPr/>
      <dgm:t>
        <a:bodyPr/>
        <a:lstStyle/>
        <a:p>
          <a:endParaRPr lang="nl-BE"/>
        </a:p>
      </dgm:t>
    </dgm:pt>
    <dgm:pt modelId="{884DF01E-C33E-4966-A1E1-67D0673B41F4}" type="sibTrans" cxnId="{B5E193FA-2493-49DC-AD58-2668D30FCBFA}">
      <dgm:prSet/>
      <dgm:spPr/>
      <dgm:t>
        <a:bodyPr/>
        <a:lstStyle/>
        <a:p>
          <a:endParaRPr lang="nl-BE"/>
        </a:p>
      </dgm:t>
    </dgm:pt>
    <dgm:pt modelId="{740198B6-0B32-4C97-AF0A-C63F72C01681}" type="pres">
      <dgm:prSet presAssocID="{A29249BC-E7A1-4962-A1B3-4FCF1191CDD4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nl-BE"/>
        </a:p>
      </dgm:t>
    </dgm:pt>
    <dgm:pt modelId="{E6DABB70-3A8A-491E-B1B1-98B54C43A82D}" type="pres">
      <dgm:prSet presAssocID="{BA4F9824-C3A7-444C-BE80-9039DB3E8243}" presName="root1" presStyleCnt="0"/>
      <dgm:spPr/>
    </dgm:pt>
    <dgm:pt modelId="{5F9C7946-2B21-42E4-9265-4FA436ED9843}" type="pres">
      <dgm:prSet presAssocID="{BA4F9824-C3A7-444C-BE80-9039DB3E8243}" presName="LevelOneTextNode" presStyleLbl="node0" presStyleIdx="0" presStyleCnt="1" custScaleY="129377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A7F64AF7-0AE2-45CD-AE86-CA0C0219EF4E}" type="pres">
      <dgm:prSet presAssocID="{BA4F9824-C3A7-444C-BE80-9039DB3E8243}" presName="level2hierChild" presStyleCnt="0"/>
      <dgm:spPr/>
    </dgm:pt>
    <dgm:pt modelId="{5710D759-510D-4BDA-99AD-8A8E6F07A362}" type="pres">
      <dgm:prSet presAssocID="{A484ADE6-F5F9-4EDB-8129-6CD114DE4349}" presName="conn2-1" presStyleLbl="parChTrans1D2" presStyleIdx="0" presStyleCnt="6"/>
      <dgm:spPr/>
      <dgm:t>
        <a:bodyPr/>
        <a:lstStyle/>
        <a:p>
          <a:endParaRPr lang="nl-BE"/>
        </a:p>
      </dgm:t>
    </dgm:pt>
    <dgm:pt modelId="{70D049DB-14A0-47D3-A62D-EC40E2752516}" type="pres">
      <dgm:prSet presAssocID="{A484ADE6-F5F9-4EDB-8129-6CD114DE4349}" presName="connTx" presStyleLbl="parChTrans1D2" presStyleIdx="0" presStyleCnt="6"/>
      <dgm:spPr/>
      <dgm:t>
        <a:bodyPr/>
        <a:lstStyle/>
        <a:p>
          <a:endParaRPr lang="nl-BE"/>
        </a:p>
      </dgm:t>
    </dgm:pt>
    <dgm:pt modelId="{446C7C1F-F463-4D41-B54E-4DE33E01D9FF}" type="pres">
      <dgm:prSet presAssocID="{3AA63BB2-D220-49E4-AB73-0BC881B65AE9}" presName="root2" presStyleCnt="0"/>
      <dgm:spPr/>
    </dgm:pt>
    <dgm:pt modelId="{B07DD331-6F93-4CE1-B33F-D15937EF6D2A}" type="pres">
      <dgm:prSet presAssocID="{3AA63BB2-D220-49E4-AB73-0BC881B65AE9}" presName="LevelTwoTextNode" presStyleLbl="node2" presStyleIdx="0" presStyleCnt="6" custScaleY="104109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656D1499-B2CB-4D97-AF72-5D7A06E1DB6D}" type="pres">
      <dgm:prSet presAssocID="{3AA63BB2-D220-49E4-AB73-0BC881B65AE9}" presName="level3hierChild" presStyleCnt="0"/>
      <dgm:spPr/>
    </dgm:pt>
    <dgm:pt modelId="{E279D713-FAE2-4661-B870-7DC5C82658B5}" type="pres">
      <dgm:prSet presAssocID="{4D411A30-F2D6-431E-B7C9-055A443D931A}" presName="conn2-1" presStyleLbl="parChTrans1D2" presStyleIdx="1" presStyleCnt="6"/>
      <dgm:spPr/>
      <dgm:t>
        <a:bodyPr/>
        <a:lstStyle/>
        <a:p>
          <a:endParaRPr lang="nl-BE"/>
        </a:p>
      </dgm:t>
    </dgm:pt>
    <dgm:pt modelId="{75A02BF5-E8E3-41FA-B587-EDAE6A29728C}" type="pres">
      <dgm:prSet presAssocID="{4D411A30-F2D6-431E-B7C9-055A443D931A}" presName="connTx" presStyleLbl="parChTrans1D2" presStyleIdx="1" presStyleCnt="6"/>
      <dgm:spPr/>
      <dgm:t>
        <a:bodyPr/>
        <a:lstStyle/>
        <a:p>
          <a:endParaRPr lang="nl-BE"/>
        </a:p>
      </dgm:t>
    </dgm:pt>
    <dgm:pt modelId="{56650921-EBB6-4396-B4EB-A016E9EFD7C2}" type="pres">
      <dgm:prSet presAssocID="{BAB512AC-91CC-4ECD-8A47-B7C96AEFC0C6}" presName="root2" presStyleCnt="0"/>
      <dgm:spPr/>
    </dgm:pt>
    <dgm:pt modelId="{177B1E59-96CD-4C0E-A9C6-CC9F0053C7D8}" type="pres">
      <dgm:prSet presAssocID="{BAB512AC-91CC-4ECD-8A47-B7C96AEFC0C6}" presName="LevelTwoTextNode" presStyleLbl="node2" presStyleIdx="1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8D7BB59C-1D23-4FBC-A8A9-CE64EE92110A}" type="pres">
      <dgm:prSet presAssocID="{BAB512AC-91CC-4ECD-8A47-B7C96AEFC0C6}" presName="level3hierChild" presStyleCnt="0"/>
      <dgm:spPr/>
    </dgm:pt>
    <dgm:pt modelId="{E7C6B77D-F5F5-4057-AB65-947FC54538D3}" type="pres">
      <dgm:prSet presAssocID="{340211CC-6173-4ACC-8885-C9E8A415F3C4}" presName="conn2-1" presStyleLbl="parChTrans1D2" presStyleIdx="2" presStyleCnt="6"/>
      <dgm:spPr/>
      <dgm:t>
        <a:bodyPr/>
        <a:lstStyle/>
        <a:p>
          <a:endParaRPr lang="nl-BE"/>
        </a:p>
      </dgm:t>
    </dgm:pt>
    <dgm:pt modelId="{10937BF0-F960-4BAE-A481-C0A0F5FAB23F}" type="pres">
      <dgm:prSet presAssocID="{340211CC-6173-4ACC-8885-C9E8A415F3C4}" presName="connTx" presStyleLbl="parChTrans1D2" presStyleIdx="2" presStyleCnt="6"/>
      <dgm:spPr/>
      <dgm:t>
        <a:bodyPr/>
        <a:lstStyle/>
        <a:p>
          <a:endParaRPr lang="nl-BE"/>
        </a:p>
      </dgm:t>
    </dgm:pt>
    <dgm:pt modelId="{BE8C1EBA-0DC8-4996-9082-72822DAB302E}" type="pres">
      <dgm:prSet presAssocID="{D483006C-0E8D-44FE-9941-1EF6FC14AC4C}" presName="root2" presStyleCnt="0"/>
      <dgm:spPr/>
    </dgm:pt>
    <dgm:pt modelId="{A890F6A1-C561-4DDD-BAED-9ECC4B7C61AB}" type="pres">
      <dgm:prSet presAssocID="{D483006C-0E8D-44FE-9941-1EF6FC14AC4C}" presName="LevelTwoTextNode" presStyleLbl="node2" presStyleIdx="2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3D51C5F2-BE49-423E-ABCA-D3D392228231}" type="pres">
      <dgm:prSet presAssocID="{D483006C-0E8D-44FE-9941-1EF6FC14AC4C}" presName="level3hierChild" presStyleCnt="0"/>
      <dgm:spPr/>
    </dgm:pt>
    <dgm:pt modelId="{577759AA-2767-4234-AF3A-215BEC1150F8}" type="pres">
      <dgm:prSet presAssocID="{BCBBA6F0-9B3B-4371-A544-11B7D9605E0F}" presName="conn2-1" presStyleLbl="parChTrans1D2" presStyleIdx="3" presStyleCnt="6"/>
      <dgm:spPr/>
      <dgm:t>
        <a:bodyPr/>
        <a:lstStyle/>
        <a:p>
          <a:endParaRPr lang="nl-BE"/>
        </a:p>
      </dgm:t>
    </dgm:pt>
    <dgm:pt modelId="{FBFFEB17-D294-4A93-AE47-F8C454C43B2F}" type="pres">
      <dgm:prSet presAssocID="{BCBBA6F0-9B3B-4371-A544-11B7D9605E0F}" presName="connTx" presStyleLbl="parChTrans1D2" presStyleIdx="3" presStyleCnt="6"/>
      <dgm:spPr/>
      <dgm:t>
        <a:bodyPr/>
        <a:lstStyle/>
        <a:p>
          <a:endParaRPr lang="nl-BE"/>
        </a:p>
      </dgm:t>
    </dgm:pt>
    <dgm:pt modelId="{307C8037-B75C-401D-9D8E-90ED1E7DE758}" type="pres">
      <dgm:prSet presAssocID="{38CC7F77-C9EC-4DAF-BE52-A13C0897C37F}" presName="root2" presStyleCnt="0"/>
      <dgm:spPr/>
    </dgm:pt>
    <dgm:pt modelId="{FC0AE1A0-2FFE-4497-8A6C-711E22DD8265}" type="pres">
      <dgm:prSet presAssocID="{38CC7F77-C9EC-4DAF-BE52-A13C0897C37F}" presName="LevelTwoTextNode" presStyleLbl="node2" presStyleIdx="3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EEB2E905-C81B-416F-86D4-50E95525D738}" type="pres">
      <dgm:prSet presAssocID="{38CC7F77-C9EC-4DAF-BE52-A13C0897C37F}" presName="level3hierChild" presStyleCnt="0"/>
      <dgm:spPr/>
    </dgm:pt>
    <dgm:pt modelId="{E70A4911-B9EA-4CE8-9C48-F1B75B1F99E8}" type="pres">
      <dgm:prSet presAssocID="{2EE3C2E9-2269-4F7C-8ED1-61E16F0C7A65}" presName="conn2-1" presStyleLbl="parChTrans1D2" presStyleIdx="4" presStyleCnt="6"/>
      <dgm:spPr/>
      <dgm:t>
        <a:bodyPr/>
        <a:lstStyle/>
        <a:p>
          <a:endParaRPr lang="nl-BE"/>
        </a:p>
      </dgm:t>
    </dgm:pt>
    <dgm:pt modelId="{04D32EA3-FBD2-4B9B-8689-CE0C04402C9F}" type="pres">
      <dgm:prSet presAssocID="{2EE3C2E9-2269-4F7C-8ED1-61E16F0C7A65}" presName="connTx" presStyleLbl="parChTrans1D2" presStyleIdx="4" presStyleCnt="6"/>
      <dgm:spPr/>
      <dgm:t>
        <a:bodyPr/>
        <a:lstStyle/>
        <a:p>
          <a:endParaRPr lang="nl-BE"/>
        </a:p>
      </dgm:t>
    </dgm:pt>
    <dgm:pt modelId="{B1888EAC-A5A6-4B95-8A69-FCA6ACA46933}" type="pres">
      <dgm:prSet presAssocID="{97F233B0-42AD-4ED0-842F-1600F87C24A6}" presName="root2" presStyleCnt="0"/>
      <dgm:spPr/>
    </dgm:pt>
    <dgm:pt modelId="{9DE22C7B-90CF-4BE2-8BFC-34999FF50C62}" type="pres">
      <dgm:prSet presAssocID="{97F233B0-42AD-4ED0-842F-1600F87C24A6}" presName="LevelTwoTextNode" presStyleLbl="node2" presStyleIdx="4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C57F7826-9239-411A-A42E-EC73317CF887}" type="pres">
      <dgm:prSet presAssocID="{97F233B0-42AD-4ED0-842F-1600F87C24A6}" presName="level3hierChild" presStyleCnt="0"/>
      <dgm:spPr/>
    </dgm:pt>
    <dgm:pt modelId="{0B6B7AAD-134E-4785-A3D3-30069128D839}" type="pres">
      <dgm:prSet presAssocID="{4A140623-EB82-43F4-B9B3-7AA36AD6F257}" presName="conn2-1" presStyleLbl="parChTrans1D2" presStyleIdx="5" presStyleCnt="6"/>
      <dgm:spPr/>
      <dgm:t>
        <a:bodyPr/>
        <a:lstStyle/>
        <a:p>
          <a:endParaRPr lang="nl-BE"/>
        </a:p>
      </dgm:t>
    </dgm:pt>
    <dgm:pt modelId="{B22FC130-B815-45AD-9CC9-9F2C539DBABA}" type="pres">
      <dgm:prSet presAssocID="{4A140623-EB82-43F4-B9B3-7AA36AD6F257}" presName="connTx" presStyleLbl="parChTrans1D2" presStyleIdx="5" presStyleCnt="6"/>
      <dgm:spPr/>
      <dgm:t>
        <a:bodyPr/>
        <a:lstStyle/>
        <a:p>
          <a:endParaRPr lang="nl-BE"/>
        </a:p>
      </dgm:t>
    </dgm:pt>
    <dgm:pt modelId="{6783C164-39D4-4A84-B135-C908D3356F62}" type="pres">
      <dgm:prSet presAssocID="{23340520-FC94-41B1-B8BB-A809DA4A2404}" presName="root2" presStyleCnt="0"/>
      <dgm:spPr/>
    </dgm:pt>
    <dgm:pt modelId="{7B0F2542-213C-426B-B40C-9CCBFDE4205E}" type="pres">
      <dgm:prSet presAssocID="{23340520-FC94-41B1-B8BB-A809DA4A2404}" presName="LevelTwoTextNode" presStyleLbl="node2" presStyleIdx="5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2521E653-9C20-42AE-8B41-BB09BD42005D}" type="pres">
      <dgm:prSet presAssocID="{23340520-FC94-41B1-B8BB-A809DA4A2404}" presName="level3hierChild" presStyleCnt="0"/>
      <dgm:spPr/>
    </dgm:pt>
  </dgm:ptLst>
  <dgm:cxnLst>
    <dgm:cxn modelId="{8EF1C831-0824-43FE-906A-DCFF441CA93C}" type="presOf" srcId="{23340520-FC94-41B1-B8BB-A809DA4A2404}" destId="{7B0F2542-213C-426B-B40C-9CCBFDE4205E}" srcOrd="0" destOrd="0" presId="urn:microsoft.com/office/officeart/2008/layout/HorizontalMultiLevelHierarchy"/>
    <dgm:cxn modelId="{E51C07B5-1459-4040-9BA2-81CCDEDEF217}" type="presOf" srcId="{3AA63BB2-D220-49E4-AB73-0BC881B65AE9}" destId="{B07DD331-6F93-4CE1-B33F-D15937EF6D2A}" srcOrd="0" destOrd="0" presId="urn:microsoft.com/office/officeart/2008/layout/HorizontalMultiLevelHierarchy"/>
    <dgm:cxn modelId="{C3442994-230C-4123-89B8-911943034E23}" type="presOf" srcId="{A29249BC-E7A1-4962-A1B3-4FCF1191CDD4}" destId="{740198B6-0B32-4C97-AF0A-C63F72C01681}" srcOrd="0" destOrd="0" presId="urn:microsoft.com/office/officeart/2008/layout/HorizontalMultiLevelHierarchy"/>
    <dgm:cxn modelId="{5E429C94-8F2C-40CA-BBB3-3FDFEBAC5A15}" type="presOf" srcId="{340211CC-6173-4ACC-8885-C9E8A415F3C4}" destId="{E7C6B77D-F5F5-4057-AB65-947FC54538D3}" srcOrd="0" destOrd="0" presId="urn:microsoft.com/office/officeart/2008/layout/HorizontalMultiLevelHierarchy"/>
    <dgm:cxn modelId="{C0A9378B-F254-42BE-9270-BC8FAE1E6671}" type="presOf" srcId="{4A140623-EB82-43F4-B9B3-7AA36AD6F257}" destId="{B22FC130-B815-45AD-9CC9-9F2C539DBABA}" srcOrd="1" destOrd="0" presId="urn:microsoft.com/office/officeart/2008/layout/HorizontalMultiLevelHierarchy"/>
    <dgm:cxn modelId="{8788C2C3-D854-4429-8D13-AF9B913152BA}" type="presOf" srcId="{38CC7F77-C9EC-4DAF-BE52-A13C0897C37F}" destId="{FC0AE1A0-2FFE-4497-8A6C-711E22DD8265}" srcOrd="0" destOrd="0" presId="urn:microsoft.com/office/officeart/2008/layout/HorizontalMultiLevelHierarchy"/>
    <dgm:cxn modelId="{514556DF-5607-498D-A6CE-1C2B3861AFDB}" type="presOf" srcId="{BCBBA6F0-9B3B-4371-A544-11B7D9605E0F}" destId="{577759AA-2767-4234-AF3A-215BEC1150F8}" srcOrd="0" destOrd="0" presId="urn:microsoft.com/office/officeart/2008/layout/HorizontalMultiLevelHierarchy"/>
    <dgm:cxn modelId="{23EAC951-E98D-413C-A36D-A9DAC3DA3355}" srcId="{BA4F9824-C3A7-444C-BE80-9039DB3E8243}" destId="{38CC7F77-C9EC-4DAF-BE52-A13C0897C37F}" srcOrd="3" destOrd="0" parTransId="{BCBBA6F0-9B3B-4371-A544-11B7D9605E0F}" sibTransId="{CA119EB0-992A-4B72-BECF-527838D78CDA}"/>
    <dgm:cxn modelId="{8371DC60-CDB0-4601-B2B4-BE8BD30E439A}" type="presOf" srcId="{BCBBA6F0-9B3B-4371-A544-11B7D9605E0F}" destId="{FBFFEB17-D294-4A93-AE47-F8C454C43B2F}" srcOrd="1" destOrd="0" presId="urn:microsoft.com/office/officeart/2008/layout/HorizontalMultiLevelHierarchy"/>
    <dgm:cxn modelId="{418B1A32-2E08-469B-AAAC-0192AF2E1EEC}" type="presOf" srcId="{2EE3C2E9-2269-4F7C-8ED1-61E16F0C7A65}" destId="{04D32EA3-FBD2-4B9B-8689-CE0C04402C9F}" srcOrd="1" destOrd="0" presId="urn:microsoft.com/office/officeart/2008/layout/HorizontalMultiLevelHierarchy"/>
    <dgm:cxn modelId="{AA5E632F-AEE5-4939-8626-9ED8C1BA36D3}" type="presOf" srcId="{BA4F9824-C3A7-444C-BE80-9039DB3E8243}" destId="{5F9C7946-2B21-42E4-9265-4FA436ED9843}" srcOrd="0" destOrd="0" presId="urn:microsoft.com/office/officeart/2008/layout/HorizontalMultiLevelHierarchy"/>
    <dgm:cxn modelId="{22977B3D-4B49-4A6F-8E97-1F16F844B2A6}" type="presOf" srcId="{97F233B0-42AD-4ED0-842F-1600F87C24A6}" destId="{9DE22C7B-90CF-4BE2-8BFC-34999FF50C62}" srcOrd="0" destOrd="0" presId="urn:microsoft.com/office/officeart/2008/layout/HorizontalMultiLevelHierarchy"/>
    <dgm:cxn modelId="{D2390B40-7795-4B70-8BD4-09CF5752A871}" srcId="{BA4F9824-C3A7-444C-BE80-9039DB3E8243}" destId="{3AA63BB2-D220-49E4-AB73-0BC881B65AE9}" srcOrd="0" destOrd="0" parTransId="{A484ADE6-F5F9-4EDB-8129-6CD114DE4349}" sibTransId="{A4E063BB-3743-45C3-A911-AB7504BC1289}"/>
    <dgm:cxn modelId="{600454DB-FE6E-4FB1-8337-AD4F71C6AEEB}" srcId="{BA4F9824-C3A7-444C-BE80-9039DB3E8243}" destId="{BAB512AC-91CC-4ECD-8A47-B7C96AEFC0C6}" srcOrd="1" destOrd="0" parTransId="{4D411A30-F2D6-431E-B7C9-055A443D931A}" sibTransId="{28780325-97CB-4F9A-B898-CDF9AAFF4505}"/>
    <dgm:cxn modelId="{9D036665-A25B-44C2-B5B1-42B854E2329B}" srcId="{BA4F9824-C3A7-444C-BE80-9039DB3E8243}" destId="{97F233B0-42AD-4ED0-842F-1600F87C24A6}" srcOrd="4" destOrd="0" parTransId="{2EE3C2E9-2269-4F7C-8ED1-61E16F0C7A65}" sibTransId="{9DC8C3B4-D867-43DD-9087-D25301930BA6}"/>
    <dgm:cxn modelId="{3DE6A2D1-D8D0-4DEA-8098-98A8A1B97230}" type="presOf" srcId="{4D411A30-F2D6-431E-B7C9-055A443D931A}" destId="{E279D713-FAE2-4661-B870-7DC5C82658B5}" srcOrd="0" destOrd="0" presId="urn:microsoft.com/office/officeart/2008/layout/HorizontalMultiLevelHierarchy"/>
    <dgm:cxn modelId="{38219559-3624-4B48-8500-3407DC3C7025}" type="presOf" srcId="{4A140623-EB82-43F4-B9B3-7AA36AD6F257}" destId="{0B6B7AAD-134E-4785-A3D3-30069128D839}" srcOrd="0" destOrd="0" presId="urn:microsoft.com/office/officeart/2008/layout/HorizontalMultiLevelHierarchy"/>
    <dgm:cxn modelId="{C5642976-4468-4BBD-9AF5-C0BDC44BD51F}" type="presOf" srcId="{BAB512AC-91CC-4ECD-8A47-B7C96AEFC0C6}" destId="{177B1E59-96CD-4C0E-A9C6-CC9F0053C7D8}" srcOrd="0" destOrd="0" presId="urn:microsoft.com/office/officeart/2008/layout/HorizontalMultiLevelHierarchy"/>
    <dgm:cxn modelId="{A5DD48D5-A704-4D73-9B39-A5CBACEF7B3F}" type="presOf" srcId="{A484ADE6-F5F9-4EDB-8129-6CD114DE4349}" destId="{5710D759-510D-4BDA-99AD-8A8E6F07A362}" srcOrd="0" destOrd="0" presId="urn:microsoft.com/office/officeart/2008/layout/HorizontalMultiLevelHierarchy"/>
    <dgm:cxn modelId="{90F7AEA5-06C3-49C3-A32C-2952B231C999}" type="presOf" srcId="{A484ADE6-F5F9-4EDB-8129-6CD114DE4349}" destId="{70D049DB-14A0-47D3-A62D-EC40E2752516}" srcOrd="1" destOrd="0" presId="urn:microsoft.com/office/officeart/2008/layout/HorizontalMultiLevelHierarchy"/>
    <dgm:cxn modelId="{45B31554-D057-42BB-A5D0-EE575333066E}" type="presOf" srcId="{2EE3C2E9-2269-4F7C-8ED1-61E16F0C7A65}" destId="{E70A4911-B9EA-4CE8-9C48-F1B75B1F99E8}" srcOrd="0" destOrd="0" presId="urn:microsoft.com/office/officeart/2008/layout/HorizontalMultiLevelHierarchy"/>
    <dgm:cxn modelId="{3EA5FAC9-EBC9-4910-B884-48BD526E96D8}" srcId="{A29249BC-E7A1-4962-A1B3-4FCF1191CDD4}" destId="{BA4F9824-C3A7-444C-BE80-9039DB3E8243}" srcOrd="0" destOrd="0" parTransId="{2720627F-C4D7-4A36-BC7C-07AAC0B05DB6}" sibTransId="{9C37A826-52CE-4E02-B584-2DBFBF973057}"/>
    <dgm:cxn modelId="{B5E193FA-2493-49DC-AD58-2668D30FCBFA}" srcId="{BA4F9824-C3A7-444C-BE80-9039DB3E8243}" destId="{23340520-FC94-41B1-B8BB-A809DA4A2404}" srcOrd="5" destOrd="0" parTransId="{4A140623-EB82-43F4-B9B3-7AA36AD6F257}" sibTransId="{884DF01E-C33E-4966-A1E1-67D0673B41F4}"/>
    <dgm:cxn modelId="{868E9F99-5876-411A-B955-3AC9F5CA8A87}" type="presOf" srcId="{4D411A30-F2D6-431E-B7C9-055A443D931A}" destId="{75A02BF5-E8E3-41FA-B587-EDAE6A29728C}" srcOrd="1" destOrd="0" presId="urn:microsoft.com/office/officeart/2008/layout/HorizontalMultiLevelHierarchy"/>
    <dgm:cxn modelId="{D003D9F6-6B40-4F3C-9179-D113D34D2E7D}" type="presOf" srcId="{D483006C-0E8D-44FE-9941-1EF6FC14AC4C}" destId="{A890F6A1-C561-4DDD-BAED-9ECC4B7C61AB}" srcOrd="0" destOrd="0" presId="urn:microsoft.com/office/officeart/2008/layout/HorizontalMultiLevelHierarchy"/>
    <dgm:cxn modelId="{82C987F8-00F0-468C-A4DA-F325A0070C39}" type="presOf" srcId="{340211CC-6173-4ACC-8885-C9E8A415F3C4}" destId="{10937BF0-F960-4BAE-A481-C0A0F5FAB23F}" srcOrd="1" destOrd="0" presId="urn:microsoft.com/office/officeart/2008/layout/HorizontalMultiLevelHierarchy"/>
    <dgm:cxn modelId="{759E9FAD-FD32-48E4-865A-7A2980CB6E51}" srcId="{BA4F9824-C3A7-444C-BE80-9039DB3E8243}" destId="{D483006C-0E8D-44FE-9941-1EF6FC14AC4C}" srcOrd="2" destOrd="0" parTransId="{340211CC-6173-4ACC-8885-C9E8A415F3C4}" sibTransId="{75FE9F3E-47D2-4934-B74A-08E2D1FC71F7}"/>
    <dgm:cxn modelId="{BCA0AF2B-B801-43F5-AB6F-070DE60B1110}" type="presParOf" srcId="{740198B6-0B32-4C97-AF0A-C63F72C01681}" destId="{E6DABB70-3A8A-491E-B1B1-98B54C43A82D}" srcOrd="0" destOrd="0" presId="urn:microsoft.com/office/officeart/2008/layout/HorizontalMultiLevelHierarchy"/>
    <dgm:cxn modelId="{1252D6F6-243A-43F2-B050-76D9E43F36C4}" type="presParOf" srcId="{E6DABB70-3A8A-491E-B1B1-98B54C43A82D}" destId="{5F9C7946-2B21-42E4-9265-4FA436ED9843}" srcOrd="0" destOrd="0" presId="urn:microsoft.com/office/officeart/2008/layout/HorizontalMultiLevelHierarchy"/>
    <dgm:cxn modelId="{9380CE91-A4E0-4B9E-A30A-147295A277A4}" type="presParOf" srcId="{E6DABB70-3A8A-491E-B1B1-98B54C43A82D}" destId="{A7F64AF7-0AE2-45CD-AE86-CA0C0219EF4E}" srcOrd="1" destOrd="0" presId="urn:microsoft.com/office/officeart/2008/layout/HorizontalMultiLevelHierarchy"/>
    <dgm:cxn modelId="{89A96CC1-307A-4058-B1DF-0F9E327147C3}" type="presParOf" srcId="{A7F64AF7-0AE2-45CD-AE86-CA0C0219EF4E}" destId="{5710D759-510D-4BDA-99AD-8A8E6F07A362}" srcOrd="0" destOrd="0" presId="urn:microsoft.com/office/officeart/2008/layout/HorizontalMultiLevelHierarchy"/>
    <dgm:cxn modelId="{FC0C95E3-21EC-4935-8152-034B687221C0}" type="presParOf" srcId="{5710D759-510D-4BDA-99AD-8A8E6F07A362}" destId="{70D049DB-14A0-47D3-A62D-EC40E2752516}" srcOrd="0" destOrd="0" presId="urn:microsoft.com/office/officeart/2008/layout/HorizontalMultiLevelHierarchy"/>
    <dgm:cxn modelId="{C17824FB-6F0D-4C14-A8B4-E84C4606EEC7}" type="presParOf" srcId="{A7F64AF7-0AE2-45CD-AE86-CA0C0219EF4E}" destId="{446C7C1F-F463-4D41-B54E-4DE33E01D9FF}" srcOrd="1" destOrd="0" presId="urn:microsoft.com/office/officeart/2008/layout/HorizontalMultiLevelHierarchy"/>
    <dgm:cxn modelId="{FBFE72E1-A0B2-43F7-B890-A5EC749A6B33}" type="presParOf" srcId="{446C7C1F-F463-4D41-B54E-4DE33E01D9FF}" destId="{B07DD331-6F93-4CE1-B33F-D15937EF6D2A}" srcOrd="0" destOrd="0" presId="urn:microsoft.com/office/officeart/2008/layout/HorizontalMultiLevelHierarchy"/>
    <dgm:cxn modelId="{E639F90D-5917-43BF-BFEB-0CCD0D56E37C}" type="presParOf" srcId="{446C7C1F-F463-4D41-B54E-4DE33E01D9FF}" destId="{656D1499-B2CB-4D97-AF72-5D7A06E1DB6D}" srcOrd="1" destOrd="0" presId="urn:microsoft.com/office/officeart/2008/layout/HorizontalMultiLevelHierarchy"/>
    <dgm:cxn modelId="{7844309F-74B4-41E3-94A1-126D0906D572}" type="presParOf" srcId="{A7F64AF7-0AE2-45CD-AE86-CA0C0219EF4E}" destId="{E279D713-FAE2-4661-B870-7DC5C82658B5}" srcOrd="2" destOrd="0" presId="urn:microsoft.com/office/officeart/2008/layout/HorizontalMultiLevelHierarchy"/>
    <dgm:cxn modelId="{D4820EDD-1286-49D4-872C-595BE952D9A0}" type="presParOf" srcId="{E279D713-FAE2-4661-B870-7DC5C82658B5}" destId="{75A02BF5-E8E3-41FA-B587-EDAE6A29728C}" srcOrd="0" destOrd="0" presId="urn:microsoft.com/office/officeart/2008/layout/HorizontalMultiLevelHierarchy"/>
    <dgm:cxn modelId="{779EC9AC-65CB-4781-957B-87B84398FFA0}" type="presParOf" srcId="{A7F64AF7-0AE2-45CD-AE86-CA0C0219EF4E}" destId="{56650921-EBB6-4396-B4EB-A016E9EFD7C2}" srcOrd="3" destOrd="0" presId="urn:microsoft.com/office/officeart/2008/layout/HorizontalMultiLevelHierarchy"/>
    <dgm:cxn modelId="{16BA4B59-3080-4D13-9A20-1D00D5A7F65D}" type="presParOf" srcId="{56650921-EBB6-4396-B4EB-A016E9EFD7C2}" destId="{177B1E59-96CD-4C0E-A9C6-CC9F0053C7D8}" srcOrd="0" destOrd="0" presId="urn:microsoft.com/office/officeart/2008/layout/HorizontalMultiLevelHierarchy"/>
    <dgm:cxn modelId="{17360F1E-6929-440B-BBAC-D8711F260462}" type="presParOf" srcId="{56650921-EBB6-4396-B4EB-A016E9EFD7C2}" destId="{8D7BB59C-1D23-4FBC-A8A9-CE64EE92110A}" srcOrd="1" destOrd="0" presId="urn:microsoft.com/office/officeart/2008/layout/HorizontalMultiLevelHierarchy"/>
    <dgm:cxn modelId="{C8DF54BD-B52E-4789-AF09-63CD7E0F16F0}" type="presParOf" srcId="{A7F64AF7-0AE2-45CD-AE86-CA0C0219EF4E}" destId="{E7C6B77D-F5F5-4057-AB65-947FC54538D3}" srcOrd="4" destOrd="0" presId="urn:microsoft.com/office/officeart/2008/layout/HorizontalMultiLevelHierarchy"/>
    <dgm:cxn modelId="{2C549F3E-BD09-4AEC-9809-40F268EC56C2}" type="presParOf" srcId="{E7C6B77D-F5F5-4057-AB65-947FC54538D3}" destId="{10937BF0-F960-4BAE-A481-C0A0F5FAB23F}" srcOrd="0" destOrd="0" presId="urn:microsoft.com/office/officeart/2008/layout/HorizontalMultiLevelHierarchy"/>
    <dgm:cxn modelId="{B0721C63-CA61-4A09-B378-1B4E9955B0C3}" type="presParOf" srcId="{A7F64AF7-0AE2-45CD-AE86-CA0C0219EF4E}" destId="{BE8C1EBA-0DC8-4996-9082-72822DAB302E}" srcOrd="5" destOrd="0" presId="urn:microsoft.com/office/officeart/2008/layout/HorizontalMultiLevelHierarchy"/>
    <dgm:cxn modelId="{2D2B1D09-6281-4A84-B081-AC5AEE9DAF90}" type="presParOf" srcId="{BE8C1EBA-0DC8-4996-9082-72822DAB302E}" destId="{A890F6A1-C561-4DDD-BAED-9ECC4B7C61AB}" srcOrd="0" destOrd="0" presId="urn:microsoft.com/office/officeart/2008/layout/HorizontalMultiLevelHierarchy"/>
    <dgm:cxn modelId="{2E9B6A58-6014-4B1C-962A-C95A99963462}" type="presParOf" srcId="{BE8C1EBA-0DC8-4996-9082-72822DAB302E}" destId="{3D51C5F2-BE49-423E-ABCA-D3D392228231}" srcOrd="1" destOrd="0" presId="urn:microsoft.com/office/officeart/2008/layout/HorizontalMultiLevelHierarchy"/>
    <dgm:cxn modelId="{45FDC6C0-50F8-4E7E-88F1-6A029201C2B6}" type="presParOf" srcId="{A7F64AF7-0AE2-45CD-AE86-CA0C0219EF4E}" destId="{577759AA-2767-4234-AF3A-215BEC1150F8}" srcOrd="6" destOrd="0" presId="urn:microsoft.com/office/officeart/2008/layout/HorizontalMultiLevelHierarchy"/>
    <dgm:cxn modelId="{D71C54C3-BB05-42C5-85CB-62CF57962076}" type="presParOf" srcId="{577759AA-2767-4234-AF3A-215BEC1150F8}" destId="{FBFFEB17-D294-4A93-AE47-F8C454C43B2F}" srcOrd="0" destOrd="0" presId="urn:microsoft.com/office/officeart/2008/layout/HorizontalMultiLevelHierarchy"/>
    <dgm:cxn modelId="{25BBBB46-7D77-4706-A9ED-0ED56131C0CC}" type="presParOf" srcId="{A7F64AF7-0AE2-45CD-AE86-CA0C0219EF4E}" destId="{307C8037-B75C-401D-9D8E-90ED1E7DE758}" srcOrd="7" destOrd="0" presId="urn:microsoft.com/office/officeart/2008/layout/HorizontalMultiLevelHierarchy"/>
    <dgm:cxn modelId="{0146F9D6-8391-44D5-AF6E-495C3EC49729}" type="presParOf" srcId="{307C8037-B75C-401D-9D8E-90ED1E7DE758}" destId="{FC0AE1A0-2FFE-4497-8A6C-711E22DD8265}" srcOrd="0" destOrd="0" presId="urn:microsoft.com/office/officeart/2008/layout/HorizontalMultiLevelHierarchy"/>
    <dgm:cxn modelId="{923BC794-0451-4B91-B418-68BEFD8D6D9E}" type="presParOf" srcId="{307C8037-B75C-401D-9D8E-90ED1E7DE758}" destId="{EEB2E905-C81B-416F-86D4-50E95525D738}" srcOrd="1" destOrd="0" presId="urn:microsoft.com/office/officeart/2008/layout/HorizontalMultiLevelHierarchy"/>
    <dgm:cxn modelId="{75F0EB14-EFED-4495-9321-403FDA562CF1}" type="presParOf" srcId="{A7F64AF7-0AE2-45CD-AE86-CA0C0219EF4E}" destId="{E70A4911-B9EA-4CE8-9C48-F1B75B1F99E8}" srcOrd="8" destOrd="0" presId="urn:microsoft.com/office/officeart/2008/layout/HorizontalMultiLevelHierarchy"/>
    <dgm:cxn modelId="{F6BF2DBC-5661-4E4F-9EE9-CEB193F10735}" type="presParOf" srcId="{E70A4911-B9EA-4CE8-9C48-F1B75B1F99E8}" destId="{04D32EA3-FBD2-4B9B-8689-CE0C04402C9F}" srcOrd="0" destOrd="0" presId="urn:microsoft.com/office/officeart/2008/layout/HorizontalMultiLevelHierarchy"/>
    <dgm:cxn modelId="{32BB3C85-C3DB-47A4-ADAA-7849913800F2}" type="presParOf" srcId="{A7F64AF7-0AE2-45CD-AE86-CA0C0219EF4E}" destId="{B1888EAC-A5A6-4B95-8A69-FCA6ACA46933}" srcOrd="9" destOrd="0" presId="urn:microsoft.com/office/officeart/2008/layout/HorizontalMultiLevelHierarchy"/>
    <dgm:cxn modelId="{E21A3C86-C3B6-469D-B839-F0676142F83A}" type="presParOf" srcId="{B1888EAC-A5A6-4B95-8A69-FCA6ACA46933}" destId="{9DE22C7B-90CF-4BE2-8BFC-34999FF50C62}" srcOrd="0" destOrd="0" presId="urn:microsoft.com/office/officeart/2008/layout/HorizontalMultiLevelHierarchy"/>
    <dgm:cxn modelId="{9D3C61DA-2F36-4C78-A0C8-B3E7782343F1}" type="presParOf" srcId="{B1888EAC-A5A6-4B95-8A69-FCA6ACA46933}" destId="{C57F7826-9239-411A-A42E-EC73317CF887}" srcOrd="1" destOrd="0" presId="urn:microsoft.com/office/officeart/2008/layout/HorizontalMultiLevelHierarchy"/>
    <dgm:cxn modelId="{9DC1D6F5-6EAD-4C9C-8E5F-329A780FEAA9}" type="presParOf" srcId="{A7F64AF7-0AE2-45CD-AE86-CA0C0219EF4E}" destId="{0B6B7AAD-134E-4785-A3D3-30069128D839}" srcOrd="10" destOrd="0" presId="urn:microsoft.com/office/officeart/2008/layout/HorizontalMultiLevelHierarchy"/>
    <dgm:cxn modelId="{DFE7AD60-D606-4A62-9CD0-4875272E4DCC}" type="presParOf" srcId="{0B6B7AAD-134E-4785-A3D3-30069128D839}" destId="{B22FC130-B815-45AD-9CC9-9F2C539DBABA}" srcOrd="0" destOrd="0" presId="urn:microsoft.com/office/officeart/2008/layout/HorizontalMultiLevelHierarchy"/>
    <dgm:cxn modelId="{DCDB5820-8DC3-49D2-BC51-7129783CFB92}" type="presParOf" srcId="{A7F64AF7-0AE2-45CD-AE86-CA0C0219EF4E}" destId="{6783C164-39D4-4A84-B135-C908D3356F62}" srcOrd="11" destOrd="0" presId="urn:microsoft.com/office/officeart/2008/layout/HorizontalMultiLevelHierarchy"/>
    <dgm:cxn modelId="{573F1C28-29DB-4340-BBE4-2CBAB8C1F562}" type="presParOf" srcId="{6783C164-39D4-4A84-B135-C908D3356F62}" destId="{7B0F2542-213C-426B-B40C-9CCBFDE4205E}" srcOrd="0" destOrd="0" presId="urn:microsoft.com/office/officeart/2008/layout/HorizontalMultiLevelHierarchy"/>
    <dgm:cxn modelId="{D9468C58-19DF-4B2D-ABD1-780B85985768}" type="presParOf" srcId="{6783C164-39D4-4A84-B135-C908D3356F62}" destId="{2521E653-9C20-42AE-8B41-BB09BD42005D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29249BC-E7A1-4962-A1B3-4FCF1191CDD4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BE"/>
        </a:p>
      </dgm:t>
    </dgm:pt>
    <dgm:pt modelId="{BA4F9824-C3A7-444C-BE80-9039DB3E8243}">
      <dgm:prSet phldrT="[Text]"/>
      <dgm:spPr/>
      <dgm:t>
        <a:bodyPr/>
        <a:lstStyle/>
        <a:p>
          <a:r>
            <a:rPr lang="nl-BE" dirty="0" smtClean="0"/>
            <a:t>1 ton </a:t>
          </a:r>
          <a:r>
            <a:rPr lang="nl-BE" dirty="0" err="1" smtClean="0"/>
            <a:t>UO</a:t>
          </a:r>
          <a:r>
            <a:rPr lang="nl-BE" baseline="-25000" dirty="0" err="1" smtClean="0"/>
            <a:t>2</a:t>
          </a:r>
          <a:r>
            <a:rPr lang="nl-BE" baseline="-25000" dirty="0" smtClean="0"/>
            <a:t> </a:t>
          </a:r>
          <a:r>
            <a:rPr lang="nl-BE" baseline="0" dirty="0" err="1" smtClean="0"/>
            <a:t>used</a:t>
          </a:r>
          <a:r>
            <a:rPr lang="nl-BE" baseline="0" dirty="0" smtClean="0"/>
            <a:t> </a:t>
          </a:r>
          <a:r>
            <a:rPr lang="nl-BE" baseline="0" dirty="0" err="1" smtClean="0"/>
            <a:t>fuel</a:t>
          </a:r>
          <a:r>
            <a:rPr lang="nl-BE" baseline="0" dirty="0" smtClean="0"/>
            <a:t> (50 </a:t>
          </a:r>
          <a:r>
            <a:rPr lang="nl-BE" baseline="0" dirty="0" err="1" smtClean="0"/>
            <a:t>GWd</a:t>
          </a:r>
          <a:r>
            <a:rPr lang="nl-BE" baseline="0" dirty="0" smtClean="0"/>
            <a:t>/t)</a:t>
          </a:r>
          <a:endParaRPr lang="nl-BE" baseline="0" dirty="0"/>
        </a:p>
      </dgm:t>
    </dgm:pt>
    <dgm:pt modelId="{2720627F-C4D7-4A36-BC7C-07AAC0B05DB6}" type="parTrans" cxnId="{3EA5FAC9-EBC9-4910-B884-48BD526E96D8}">
      <dgm:prSet/>
      <dgm:spPr/>
      <dgm:t>
        <a:bodyPr/>
        <a:lstStyle/>
        <a:p>
          <a:endParaRPr lang="nl-BE"/>
        </a:p>
      </dgm:t>
    </dgm:pt>
    <dgm:pt modelId="{9C37A826-52CE-4E02-B584-2DBFBF973057}" type="sibTrans" cxnId="{3EA5FAC9-EBC9-4910-B884-48BD526E96D8}">
      <dgm:prSet/>
      <dgm:spPr/>
      <dgm:t>
        <a:bodyPr/>
        <a:lstStyle/>
        <a:p>
          <a:endParaRPr lang="nl-BE"/>
        </a:p>
      </dgm:t>
    </dgm:pt>
    <dgm:pt modelId="{3AA63BB2-D220-49E4-AB73-0BC881B65AE9}">
      <dgm:prSet phldrT="[Text]"/>
      <dgm:spPr>
        <a:solidFill>
          <a:srgbClr val="00B050"/>
        </a:solidFill>
      </dgm:spPr>
      <dgm:t>
        <a:bodyPr/>
        <a:lstStyle/>
        <a:p>
          <a:r>
            <a:rPr lang="nl-BE" dirty="0" smtClean="0"/>
            <a:t>93,5 % U</a:t>
          </a:r>
          <a:endParaRPr lang="nl-BE" dirty="0"/>
        </a:p>
      </dgm:t>
    </dgm:pt>
    <dgm:pt modelId="{A484ADE6-F5F9-4EDB-8129-6CD114DE4349}" type="parTrans" cxnId="{D2390B40-7795-4B70-8BD4-09CF5752A871}">
      <dgm:prSet/>
      <dgm:spPr/>
      <dgm:t>
        <a:bodyPr/>
        <a:lstStyle/>
        <a:p>
          <a:endParaRPr lang="nl-BE"/>
        </a:p>
      </dgm:t>
    </dgm:pt>
    <dgm:pt modelId="{A4E063BB-3743-45C3-A911-AB7504BC1289}" type="sibTrans" cxnId="{D2390B40-7795-4B70-8BD4-09CF5752A871}">
      <dgm:prSet/>
      <dgm:spPr/>
      <dgm:t>
        <a:bodyPr/>
        <a:lstStyle/>
        <a:p>
          <a:endParaRPr lang="nl-BE"/>
        </a:p>
      </dgm:t>
    </dgm:pt>
    <dgm:pt modelId="{BAB512AC-91CC-4ECD-8A47-B7C96AEFC0C6}">
      <dgm:prSet phldrT="[Text]"/>
      <dgm:spPr>
        <a:solidFill>
          <a:srgbClr val="00B050"/>
        </a:solidFill>
      </dgm:spPr>
      <dgm:t>
        <a:bodyPr/>
        <a:lstStyle/>
        <a:p>
          <a:r>
            <a:rPr lang="nl-BE" dirty="0" smtClean="0"/>
            <a:t>1,2 % Pu</a:t>
          </a:r>
          <a:endParaRPr lang="nl-BE" dirty="0"/>
        </a:p>
      </dgm:t>
    </dgm:pt>
    <dgm:pt modelId="{4D411A30-F2D6-431E-B7C9-055A443D931A}" type="parTrans" cxnId="{600454DB-FE6E-4FB1-8337-AD4F71C6AEEB}">
      <dgm:prSet/>
      <dgm:spPr/>
      <dgm:t>
        <a:bodyPr/>
        <a:lstStyle/>
        <a:p>
          <a:endParaRPr lang="nl-BE"/>
        </a:p>
      </dgm:t>
    </dgm:pt>
    <dgm:pt modelId="{28780325-97CB-4F9A-B898-CDF9AAFF4505}" type="sibTrans" cxnId="{600454DB-FE6E-4FB1-8337-AD4F71C6AEEB}">
      <dgm:prSet/>
      <dgm:spPr/>
      <dgm:t>
        <a:bodyPr/>
        <a:lstStyle/>
        <a:p>
          <a:endParaRPr lang="nl-BE"/>
        </a:p>
      </dgm:t>
    </dgm:pt>
    <dgm:pt modelId="{D483006C-0E8D-44FE-9941-1EF6FC14AC4C}">
      <dgm:prSet phldrT="[Text]"/>
      <dgm:spPr>
        <a:solidFill>
          <a:srgbClr val="FF0000"/>
        </a:solidFill>
      </dgm:spPr>
      <dgm:t>
        <a:bodyPr/>
        <a:lstStyle/>
        <a:p>
          <a:r>
            <a:rPr lang="nl-BE" dirty="0" smtClean="0"/>
            <a:t>0,2 % </a:t>
          </a:r>
          <a:r>
            <a:rPr lang="nl-BE" dirty="0" err="1" smtClean="0"/>
            <a:t>MAs</a:t>
          </a:r>
          <a:endParaRPr lang="nl-BE" dirty="0"/>
        </a:p>
      </dgm:t>
    </dgm:pt>
    <dgm:pt modelId="{340211CC-6173-4ACC-8885-C9E8A415F3C4}" type="parTrans" cxnId="{759E9FAD-FD32-48E4-865A-7A2980CB6E51}">
      <dgm:prSet/>
      <dgm:spPr/>
      <dgm:t>
        <a:bodyPr/>
        <a:lstStyle/>
        <a:p>
          <a:endParaRPr lang="nl-BE"/>
        </a:p>
      </dgm:t>
    </dgm:pt>
    <dgm:pt modelId="{75FE9F3E-47D2-4934-B74A-08E2D1FC71F7}" type="sibTrans" cxnId="{759E9FAD-FD32-48E4-865A-7A2980CB6E51}">
      <dgm:prSet/>
      <dgm:spPr/>
      <dgm:t>
        <a:bodyPr/>
        <a:lstStyle/>
        <a:p>
          <a:endParaRPr lang="nl-BE"/>
        </a:p>
      </dgm:t>
    </dgm:pt>
    <dgm:pt modelId="{38CC7F77-C9EC-4DAF-BE52-A13C0897C37F}">
      <dgm:prSet phldrT="[Text]"/>
      <dgm:spPr>
        <a:solidFill>
          <a:srgbClr val="FFC000"/>
        </a:solidFill>
      </dgm:spPr>
      <dgm:t>
        <a:bodyPr/>
        <a:lstStyle/>
        <a:p>
          <a:r>
            <a:rPr lang="nl-BE" dirty="0" err="1" smtClean="0"/>
            <a:t>Vitrified</a:t>
          </a:r>
          <a:r>
            <a:rPr lang="nl-BE" dirty="0" smtClean="0"/>
            <a:t> </a:t>
          </a:r>
          <a:r>
            <a:rPr lang="nl-BE" dirty="0" err="1" smtClean="0"/>
            <a:t>with</a:t>
          </a:r>
          <a:r>
            <a:rPr lang="nl-BE" dirty="0" smtClean="0"/>
            <a:t> </a:t>
          </a:r>
          <a:r>
            <a:rPr lang="nl-BE" dirty="0" err="1" smtClean="0"/>
            <a:t>FPs</a:t>
          </a:r>
          <a:endParaRPr lang="nl-BE" dirty="0" smtClean="0"/>
        </a:p>
        <a:p>
          <a:r>
            <a:rPr lang="nl-BE" dirty="0" smtClean="0"/>
            <a:t>(in 2)</a:t>
          </a:r>
          <a:endParaRPr lang="nl-BE" dirty="0"/>
        </a:p>
      </dgm:t>
    </dgm:pt>
    <dgm:pt modelId="{BCBBA6F0-9B3B-4371-A544-11B7D9605E0F}" type="parTrans" cxnId="{23EAC951-E98D-413C-A36D-A9DAC3DA3355}">
      <dgm:prSet/>
      <dgm:spPr/>
      <dgm:t>
        <a:bodyPr/>
        <a:lstStyle/>
        <a:p>
          <a:endParaRPr lang="nl-BE"/>
        </a:p>
      </dgm:t>
    </dgm:pt>
    <dgm:pt modelId="{CA119EB0-992A-4B72-BECF-527838D78CDA}" type="sibTrans" cxnId="{23EAC951-E98D-413C-A36D-A9DAC3DA3355}">
      <dgm:prSet/>
      <dgm:spPr/>
      <dgm:t>
        <a:bodyPr/>
        <a:lstStyle/>
        <a:p>
          <a:endParaRPr lang="nl-BE"/>
        </a:p>
      </dgm:t>
    </dgm:pt>
    <dgm:pt modelId="{97F233B0-42AD-4ED0-842F-1600F87C24A6}">
      <dgm:prSet phldrT="[Text]"/>
      <dgm:spPr>
        <a:solidFill>
          <a:srgbClr val="FFC000"/>
        </a:solidFill>
      </dgm:spPr>
      <dgm:t>
        <a:bodyPr/>
        <a:lstStyle/>
        <a:p>
          <a:endParaRPr lang="nl-BE" dirty="0"/>
        </a:p>
      </dgm:t>
    </dgm:pt>
    <dgm:pt modelId="{2EE3C2E9-2269-4F7C-8ED1-61E16F0C7A65}" type="parTrans" cxnId="{9D036665-A25B-44C2-B5B1-42B854E2329B}">
      <dgm:prSet/>
      <dgm:spPr/>
      <dgm:t>
        <a:bodyPr/>
        <a:lstStyle/>
        <a:p>
          <a:endParaRPr lang="nl-BE"/>
        </a:p>
      </dgm:t>
    </dgm:pt>
    <dgm:pt modelId="{9DC8C3B4-D867-43DD-9087-D25301930BA6}" type="sibTrans" cxnId="{9D036665-A25B-44C2-B5B1-42B854E2329B}">
      <dgm:prSet/>
      <dgm:spPr/>
      <dgm:t>
        <a:bodyPr/>
        <a:lstStyle/>
        <a:p>
          <a:endParaRPr lang="nl-BE"/>
        </a:p>
      </dgm:t>
    </dgm:pt>
    <dgm:pt modelId="{23340520-FC94-41B1-B8BB-A809DA4A2404}">
      <dgm:prSet phldrT="[Text]"/>
      <dgm:spPr>
        <a:solidFill>
          <a:srgbClr val="FFC000"/>
        </a:solidFill>
      </dgm:spPr>
      <dgm:t>
        <a:bodyPr/>
        <a:lstStyle/>
        <a:p>
          <a:r>
            <a:rPr lang="nl-BE" baseline="0" dirty="0" smtClean="0"/>
            <a:t>~</a:t>
          </a:r>
          <a:r>
            <a:rPr lang="nl-BE" dirty="0" smtClean="0"/>
            <a:t>5,1 % </a:t>
          </a:r>
          <a:r>
            <a:rPr lang="nl-BE" dirty="0" err="1" smtClean="0"/>
            <a:t>FPs</a:t>
          </a:r>
          <a:endParaRPr lang="nl-BE" dirty="0"/>
        </a:p>
      </dgm:t>
    </dgm:pt>
    <dgm:pt modelId="{4A140623-EB82-43F4-B9B3-7AA36AD6F257}" type="parTrans" cxnId="{B5E193FA-2493-49DC-AD58-2668D30FCBFA}">
      <dgm:prSet/>
      <dgm:spPr/>
      <dgm:t>
        <a:bodyPr/>
        <a:lstStyle/>
        <a:p>
          <a:endParaRPr lang="nl-BE"/>
        </a:p>
      </dgm:t>
    </dgm:pt>
    <dgm:pt modelId="{884DF01E-C33E-4966-A1E1-67D0673B41F4}" type="sibTrans" cxnId="{B5E193FA-2493-49DC-AD58-2668D30FCBFA}">
      <dgm:prSet/>
      <dgm:spPr/>
      <dgm:t>
        <a:bodyPr/>
        <a:lstStyle/>
        <a:p>
          <a:endParaRPr lang="nl-BE"/>
        </a:p>
      </dgm:t>
    </dgm:pt>
    <dgm:pt modelId="{740198B6-0B32-4C97-AF0A-C63F72C01681}" type="pres">
      <dgm:prSet presAssocID="{A29249BC-E7A1-4962-A1B3-4FCF1191CDD4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nl-BE"/>
        </a:p>
      </dgm:t>
    </dgm:pt>
    <dgm:pt modelId="{E6DABB70-3A8A-491E-B1B1-98B54C43A82D}" type="pres">
      <dgm:prSet presAssocID="{BA4F9824-C3A7-444C-BE80-9039DB3E8243}" presName="root1" presStyleCnt="0"/>
      <dgm:spPr/>
    </dgm:pt>
    <dgm:pt modelId="{5F9C7946-2B21-42E4-9265-4FA436ED9843}" type="pres">
      <dgm:prSet presAssocID="{BA4F9824-C3A7-444C-BE80-9039DB3E8243}" presName="LevelOneTextNode" presStyleLbl="node0" presStyleIdx="0" presStyleCnt="1" custScaleY="129377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A7F64AF7-0AE2-45CD-AE86-CA0C0219EF4E}" type="pres">
      <dgm:prSet presAssocID="{BA4F9824-C3A7-444C-BE80-9039DB3E8243}" presName="level2hierChild" presStyleCnt="0"/>
      <dgm:spPr/>
    </dgm:pt>
    <dgm:pt modelId="{5710D759-510D-4BDA-99AD-8A8E6F07A362}" type="pres">
      <dgm:prSet presAssocID="{A484ADE6-F5F9-4EDB-8129-6CD114DE4349}" presName="conn2-1" presStyleLbl="parChTrans1D2" presStyleIdx="0" presStyleCnt="6"/>
      <dgm:spPr/>
      <dgm:t>
        <a:bodyPr/>
        <a:lstStyle/>
        <a:p>
          <a:endParaRPr lang="nl-BE"/>
        </a:p>
      </dgm:t>
    </dgm:pt>
    <dgm:pt modelId="{70D049DB-14A0-47D3-A62D-EC40E2752516}" type="pres">
      <dgm:prSet presAssocID="{A484ADE6-F5F9-4EDB-8129-6CD114DE4349}" presName="connTx" presStyleLbl="parChTrans1D2" presStyleIdx="0" presStyleCnt="6"/>
      <dgm:spPr/>
      <dgm:t>
        <a:bodyPr/>
        <a:lstStyle/>
        <a:p>
          <a:endParaRPr lang="nl-BE"/>
        </a:p>
      </dgm:t>
    </dgm:pt>
    <dgm:pt modelId="{446C7C1F-F463-4D41-B54E-4DE33E01D9FF}" type="pres">
      <dgm:prSet presAssocID="{3AA63BB2-D220-49E4-AB73-0BC881B65AE9}" presName="root2" presStyleCnt="0"/>
      <dgm:spPr/>
    </dgm:pt>
    <dgm:pt modelId="{B07DD331-6F93-4CE1-B33F-D15937EF6D2A}" type="pres">
      <dgm:prSet presAssocID="{3AA63BB2-D220-49E4-AB73-0BC881B65AE9}" presName="LevelTwoTextNode" presStyleLbl="node2" presStyleIdx="0" presStyleCnt="6" custScaleY="104109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656D1499-B2CB-4D97-AF72-5D7A06E1DB6D}" type="pres">
      <dgm:prSet presAssocID="{3AA63BB2-D220-49E4-AB73-0BC881B65AE9}" presName="level3hierChild" presStyleCnt="0"/>
      <dgm:spPr/>
    </dgm:pt>
    <dgm:pt modelId="{E279D713-FAE2-4661-B870-7DC5C82658B5}" type="pres">
      <dgm:prSet presAssocID="{4D411A30-F2D6-431E-B7C9-055A443D931A}" presName="conn2-1" presStyleLbl="parChTrans1D2" presStyleIdx="1" presStyleCnt="6"/>
      <dgm:spPr/>
      <dgm:t>
        <a:bodyPr/>
        <a:lstStyle/>
        <a:p>
          <a:endParaRPr lang="nl-BE"/>
        </a:p>
      </dgm:t>
    </dgm:pt>
    <dgm:pt modelId="{75A02BF5-E8E3-41FA-B587-EDAE6A29728C}" type="pres">
      <dgm:prSet presAssocID="{4D411A30-F2D6-431E-B7C9-055A443D931A}" presName="connTx" presStyleLbl="parChTrans1D2" presStyleIdx="1" presStyleCnt="6"/>
      <dgm:spPr/>
      <dgm:t>
        <a:bodyPr/>
        <a:lstStyle/>
        <a:p>
          <a:endParaRPr lang="nl-BE"/>
        </a:p>
      </dgm:t>
    </dgm:pt>
    <dgm:pt modelId="{56650921-EBB6-4396-B4EB-A016E9EFD7C2}" type="pres">
      <dgm:prSet presAssocID="{BAB512AC-91CC-4ECD-8A47-B7C96AEFC0C6}" presName="root2" presStyleCnt="0"/>
      <dgm:spPr/>
    </dgm:pt>
    <dgm:pt modelId="{177B1E59-96CD-4C0E-A9C6-CC9F0053C7D8}" type="pres">
      <dgm:prSet presAssocID="{BAB512AC-91CC-4ECD-8A47-B7C96AEFC0C6}" presName="LevelTwoTextNode" presStyleLbl="node2" presStyleIdx="1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8D7BB59C-1D23-4FBC-A8A9-CE64EE92110A}" type="pres">
      <dgm:prSet presAssocID="{BAB512AC-91CC-4ECD-8A47-B7C96AEFC0C6}" presName="level3hierChild" presStyleCnt="0"/>
      <dgm:spPr/>
    </dgm:pt>
    <dgm:pt modelId="{E7C6B77D-F5F5-4057-AB65-947FC54538D3}" type="pres">
      <dgm:prSet presAssocID="{340211CC-6173-4ACC-8885-C9E8A415F3C4}" presName="conn2-1" presStyleLbl="parChTrans1D2" presStyleIdx="2" presStyleCnt="6"/>
      <dgm:spPr/>
      <dgm:t>
        <a:bodyPr/>
        <a:lstStyle/>
        <a:p>
          <a:endParaRPr lang="nl-BE"/>
        </a:p>
      </dgm:t>
    </dgm:pt>
    <dgm:pt modelId="{10937BF0-F960-4BAE-A481-C0A0F5FAB23F}" type="pres">
      <dgm:prSet presAssocID="{340211CC-6173-4ACC-8885-C9E8A415F3C4}" presName="connTx" presStyleLbl="parChTrans1D2" presStyleIdx="2" presStyleCnt="6"/>
      <dgm:spPr/>
      <dgm:t>
        <a:bodyPr/>
        <a:lstStyle/>
        <a:p>
          <a:endParaRPr lang="nl-BE"/>
        </a:p>
      </dgm:t>
    </dgm:pt>
    <dgm:pt modelId="{BE8C1EBA-0DC8-4996-9082-72822DAB302E}" type="pres">
      <dgm:prSet presAssocID="{D483006C-0E8D-44FE-9941-1EF6FC14AC4C}" presName="root2" presStyleCnt="0"/>
      <dgm:spPr/>
    </dgm:pt>
    <dgm:pt modelId="{A890F6A1-C561-4DDD-BAED-9ECC4B7C61AB}" type="pres">
      <dgm:prSet presAssocID="{D483006C-0E8D-44FE-9941-1EF6FC14AC4C}" presName="LevelTwoTextNode" presStyleLbl="node2" presStyleIdx="2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3D51C5F2-BE49-423E-ABCA-D3D392228231}" type="pres">
      <dgm:prSet presAssocID="{D483006C-0E8D-44FE-9941-1EF6FC14AC4C}" presName="level3hierChild" presStyleCnt="0"/>
      <dgm:spPr/>
    </dgm:pt>
    <dgm:pt modelId="{577759AA-2767-4234-AF3A-215BEC1150F8}" type="pres">
      <dgm:prSet presAssocID="{BCBBA6F0-9B3B-4371-A544-11B7D9605E0F}" presName="conn2-1" presStyleLbl="parChTrans1D2" presStyleIdx="3" presStyleCnt="6"/>
      <dgm:spPr/>
      <dgm:t>
        <a:bodyPr/>
        <a:lstStyle/>
        <a:p>
          <a:endParaRPr lang="nl-BE"/>
        </a:p>
      </dgm:t>
    </dgm:pt>
    <dgm:pt modelId="{FBFFEB17-D294-4A93-AE47-F8C454C43B2F}" type="pres">
      <dgm:prSet presAssocID="{BCBBA6F0-9B3B-4371-A544-11B7D9605E0F}" presName="connTx" presStyleLbl="parChTrans1D2" presStyleIdx="3" presStyleCnt="6"/>
      <dgm:spPr/>
      <dgm:t>
        <a:bodyPr/>
        <a:lstStyle/>
        <a:p>
          <a:endParaRPr lang="nl-BE"/>
        </a:p>
      </dgm:t>
    </dgm:pt>
    <dgm:pt modelId="{307C8037-B75C-401D-9D8E-90ED1E7DE758}" type="pres">
      <dgm:prSet presAssocID="{38CC7F77-C9EC-4DAF-BE52-A13C0897C37F}" presName="root2" presStyleCnt="0"/>
      <dgm:spPr/>
    </dgm:pt>
    <dgm:pt modelId="{FC0AE1A0-2FFE-4497-8A6C-711E22DD8265}" type="pres">
      <dgm:prSet presAssocID="{38CC7F77-C9EC-4DAF-BE52-A13C0897C37F}" presName="LevelTwoTextNode" presStyleLbl="node2" presStyleIdx="3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EEB2E905-C81B-416F-86D4-50E95525D738}" type="pres">
      <dgm:prSet presAssocID="{38CC7F77-C9EC-4DAF-BE52-A13C0897C37F}" presName="level3hierChild" presStyleCnt="0"/>
      <dgm:spPr/>
    </dgm:pt>
    <dgm:pt modelId="{E70A4911-B9EA-4CE8-9C48-F1B75B1F99E8}" type="pres">
      <dgm:prSet presAssocID="{2EE3C2E9-2269-4F7C-8ED1-61E16F0C7A65}" presName="conn2-1" presStyleLbl="parChTrans1D2" presStyleIdx="4" presStyleCnt="6"/>
      <dgm:spPr/>
      <dgm:t>
        <a:bodyPr/>
        <a:lstStyle/>
        <a:p>
          <a:endParaRPr lang="nl-BE"/>
        </a:p>
      </dgm:t>
    </dgm:pt>
    <dgm:pt modelId="{04D32EA3-FBD2-4B9B-8689-CE0C04402C9F}" type="pres">
      <dgm:prSet presAssocID="{2EE3C2E9-2269-4F7C-8ED1-61E16F0C7A65}" presName="connTx" presStyleLbl="parChTrans1D2" presStyleIdx="4" presStyleCnt="6"/>
      <dgm:spPr/>
      <dgm:t>
        <a:bodyPr/>
        <a:lstStyle/>
        <a:p>
          <a:endParaRPr lang="nl-BE"/>
        </a:p>
      </dgm:t>
    </dgm:pt>
    <dgm:pt modelId="{B1888EAC-A5A6-4B95-8A69-FCA6ACA46933}" type="pres">
      <dgm:prSet presAssocID="{97F233B0-42AD-4ED0-842F-1600F87C24A6}" presName="root2" presStyleCnt="0"/>
      <dgm:spPr/>
    </dgm:pt>
    <dgm:pt modelId="{9DE22C7B-90CF-4BE2-8BFC-34999FF50C62}" type="pres">
      <dgm:prSet presAssocID="{97F233B0-42AD-4ED0-842F-1600F87C24A6}" presName="LevelTwoTextNode" presStyleLbl="node2" presStyleIdx="4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C57F7826-9239-411A-A42E-EC73317CF887}" type="pres">
      <dgm:prSet presAssocID="{97F233B0-42AD-4ED0-842F-1600F87C24A6}" presName="level3hierChild" presStyleCnt="0"/>
      <dgm:spPr/>
    </dgm:pt>
    <dgm:pt modelId="{0B6B7AAD-134E-4785-A3D3-30069128D839}" type="pres">
      <dgm:prSet presAssocID="{4A140623-EB82-43F4-B9B3-7AA36AD6F257}" presName="conn2-1" presStyleLbl="parChTrans1D2" presStyleIdx="5" presStyleCnt="6"/>
      <dgm:spPr/>
      <dgm:t>
        <a:bodyPr/>
        <a:lstStyle/>
        <a:p>
          <a:endParaRPr lang="nl-BE"/>
        </a:p>
      </dgm:t>
    </dgm:pt>
    <dgm:pt modelId="{B22FC130-B815-45AD-9CC9-9F2C539DBABA}" type="pres">
      <dgm:prSet presAssocID="{4A140623-EB82-43F4-B9B3-7AA36AD6F257}" presName="connTx" presStyleLbl="parChTrans1D2" presStyleIdx="5" presStyleCnt="6"/>
      <dgm:spPr/>
      <dgm:t>
        <a:bodyPr/>
        <a:lstStyle/>
        <a:p>
          <a:endParaRPr lang="nl-BE"/>
        </a:p>
      </dgm:t>
    </dgm:pt>
    <dgm:pt modelId="{6783C164-39D4-4A84-B135-C908D3356F62}" type="pres">
      <dgm:prSet presAssocID="{23340520-FC94-41B1-B8BB-A809DA4A2404}" presName="root2" presStyleCnt="0"/>
      <dgm:spPr/>
    </dgm:pt>
    <dgm:pt modelId="{7B0F2542-213C-426B-B40C-9CCBFDE4205E}" type="pres">
      <dgm:prSet presAssocID="{23340520-FC94-41B1-B8BB-A809DA4A2404}" presName="LevelTwoTextNode" presStyleLbl="node2" presStyleIdx="5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2521E653-9C20-42AE-8B41-BB09BD42005D}" type="pres">
      <dgm:prSet presAssocID="{23340520-FC94-41B1-B8BB-A809DA4A2404}" presName="level3hierChild" presStyleCnt="0"/>
      <dgm:spPr/>
    </dgm:pt>
  </dgm:ptLst>
  <dgm:cxnLst>
    <dgm:cxn modelId="{8EF1C831-0824-43FE-906A-DCFF441CA93C}" type="presOf" srcId="{23340520-FC94-41B1-B8BB-A809DA4A2404}" destId="{7B0F2542-213C-426B-B40C-9CCBFDE4205E}" srcOrd="0" destOrd="0" presId="urn:microsoft.com/office/officeart/2008/layout/HorizontalMultiLevelHierarchy"/>
    <dgm:cxn modelId="{E51C07B5-1459-4040-9BA2-81CCDEDEF217}" type="presOf" srcId="{3AA63BB2-D220-49E4-AB73-0BC881B65AE9}" destId="{B07DD331-6F93-4CE1-B33F-D15937EF6D2A}" srcOrd="0" destOrd="0" presId="urn:microsoft.com/office/officeart/2008/layout/HorizontalMultiLevelHierarchy"/>
    <dgm:cxn modelId="{C3442994-230C-4123-89B8-911943034E23}" type="presOf" srcId="{A29249BC-E7A1-4962-A1B3-4FCF1191CDD4}" destId="{740198B6-0B32-4C97-AF0A-C63F72C01681}" srcOrd="0" destOrd="0" presId="urn:microsoft.com/office/officeart/2008/layout/HorizontalMultiLevelHierarchy"/>
    <dgm:cxn modelId="{5E429C94-8F2C-40CA-BBB3-3FDFEBAC5A15}" type="presOf" srcId="{340211CC-6173-4ACC-8885-C9E8A415F3C4}" destId="{E7C6B77D-F5F5-4057-AB65-947FC54538D3}" srcOrd="0" destOrd="0" presId="urn:microsoft.com/office/officeart/2008/layout/HorizontalMultiLevelHierarchy"/>
    <dgm:cxn modelId="{C0A9378B-F254-42BE-9270-BC8FAE1E6671}" type="presOf" srcId="{4A140623-EB82-43F4-B9B3-7AA36AD6F257}" destId="{B22FC130-B815-45AD-9CC9-9F2C539DBABA}" srcOrd="1" destOrd="0" presId="urn:microsoft.com/office/officeart/2008/layout/HorizontalMultiLevelHierarchy"/>
    <dgm:cxn modelId="{8788C2C3-D854-4429-8D13-AF9B913152BA}" type="presOf" srcId="{38CC7F77-C9EC-4DAF-BE52-A13C0897C37F}" destId="{FC0AE1A0-2FFE-4497-8A6C-711E22DD8265}" srcOrd="0" destOrd="0" presId="urn:microsoft.com/office/officeart/2008/layout/HorizontalMultiLevelHierarchy"/>
    <dgm:cxn modelId="{514556DF-5607-498D-A6CE-1C2B3861AFDB}" type="presOf" srcId="{BCBBA6F0-9B3B-4371-A544-11B7D9605E0F}" destId="{577759AA-2767-4234-AF3A-215BEC1150F8}" srcOrd="0" destOrd="0" presId="urn:microsoft.com/office/officeart/2008/layout/HorizontalMultiLevelHierarchy"/>
    <dgm:cxn modelId="{23EAC951-E98D-413C-A36D-A9DAC3DA3355}" srcId="{BA4F9824-C3A7-444C-BE80-9039DB3E8243}" destId="{38CC7F77-C9EC-4DAF-BE52-A13C0897C37F}" srcOrd="3" destOrd="0" parTransId="{BCBBA6F0-9B3B-4371-A544-11B7D9605E0F}" sibTransId="{CA119EB0-992A-4B72-BECF-527838D78CDA}"/>
    <dgm:cxn modelId="{8371DC60-CDB0-4601-B2B4-BE8BD30E439A}" type="presOf" srcId="{BCBBA6F0-9B3B-4371-A544-11B7D9605E0F}" destId="{FBFFEB17-D294-4A93-AE47-F8C454C43B2F}" srcOrd="1" destOrd="0" presId="urn:microsoft.com/office/officeart/2008/layout/HorizontalMultiLevelHierarchy"/>
    <dgm:cxn modelId="{418B1A32-2E08-469B-AAAC-0192AF2E1EEC}" type="presOf" srcId="{2EE3C2E9-2269-4F7C-8ED1-61E16F0C7A65}" destId="{04D32EA3-FBD2-4B9B-8689-CE0C04402C9F}" srcOrd="1" destOrd="0" presId="urn:microsoft.com/office/officeart/2008/layout/HorizontalMultiLevelHierarchy"/>
    <dgm:cxn modelId="{AA5E632F-AEE5-4939-8626-9ED8C1BA36D3}" type="presOf" srcId="{BA4F9824-C3A7-444C-BE80-9039DB3E8243}" destId="{5F9C7946-2B21-42E4-9265-4FA436ED9843}" srcOrd="0" destOrd="0" presId="urn:microsoft.com/office/officeart/2008/layout/HorizontalMultiLevelHierarchy"/>
    <dgm:cxn modelId="{22977B3D-4B49-4A6F-8E97-1F16F844B2A6}" type="presOf" srcId="{97F233B0-42AD-4ED0-842F-1600F87C24A6}" destId="{9DE22C7B-90CF-4BE2-8BFC-34999FF50C62}" srcOrd="0" destOrd="0" presId="urn:microsoft.com/office/officeart/2008/layout/HorizontalMultiLevelHierarchy"/>
    <dgm:cxn modelId="{D2390B40-7795-4B70-8BD4-09CF5752A871}" srcId="{BA4F9824-C3A7-444C-BE80-9039DB3E8243}" destId="{3AA63BB2-D220-49E4-AB73-0BC881B65AE9}" srcOrd="0" destOrd="0" parTransId="{A484ADE6-F5F9-4EDB-8129-6CD114DE4349}" sibTransId="{A4E063BB-3743-45C3-A911-AB7504BC1289}"/>
    <dgm:cxn modelId="{600454DB-FE6E-4FB1-8337-AD4F71C6AEEB}" srcId="{BA4F9824-C3A7-444C-BE80-9039DB3E8243}" destId="{BAB512AC-91CC-4ECD-8A47-B7C96AEFC0C6}" srcOrd="1" destOrd="0" parTransId="{4D411A30-F2D6-431E-B7C9-055A443D931A}" sibTransId="{28780325-97CB-4F9A-B898-CDF9AAFF4505}"/>
    <dgm:cxn modelId="{9D036665-A25B-44C2-B5B1-42B854E2329B}" srcId="{BA4F9824-C3A7-444C-BE80-9039DB3E8243}" destId="{97F233B0-42AD-4ED0-842F-1600F87C24A6}" srcOrd="4" destOrd="0" parTransId="{2EE3C2E9-2269-4F7C-8ED1-61E16F0C7A65}" sibTransId="{9DC8C3B4-D867-43DD-9087-D25301930BA6}"/>
    <dgm:cxn modelId="{3DE6A2D1-D8D0-4DEA-8098-98A8A1B97230}" type="presOf" srcId="{4D411A30-F2D6-431E-B7C9-055A443D931A}" destId="{E279D713-FAE2-4661-B870-7DC5C82658B5}" srcOrd="0" destOrd="0" presId="urn:microsoft.com/office/officeart/2008/layout/HorizontalMultiLevelHierarchy"/>
    <dgm:cxn modelId="{38219559-3624-4B48-8500-3407DC3C7025}" type="presOf" srcId="{4A140623-EB82-43F4-B9B3-7AA36AD6F257}" destId="{0B6B7AAD-134E-4785-A3D3-30069128D839}" srcOrd="0" destOrd="0" presId="urn:microsoft.com/office/officeart/2008/layout/HorizontalMultiLevelHierarchy"/>
    <dgm:cxn modelId="{C5642976-4468-4BBD-9AF5-C0BDC44BD51F}" type="presOf" srcId="{BAB512AC-91CC-4ECD-8A47-B7C96AEFC0C6}" destId="{177B1E59-96CD-4C0E-A9C6-CC9F0053C7D8}" srcOrd="0" destOrd="0" presId="urn:microsoft.com/office/officeart/2008/layout/HorizontalMultiLevelHierarchy"/>
    <dgm:cxn modelId="{A5DD48D5-A704-4D73-9B39-A5CBACEF7B3F}" type="presOf" srcId="{A484ADE6-F5F9-4EDB-8129-6CD114DE4349}" destId="{5710D759-510D-4BDA-99AD-8A8E6F07A362}" srcOrd="0" destOrd="0" presId="urn:microsoft.com/office/officeart/2008/layout/HorizontalMultiLevelHierarchy"/>
    <dgm:cxn modelId="{90F7AEA5-06C3-49C3-A32C-2952B231C999}" type="presOf" srcId="{A484ADE6-F5F9-4EDB-8129-6CD114DE4349}" destId="{70D049DB-14A0-47D3-A62D-EC40E2752516}" srcOrd="1" destOrd="0" presId="urn:microsoft.com/office/officeart/2008/layout/HorizontalMultiLevelHierarchy"/>
    <dgm:cxn modelId="{45B31554-D057-42BB-A5D0-EE575333066E}" type="presOf" srcId="{2EE3C2E9-2269-4F7C-8ED1-61E16F0C7A65}" destId="{E70A4911-B9EA-4CE8-9C48-F1B75B1F99E8}" srcOrd="0" destOrd="0" presId="urn:microsoft.com/office/officeart/2008/layout/HorizontalMultiLevelHierarchy"/>
    <dgm:cxn modelId="{3EA5FAC9-EBC9-4910-B884-48BD526E96D8}" srcId="{A29249BC-E7A1-4962-A1B3-4FCF1191CDD4}" destId="{BA4F9824-C3A7-444C-BE80-9039DB3E8243}" srcOrd="0" destOrd="0" parTransId="{2720627F-C4D7-4A36-BC7C-07AAC0B05DB6}" sibTransId="{9C37A826-52CE-4E02-B584-2DBFBF973057}"/>
    <dgm:cxn modelId="{B5E193FA-2493-49DC-AD58-2668D30FCBFA}" srcId="{BA4F9824-C3A7-444C-BE80-9039DB3E8243}" destId="{23340520-FC94-41B1-B8BB-A809DA4A2404}" srcOrd="5" destOrd="0" parTransId="{4A140623-EB82-43F4-B9B3-7AA36AD6F257}" sibTransId="{884DF01E-C33E-4966-A1E1-67D0673B41F4}"/>
    <dgm:cxn modelId="{868E9F99-5876-411A-B955-3AC9F5CA8A87}" type="presOf" srcId="{4D411A30-F2D6-431E-B7C9-055A443D931A}" destId="{75A02BF5-E8E3-41FA-B587-EDAE6A29728C}" srcOrd="1" destOrd="0" presId="urn:microsoft.com/office/officeart/2008/layout/HorizontalMultiLevelHierarchy"/>
    <dgm:cxn modelId="{D003D9F6-6B40-4F3C-9179-D113D34D2E7D}" type="presOf" srcId="{D483006C-0E8D-44FE-9941-1EF6FC14AC4C}" destId="{A890F6A1-C561-4DDD-BAED-9ECC4B7C61AB}" srcOrd="0" destOrd="0" presId="urn:microsoft.com/office/officeart/2008/layout/HorizontalMultiLevelHierarchy"/>
    <dgm:cxn modelId="{82C987F8-00F0-468C-A4DA-F325A0070C39}" type="presOf" srcId="{340211CC-6173-4ACC-8885-C9E8A415F3C4}" destId="{10937BF0-F960-4BAE-A481-C0A0F5FAB23F}" srcOrd="1" destOrd="0" presId="urn:microsoft.com/office/officeart/2008/layout/HorizontalMultiLevelHierarchy"/>
    <dgm:cxn modelId="{759E9FAD-FD32-48E4-865A-7A2980CB6E51}" srcId="{BA4F9824-C3A7-444C-BE80-9039DB3E8243}" destId="{D483006C-0E8D-44FE-9941-1EF6FC14AC4C}" srcOrd="2" destOrd="0" parTransId="{340211CC-6173-4ACC-8885-C9E8A415F3C4}" sibTransId="{75FE9F3E-47D2-4934-B74A-08E2D1FC71F7}"/>
    <dgm:cxn modelId="{BCA0AF2B-B801-43F5-AB6F-070DE60B1110}" type="presParOf" srcId="{740198B6-0B32-4C97-AF0A-C63F72C01681}" destId="{E6DABB70-3A8A-491E-B1B1-98B54C43A82D}" srcOrd="0" destOrd="0" presId="urn:microsoft.com/office/officeart/2008/layout/HorizontalMultiLevelHierarchy"/>
    <dgm:cxn modelId="{1252D6F6-243A-43F2-B050-76D9E43F36C4}" type="presParOf" srcId="{E6DABB70-3A8A-491E-B1B1-98B54C43A82D}" destId="{5F9C7946-2B21-42E4-9265-4FA436ED9843}" srcOrd="0" destOrd="0" presId="urn:microsoft.com/office/officeart/2008/layout/HorizontalMultiLevelHierarchy"/>
    <dgm:cxn modelId="{9380CE91-A4E0-4B9E-A30A-147295A277A4}" type="presParOf" srcId="{E6DABB70-3A8A-491E-B1B1-98B54C43A82D}" destId="{A7F64AF7-0AE2-45CD-AE86-CA0C0219EF4E}" srcOrd="1" destOrd="0" presId="urn:microsoft.com/office/officeart/2008/layout/HorizontalMultiLevelHierarchy"/>
    <dgm:cxn modelId="{89A96CC1-307A-4058-B1DF-0F9E327147C3}" type="presParOf" srcId="{A7F64AF7-0AE2-45CD-AE86-CA0C0219EF4E}" destId="{5710D759-510D-4BDA-99AD-8A8E6F07A362}" srcOrd="0" destOrd="0" presId="urn:microsoft.com/office/officeart/2008/layout/HorizontalMultiLevelHierarchy"/>
    <dgm:cxn modelId="{FC0C95E3-21EC-4935-8152-034B687221C0}" type="presParOf" srcId="{5710D759-510D-4BDA-99AD-8A8E6F07A362}" destId="{70D049DB-14A0-47D3-A62D-EC40E2752516}" srcOrd="0" destOrd="0" presId="urn:microsoft.com/office/officeart/2008/layout/HorizontalMultiLevelHierarchy"/>
    <dgm:cxn modelId="{C17824FB-6F0D-4C14-A8B4-E84C4606EEC7}" type="presParOf" srcId="{A7F64AF7-0AE2-45CD-AE86-CA0C0219EF4E}" destId="{446C7C1F-F463-4D41-B54E-4DE33E01D9FF}" srcOrd="1" destOrd="0" presId="urn:microsoft.com/office/officeart/2008/layout/HorizontalMultiLevelHierarchy"/>
    <dgm:cxn modelId="{FBFE72E1-A0B2-43F7-B890-A5EC749A6B33}" type="presParOf" srcId="{446C7C1F-F463-4D41-B54E-4DE33E01D9FF}" destId="{B07DD331-6F93-4CE1-B33F-D15937EF6D2A}" srcOrd="0" destOrd="0" presId="urn:microsoft.com/office/officeart/2008/layout/HorizontalMultiLevelHierarchy"/>
    <dgm:cxn modelId="{E639F90D-5917-43BF-BFEB-0CCD0D56E37C}" type="presParOf" srcId="{446C7C1F-F463-4D41-B54E-4DE33E01D9FF}" destId="{656D1499-B2CB-4D97-AF72-5D7A06E1DB6D}" srcOrd="1" destOrd="0" presId="urn:microsoft.com/office/officeart/2008/layout/HorizontalMultiLevelHierarchy"/>
    <dgm:cxn modelId="{7844309F-74B4-41E3-94A1-126D0906D572}" type="presParOf" srcId="{A7F64AF7-0AE2-45CD-AE86-CA0C0219EF4E}" destId="{E279D713-FAE2-4661-B870-7DC5C82658B5}" srcOrd="2" destOrd="0" presId="urn:microsoft.com/office/officeart/2008/layout/HorizontalMultiLevelHierarchy"/>
    <dgm:cxn modelId="{D4820EDD-1286-49D4-872C-595BE952D9A0}" type="presParOf" srcId="{E279D713-FAE2-4661-B870-7DC5C82658B5}" destId="{75A02BF5-E8E3-41FA-B587-EDAE6A29728C}" srcOrd="0" destOrd="0" presId="urn:microsoft.com/office/officeart/2008/layout/HorizontalMultiLevelHierarchy"/>
    <dgm:cxn modelId="{779EC9AC-65CB-4781-957B-87B84398FFA0}" type="presParOf" srcId="{A7F64AF7-0AE2-45CD-AE86-CA0C0219EF4E}" destId="{56650921-EBB6-4396-B4EB-A016E9EFD7C2}" srcOrd="3" destOrd="0" presId="urn:microsoft.com/office/officeart/2008/layout/HorizontalMultiLevelHierarchy"/>
    <dgm:cxn modelId="{16BA4B59-3080-4D13-9A20-1D00D5A7F65D}" type="presParOf" srcId="{56650921-EBB6-4396-B4EB-A016E9EFD7C2}" destId="{177B1E59-96CD-4C0E-A9C6-CC9F0053C7D8}" srcOrd="0" destOrd="0" presId="urn:microsoft.com/office/officeart/2008/layout/HorizontalMultiLevelHierarchy"/>
    <dgm:cxn modelId="{17360F1E-6929-440B-BBAC-D8711F260462}" type="presParOf" srcId="{56650921-EBB6-4396-B4EB-A016E9EFD7C2}" destId="{8D7BB59C-1D23-4FBC-A8A9-CE64EE92110A}" srcOrd="1" destOrd="0" presId="urn:microsoft.com/office/officeart/2008/layout/HorizontalMultiLevelHierarchy"/>
    <dgm:cxn modelId="{C8DF54BD-B52E-4789-AF09-63CD7E0F16F0}" type="presParOf" srcId="{A7F64AF7-0AE2-45CD-AE86-CA0C0219EF4E}" destId="{E7C6B77D-F5F5-4057-AB65-947FC54538D3}" srcOrd="4" destOrd="0" presId="urn:microsoft.com/office/officeart/2008/layout/HorizontalMultiLevelHierarchy"/>
    <dgm:cxn modelId="{2C549F3E-BD09-4AEC-9809-40F268EC56C2}" type="presParOf" srcId="{E7C6B77D-F5F5-4057-AB65-947FC54538D3}" destId="{10937BF0-F960-4BAE-A481-C0A0F5FAB23F}" srcOrd="0" destOrd="0" presId="urn:microsoft.com/office/officeart/2008/layout/HorizontalMultiLevelHierarchy"/>
    <dgm:cxn modelId="{B0721C63-CA61-4A09-B378-1B4E9955B0C3}" type="presParOf" srcId="{A7F64AF7-0AE2-45CD-AE86-CA0C0219EF4E}" destId="{BE8C1EBA-0DC8-4996-9082-72822DAB302E}" srcOrd="5" destOrd="0" presId="urn:microsoft.com/office/officeart/2008/layout/HorizontalMultiLevelHierarchy"/>
    <dgm:cxn modelId="{2D2B1D09-6281-4A84-B081-AC5AEE9DAF90}" type="presParOf" srcId="{BE8C1EBA-0DC8-4996-9082-72822DAB302E}" destId="{A890F6A1-C561-4DDD-BAED-9ECC4B7C61AB}" srcOrd="0" destOrd="0" presId="urn:microsoft.com/office/officeart/2008/layout/HorizontalMultiLevelHierarchy"/>
    <dgm:cxn modelId="{2E9B6A58-6014-4B1C-962A-C95A99963462}" type="presParOf" srcId="{BE8C1EBA-0DC8-4996-9082-72822DAB302E}" destId="{3D51C5F2-BE49-423E-ABCA-D3D392228231}" srcOrd="1" destOrd="0" presId="urn:microsoft.com/office/officeart/2008/layout/HorizontalMultiLevelHierarchy"/>
    <dgm:cxn modelId="{45FDC6C0-50F8-4E7E-88F1-6A029201C2B6}" type="presParOf" srcId="{A7F64AF7-0AE2-45CD-AE86-CA0C0219EF4E}" destId="{577759AA-2767-4234-AF3A-215BEC1150F8}" srcOrd="6" destOrd="0" presId="urn:microsoft.com/office/officeart/2008/layout/HorizontalMultiLevelHierarchy"/>
    <dgm:cxn modelId="{D71C54C3-BB05-42C5-85CB-62CF57962076}" type="presParOf" srcId="{577759AA-2767-4234-AF3A-215BEC1150F8}" destId="{FBFFEB17-D294-4A93-AE47-F8C454C43B2F}" srcOrd="0" destOrd="0" presId="urn:microsoft.com/office/officeart/2008/layout/HorizontalMultiLevelHierarchy"/>
    <dgm:cxn modelId="{25BBBB46-7D77-4706-A9ED-0ED56131C0CC}" type="presParOf" srcId="{A7F64AF7-0AE2-45CD-AE86-CA0C0219EF4E}" destId="{307C8037-B75C-401D-9D8E-90ED1E7DE758}" srcOrd="7" destOrd="0" presId="urn:microsoft.com/office/officeart/2008/layout/HorizontalMultiLevelHierarchy"/>
    <dgm:cxn modelId="{0146F9D6-8391-44D5-AF6E-495C3EC49729}" type="presParOf" srcId="{307C8037-B75C-401D-9D8E-90ED1E7DE758}" destId="{FC0AE1A0-2FFE-4497-8A6C-711E22DD8265}" srcOrd="0" destOrd="0" presId="urn:microsoft.com/office/officeart/2008/layout/HorizontalMultiLevelHierarchy"/>
    <dgm:cxn modelId="{923BC794-0451-4B91-B418-68BEFD8D6D9E}" type="presParOf" srcId="{307C8037-B75C-401D-9D8E-90ED1E7DE758}" destId="{EEB2E905-C81B-416F-86D4-50E95525D738}" srcOrd="1" destOrd="0" presId="urn:microsoft.com/office/officeart/2008/layout/HorizontalMultiLevelHierarchy"/>
    <dgm:cxn modelId="{75F0EB14-EFED-4495-9321-403FDA562CF1}" type="presParOf" srcId="{A7F64AF7-0AE2-45CD-AE86-CA0C0219EF4E}" destId="{E70A4911-B9EA-4CE8-9C48-F1B75B1F99E8}" srcOrd="8" destOrd="0" presId="urn:microsoft.com/office/officeart/2008/layout/HorizontalMultiLevelHierarchy"/>
    <dgm:cxn modelId="{F6BF2DBC-5661-4E4F-9EE9-CEB193F10735}" type="presParOf" srcId="{E70A4911-B9EA-4CE8-9C48-F1B75B1F99E8}" destId="{04D32EA3-FBD2-4B9B-8689-CE0C04402C9F}" srcOrd="0" destOrd="0" presId="urn:microsoft.com/office/officeart/2008/layout/HorizontalMultiLevelHierarchy"/>
    <dgm:cxn modelId="{32BB3C85-C3DB-47A4-ADAA-7849913800F2}" type="presParOf" srcId="{A7F64AF7-0AE2-45CD-AE86-CA0C0219EF4E}" destId="{B1888EAC-A5A6-4B95-8A69-FCA6ACA46933}" srcOrd="9" destOrd="0" presId="urn:microsoft.com/office/officeart/2008/layout/HorizontalMultiLevelHierarchy"/>
    <dgm:cxn modelId="{E21A3C86-C3B6-469D-B839-F0676142F83A}" type="presParOf" srcId="{B1888EAC-A5A6-4B95-8A69-FCA6ACA46933}" destId="{9DE22C7B-90CF-4BE2-8BFC-34999FF50C62}" srcOrd="0" destOrd="0" presId="urn:microsoft.com/office/officeart/2008/layout/HorizontalMultiLevelHierarchy"/>
    <dgm:cxn modelId="{9D3C61DA-2F36-4C78-A0C8-B3E7782343F1}" type="presParOf" srcId="{B1888EAC-A5A6-4B95-8A69-FCA6ACA46933}" destId="{C57F7826-9239-411A-A42E-EC73317CF887}" srcOrd="1" destOrd="0" presId="urn:microsoft.com/office/officeart/2008/layout/HorizontalMultiLevelHierarchy"/>
    <dgm:cxn modelId="{9DC1D6F5-6EAD-4C9C-8E5F-329A780FEAA9}" type="presParOf" srcId="{A7F64AF7-0AE2-45CD-AE86-CA0C0219EF4E}" destId="{0B6B7AAD-134E-4785-A3D3-30069128D839}" srcOrd="10" destOrd="0" presId="urn:microsoft.com/office/officeart/2008/layout/HorizontalMultiLevelHierarchy"/>
    <dgm:cxn modelId="{DFE7AD60-D606-4A62-9CD0-4875272E4DCC}" type="presParOf" srcId="{0B6B7AAD-134E-4785-A3D3-30069128D839}" destId="{B22FC130-B815-45AD-9CC9-9F2C539DBABA}" srcOrd="0" destOrd="0" presId="urn:microsoft.com/office/officeart/2008/layout/HorizontalMultiLevelHierarchy"/>
    <dgm:cxn modelId="{DCDB5820-8DC3-49D2-BC51-7129783CFB92}" type="presParOf" srcId="{A7F64AF7-0AE2-45CD-AE86-CA0C0219EF4E}" destId="{6783C164-39D4-4A84-B135-C908D3356F62}" srcOrd="11" destOrd="0" presId="urn:microsoft.com/office/officeart/2008/layout/HorizontalMultiLevelHierarchy"/>
    <dgm:cxn modelId="{573F1C28-29DB-4340-BBE4-2CBAB8C1F562}" type="presParOf" srcId="{6783C164-39D4-4A84-B135-C908D3356F62}" destId="{7B0F2542-213C-426B-B40C-9CCBFDE4205E}" srcOrd="0" destOrd="0" presId="urn:microsoft.com/office/officeart/2008/layout/HorizontalMultiLevelHierarchy"/>
    <dgm:cxn modelId="{D9468C58-19DF-4B2D-ABD1-780B85985768}" type="presParOf" srcId="{6783C164-39D4-4A84-B135-C908D3356F62}" destId="{2521E653-9C20-42AE-8B41-BB09BD42005D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29249BC-E7A1-4962-A1B3-4FCF1191CDD4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BE"/>
        </a:p>
      </dgm:t>
    </dgm:pt>
    <dgm:pt modelId="{BA4F9824-C3A7-444C-BE80-9039DB3E8243}">
      <dgm:prSet phldrT="[Text]"/>
      <dgm:spPr/>
      <dgm:t>
        <a:bodyPr/>
        <a:lstStyle/>
        <a:p>
          <a:r>
            <a:rPr lang="nl-BE" dirty="0" smtClean="0"/>
            <a:t>1 ton </a:t>
          </a:r>
          <a:r>
            <a:rPr lang="nl-BE" dirty="0" err="1" smtClean="0"/>
            <a:t>UO</a:t>
          </a:r>
          <a:r>
            <a:rPr lang="nl-BE" baseline="-25000" dirty="0" err="1" smtClean="0"/>
            <a:t>2</a:t>
          </a:r>
          <a:r>
            <a:rPr lang="nl-BE" baseline="-25000" dirty="0" smtClean="0"/>
            <a:t> </a:t>
          </a:r>
          <a:r>
            <a:rPr lang="nl-BE" baseline="0" dirty="0" err="1" smtClean="0"/>
            <a:t>used</a:t>
          </a:r>
          <a:r>
            <a:rPr lang="nl-BE" baseline="0" dirty="0" smtClean="0"/>
            <a:t> </a:t>
          </a:r>
          <a:r>
            <a:rPr lang="nl-BE" baseline="0" dirty="0" err="1" smtClean="0"/>
            <a:t>fuel</a:t>
          </a:r>
          <a:r>
            <a:rPr lang="nl-BE" baseline="0" dirty="0" smtClean="0"/>
            <a:t> (50 </a:t>
          </a:r>
          <a:r>
            <a:rPr lang="nl-BE" baseline="0" dirty="0" err="1" smtClean="0"/>
            <a:t>GWd</a:t>
          </a:r>
          <a:r>
            <a:rPr lang="nl-BE" baseline="0" dirty="0" smtClean="0"/>
            <a:t>/t)</a:t>
          </a:r>
          <a:endParaRPr lang="nl-BE" baseline="0" dirty="0"/>
        </a:p>
      </dgm:t>
    </dgm:pt>
    <dgm:pt modelId="{2720627F-C4D7-4A36-BC7C-07AAC0B05DB6}" type="parTrans" cxnId="{3EA5FAC9-EBC9-4910-B884-48BD526E96D8}">
      <dgm:prSet/>
      <dgm:spPr/>
      <dgm:t>
        <a:bodyPr/>
        <a:lstStyle/>
        <a:p>
          <a:endParaRPr lang="nl-BE"/>
        </a:p>
      </dgm:t>
    </dgm:pt>
    <dgm:pt modelId="{9C37A826-52CE-4E02-B584-2DBFBF973057}" type="sibTrans" cxnId="{3EA5FAC9-EBC9-4910-B884-48BD526E96D8}">
      <dgm:prSet/>
      <dgm:spPr/>
      <dgm:t>
        <a:bodyPr/>
        <a:lstStyle/>
        <a:p>
          <a:endParaRPr lang="nl-BE"/>
        </a:p>
      </dgm:t>
    </dgm:pt>
    <dgm:pt modelId="{3AA63BB2-D220-49E4-AB73-0BC881B65AE9}">
      <dgm:prSet phldrT="[Text]"/>
      <dgm:spPr>
        <a:solidFill>
          <a:srgbClr val="00B050"/>
        </a:solidFill>
      </dgm:spPr>
      <dgm:t>
        <a:bodyPr/>
        <a:lstStyle/>
        <a:p>
          <a:r>
            <a:rPr lang="nl-BE" dirty="0" smtClean="0"/>
            <a:t>93,5 % U</a:t>
          </a:r>
          <a:endParaRPr lang="nl-BE" dirty="0"/>
        </a:p>
      </dgm:t>
    </dgm:pt>
    <dgm:pt modelId="{A484ADE6-F5F9-4EDB-8129-6CD114DE4349}" type="parTrans" cxnId="{D2390B40-7795-4B70-8BD4-09CF5752A871}">
      <dgm:prSet/>
      <dgm:spPr/>
      <dgm:t>
        <a:bodyPr/>
        <a:lstStyle/>
        <a:p>
          <a:endParaRPr lang="nl-BE"/>
        </a:p>
      </dgm:t>
    </dgm:pt>
    <dgm:pt modelId="{A4E063BB-3743-45C3-A911-AB7504BC1289}" type="sibTrans" cxnId="{D2390B40-7795-4B70-8BD4-09CF5752A871}">
      <dgm:prSet/>
      <dgm:spPr/>
      <dgm:t>
        <a:bodyPr/>
        <a:lstStyle/>
        <a:p>
          <a:endParaRPr lang="nl-BE"/>
        </a:p>
      </dgm:t>
    </dgm:pt>
    <dgm:pt modelId="{BAB512AC-91CC-4ECD-8A47-B7C96AEFC0C6}">
      <dgm:prSet phldrT="[Text]"/>
      <dgm:spPr>
        <a:solidFill>
          <a:srgbClr val="00B050"/>
        </a:solidFill>
      </dgm:spPr>
      <dgm:t>
        <a:bodyPr/>
        <a:lstStyle/>
        <a:p>
          <a:r>
            <a:rPr lang="nl-BE" dirty="0" smtClean="0"/>
            <a:t>1,2 % Pu</a:t>
          </a:r>
          <a:endParaRPr lang="nl-BE" dirty="0"/>
        </a:p>
      </dgm:t>
    </dgm:pt>
    <dgm:pt modelId="{4D411A30-F2D6-431E-B7C9-055A443D931A}" type="parTrans" cxnId="{600454DB-FE6E-4FB1-8337-AD4F71C6AEEB}">
      <dgm:prSet/>
      <dgm:spPr/>
      <dgm:t>
        <a:bodyPr/>
        <a:lstStyle/>
        <a:p>
          <a:endParaRPr lang="nl-BE"/>
        </a:p>
      </dgm:t>
    </dgm:pt>
    <dgm:pt modelId="{28780325-97CB-4F9A-B898-CDF9AAFF4505}" type="sibTrans" cxnId="{600454DB-FE6E-4FB1-8337-AD4F71C6AEEB}">
      <dgm:prSet/>
      <dgm:spPr/>
      <dgm:t>
        <a:bodyPr/>
        <a:lstStyle/>
        <a:p>
          <a:endParaRPr lang="nl-BE"/>
        </a:p>
      </dgm:t>
    </dgm:pt>
    <dgm:pt modelId="{D483006C-0E8D-44FE-9941-1EF6FC14AC4C}">
      <dgm:prSet phldrT="[Text]"/>
      <dgm:spPr>
        <a:solidFill>
          <a:srgbClr val="00B050"/>
        </a:solidFill>
      </dgm:spPr>
      <dgm:t>
        <a:bodyPr/>
        <a:lstStyle/>
        <a:p>
          <a:r>
            <a:rPr lang="nl-BE" dirty="0" smtClean="0"/>
            <a:t>0,2 % </a:t>
          </a:r>
          <a:r>
            <a:rPr lang="nl-BE" dirty="0" err="1" smtClean="0"/>
            <a:t>MAs</a:t>
          </a:r>
          <a:endParaRPr lang="nl-BE" dirty="0"/>
        </a:p>
      </dgm:t>
    </dgm:pt>
    <dgm:pt modelId="{340211CC-6173-4ACC-8885-C9E8A415F3C4}" type="parTrans" cxnId="{759E9FAD-FD32-48E4-865A-7A2980CB6E51}">
      <dgm:prSet/>
      <dgm:spPr/>
      <dgm:t>
        <a:bodyPr/>
        <a:lstStyle/>
        <a:p>
          <a:endParaRPr lang="nl-BE"/>
        </a:p>
      </dgm:t>
    </dgm:pt>
    <dgm:pt modelId="{75FE9F3E-47D2-4934-B74A-08E2D1FC71F7}" type="sibTrans" cxnId="{759E9FAD-FD32-48E4-865A-7A2980CB6E51}">
      <dgm:prSet/>
      <dgm:spPr/>
      <dgm:t>
        <a:bodyPr/>
        <a:lstStyle/>
        <a:p>
          <a:endParaRPr lang="nl-BE"/>
        </a:p>
      </dgm:t>
    </dgm:pt>
    <dgm:pt modelId="{38CC7F77-C9EC-4DAF-BE52-A13C0897C37F}">
      <dgm:prSet phldrT="[Text]"/>
      <dgm:spPr>
        <a:solidFill>
          <a:srgbClr val="00B050"/>
        </a:solidFill>
      </dgm:spPr>
      <dgm:t>
        <a:bodyPr/>
        <a:lstStyle/>
        <a:p>
          <a:r>
            <a:rPr lang="nl-BE" dirty="0" err="1" smtClean="0"/>
            <a:t>Vitrified</a:t>
          </a:r>
          <a:r>
            <a:rPr lang="nl-BE" dirty="0" smtClean="0"/>
            <a:t> </a:t>
          </a:r>
          <a:r>
            <a:rPr lang="nl-BE" dirty="0" err="1" smtClean="0"/>
            <a:t>with</a:t>
          </a:r>
          <a:r>
            <a:rPr lang="nl-BE" dirty="0" smtClean="0"/>
            <a:t> </a:t>
          </a:r>
          <a:r>
            <a:rPr lang="nl-BE" dirty="0" err="1" smtClean="0"/>
            <a:t>FPs</a:t>
          </a:r>
          <a:endParaRPr lang="nl-BE" dirty="0" smtClean="0"/>
        </a:p>
        <a:p>
          <a:r>
            <a:rPr lang="nl-BE" dirty="0" smtClean="0"/>
            <a:t>(in 2)</a:t>
          </a:r>
          <a:endParaRPr lang="nl-BE" dirty="0"/>
        </a:p>
      </dgm:t>
    </dgm:pt>
    <dgm:pt modelId="{BCBBA6F0-9B3B-4371-A544-11B7D9605E0F}" type="parTrans" cxnId="{23EAC951-E98D-413C-A36D-A9DAC3DA3355}">
      <dgm:prSet/>
      <dgm:spPr/>
      <dgm:t>
        <a:bodyPr/>
        <a:lstStyle/>
        <a:p>
          <a:endParaRPr lang="nl-BE"/>
        </a:p>
      </dgm:t>
    </dgm:pt>
    <dgm:pt modelId="{CA119EB0-992A-4B72-BECF-527838D78CDA}" type="sibTrans" cxnId="{23EAC951-E98D-413C-A36D-A9DAC3DA3355}">
      <dgm:prSet/>
      <dgm:spPr/>
      <dgm:t>
        <a:bodyPr/>
        <a:lstStyle/>
        <a:p>
          <a:endParaRPr lang="nl-BE"/>
        </a:p>
      </dgm:t>
    </dgm:pt>
    <dgm:pt modelId="{97F233B0-42AD-4ED0-842F-1600F87C24A6}">
      <dgm:prSet phldrT="[Text]"/>
      <dgm:spPr>
        <a:solidFill>
          <a:srgbClr val="00B050"/>
        </a:solidFill>
      </dgm:spPr>
      <dgm:t>
        <a:bodyPr/>
        <a:lstStyle/>
        <a:p>
          <a:r>
            <a:rPr lang="nl-BE" dirty="0" err="1" smtClean="0"/>
            <a:t>Transmuted</a:t>
          </a:r>
          <a:r>
            <a:rPr lang="nl-BE" dirty="0" smtClean="0"/>
            <a:t> is ADS</a:t>
          </a:r>
        </a:p>
        <a:p>
          <a:r>
            <a:rPr lang="nl-BE" dirty="0" smtClean="0"/>
            <a:t>(in 3)</a:t>
          </a:r>
          <a:endParaRPr lang="nl-BE" dirty="0"/>
        </a:p>
      </dgm:t>
    </dgm:pt>
    <dgm:pt modelId="{2EE3C2E9-2269-4F7C-8ED1-61E16F0C7A65}" type="parTrans" cxnId="{9D036665-A25B-44C2-B5B1-42B854E2329B}">
      <dgm:prSet/>
      <dgm:spPr/>
      <dgm:t>
        <a:bodyPr/>
        <a:lstStyle/>
        <a:p>
          <a:endParaRPr lang="nl-BE"/>
        </a:p>
      </dgm:t>
    </dgm:pt>
    <dgm:pt modelId="{9DC8C3B4-D867-43DD-9087-D25301930BA6}" type="sibTrans" cxnId="{9D036665-A25B-44C2-B5B1-42B854E2329B}">
      <dgm:prSet/>
      <dgm:spPr/>
      <dgm:t>
        <a:bodyPr/>
        <a:lstStyle/>
        <a:p>
          <a:endParaRPr lang="nl-BE"/>
        </a:p>
      </dgm:t>
    </dgm:pt>
    <dgm:pt modelId="{23340520-FC94-41B1-B8BB-A809DA4A2404}">
      <dgm:prSet phldrT="[Text]"/>
      <dgm:spPr>
        <a:solidFill>
          <a:srgbClr val="00B050"/>
        </a:solidFill>
      </dgm:spPr>
      <dgm:t>
        <a:bodyPr/>
        <a:lstStyle/>
        <a:p>
          <a:r>
            <a:rPr lang="nl-BE" baseline="0" dirty="0" smtClean="0"/>
            <a:t>~</a:t>
          </a:r>
          <a:r>
            <a:rPr lang="nl-BE" dirty="0" smtClean="0"/>
            <a:t>5,1 % </a:t>
          </a:r>
          <a:r>
            <a:rPr lang="nl-BE" dirty="0" err="1" smtClean="0"/>
            <a:t>FPs</a:t>
          </a:r>
          <a:endParaRPr lang="nl-BE" dirty="0"/>
        </a:p>
      </dgm:t>
    </dgm:pt>
    <dgm:pt modelId="{4A140623-EB82-43F4-B9B3-7AA36AD6F257}" type="parTrans" cxnId="{B5E193FA-2493-49DC-AD58-2668D30FCBFA}">
      <dgm:prSet/>
      <dgm:spPr/>
      <dgm:t>
        <a:bodyPr/>
        <a:lstStyle/>
        <a:p>
          <a:endParaRPr lang="nl-BE"/>
        </a:p>
      </dgm:t>
    </dgm:pt>
    <dgm:pt modelId="{884DF01E-C33E-4966-A1E1-67D0673B41F4}" type="sibTrans" cxnId="{B5E193FA-2493-49DC-AD58-2668D30FCBFA}">
      <dgm:prSet/>
      <dgm:spPr/>
      <dgm:t>
        <a:bodyPr/>
        <a:lstStyle/>
        <a:p>
          <a:endParaRPr lang="nl-BE"/>
        </a:p>
      </dgm:t>
    </dgm:pt>
    <dgm:pt modelId="{740198B6-0B32-4C97-AF0A-C63F72C01681}" type="pres">
      <dgm:prSet presAssocID="{A29249BC-E7A1-4962-A1B3-4FCF1191CDD4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nl-BE"/>
        </a:p>
      </dgm:t>
    </dgm:pt>
    <dgm:pt modelId="{E6DABB70-3A8A-491E-B1B1-98B54C43A82D}" type="pres">
      <dgm:prSet presAssocID="{BA4F9824-C3A7-444C-BE80-9039DB3E8243}" presName="root1" presStyleCnt="0"/>
      <dgm:spPr/>
    </dgm:pt>
    <dgm:pt modelId="{5F9C7946-2B21-42E4-9265-4FA436ED9843}" type="pres">
      <dgm:prSet presAssocID="{BA4F9824-C3A7-444C-BE80-9039DB3E8243}" presName="LevelOneTextNode" presStyleLbl="node0" presStyleIdx="0" presStyleCnt="1" custScaleY="129377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A7F64AF7-0AE2-45CD-AE86-CA0C0219EF4E}" type="pres">
      <dgm:prSet presAssocID="{BA4F9824-C3A7-444C-BE80-9039DB3E8243}" presName="level2hierChild" presStyleCnt="0"/>
      <dgm:spPr/>
    </dgm:pt>
    <dgm:pt modelId="{5710D759-510D-4BDA-99AD-8A8E6F07A362}" type="pres">
      <dgm:prSet presAssocID="{A484ADE6-F5F9-4EDB-8129-6CD114DE4349}" presName="conn2-1" presStyleLbl="parChTrans1D2" presStyleIdx="0" presStyleCnt="6"/>
      <dgm:spPr/>
      <dgm:t>
        <a:bodyPr/>
        <a:lstStyle/>
        <a:p>
          <a:endParaRPr lang="nl-BE"/>
        </a:p>
      </dgm:t>
    </dgm:pt>
    <dgm:pt modelId="{70D049DB-14A0-47D3-A62D-EC40E2752516}" type="pres">
      <dgm:prSet presAssocID="{A484ADE6-F5F9-4EDB-8129-6CD114DE4349}" presName="connTx" presStyleLbl="parChTrans1D2" presStyleIdx="0" presStyleCnt="6"/>
      <dgm:spPr/>
      <dgm:t>
        <a:bodyPr/>
        <a:lstStyle/>
        <a:p>
          <a:endParaRPr lang="nl-BE"/>
        </a:p>
      </dgm:t>
    </dgm:pt>
    <dgm:pt modelId="{446C7C1F-F463-4D41-B54E-4DE33E01D9FF}" type="pres">
      <dgm:prSet presAssocID="{3AA63BB2-D220-49E4-AB73-0BC881B65AE9}" presName="root2" presStyleCnt="0"/>
      <dgm:spPr/>
    </dgm:pt>
    <dgm:pt modelId="{B07DD331-6F93-4CE1-B33F-D15937EF6D2A}" type="pres">
      <dgm:prSet presAssocID="{3AA63BB2-D220-49E4-AB73-0BC881B65AE9}" presName="LevelTwoTextNode" presStyleLbl="node2" presStyleIdx="0" presStyleCnt="6" custScaleY="104109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656D1499-B2CB-4D97-AF72-5D7A06E1DB6D}" type="pres">
      <dgm:prSet presAssocID="{3AA63BB2-D220-49E4-AB73-0BC881B65AE9}" presName="level3hierChild" presStyleCnt="0"/>
      <dgm:spPr/>
    </dgm:pt>
    <dgm:pt modelId="{E279D713-FAE2-4661-B870-7DC5C82658B5}" type="pres">
      <dgm:prSet presAssocID="{4D411A30-F2D6-431E-B7C9-055A443D931A}" presName="conn2-1" presStyleLbl="parChTrans1D2" presStyleIdx="1" presStyleCnt="6"/>
      <dgm:spPr/>
      <dgm:t>
        <a:bodyPr/>
        <a:lstStyle/>
        <a:p>
          <a:endParaRPr lang="nl-BE"/>
        </a:p>
      </dgm:t>
    </dgm:pt>
    <dgm:pt modelId="{75A02BF5-E8E3-41FA-B587-EDAE6A29728C}" type="pres">
      <dgm:prSet presAssocID="{4D411A30-F2D6-431E-B7C9-055A443D931A}" presName="connTx" presStyleLbl="parChTrans1D2" presStyleIdx="1" presStyleCnt="6"/>
      <dgm:spPr/>
      <dgm:t>
        <a:bodyPr/>
        <a:lstStyle/>
        <a:p>
          <a:endParaRPr lang="nl-BE"/>
        </a:p>
      </dgm:t>
    </dgm:pt>
    <dgm:pt modelId="{56650921-EBB6-4396-B4EB-A016E9EFD7C2}" type="pres">
      <dgm:prSet presAssocID="{BAB512AC-91CC-4ECD-8A47-B7C96AEFC0C6}" presName="root2" presStyleCnt="0"/>
      <dgm:spPr/>
    </dgm:pt>
    <dgm:pt modelId="{177B1E59-96CD-4C0E-A9C6-CC9F0053C7D8}" type="pres">
      <dgm:prSet presAssocID="{BAB512AC-91CC-4ECD-8A47-B7C96AEFC0C6}" presName="LevelTwoTextNode" presStyleLbl="node2" presStyleIdx="1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8D7BB59C-1D23-4FBC-A8A9-CE64EE92110A}" type="pres">
      <dgm:prSet presAssocID="{BAB512AC-91CC-4ECD-8A47-B7C96AEFC0C6}" presName="level3hierChild" presStyleCnt="0"/>
      <dgm:spPr/>
    </dgm:pt>
    <dgm:pt modelId="{E7C6B77D-F5F5-4057-AB65-947FC54538D3}" type="pres">
      <dgm:prSet presAssocID="{340211CC-6173-4ACC-8885-C9E8A415F3C4}" presName="conn2-1" presStyleLbl="parChTrans1D2" presStyleIdx="2" presStyleCnt="6"/>
      <dgm:spPr/>
      <dgm:t>
        <a:bodyPr/>
        <a:lstStyle/>
        <a:p>
          <a:endParaRPr lang="nl-BE"/>
        </a:p>
      </dgm:t>
    </dgm:pt>
    <dgm:pt modelId="{10937BF0-F960-4BAE-A481-C0A0F5FAB23F}" type="pres">
      <dgm:prSet presAssocID="{340211CC-6173-4ACC-8885-C9E8A415F3C4}" presName="connTx" presStyleLbl="parChTrans1D2" presStyleIdx="2" presStyleCnt="6"/>
      <dgm:spPr/>
      <dgm:t>
        <a:bodyPr/>
        <a:lstStyle/>
        <a:p>
          <a:endParaRPr lang="nl-BE"/>
        </a:p>
      </dgm:t>
    </dgm:pt>
    <dgm:pt modelId="{BE8C1EBA-0DC8-4996-9082-72822DAB302E}" type="pres">
      <dgm:prSet presAssocID="{D483006C-0E8D-44FE-9941-1EF6FC14AC4C}" presName="root2" presStyleCnt="0"/>
      <dgm:spPr/>
    </dgm:pt>
    <dgm:pt modelId="{A890F6A1-C561-4DDD-BAED-9ECC4B7C61AB}" type="pres">
      <dgm:prSet presAssocID="{D483006C-0E8D-44FE-9941-1EF6FC14AC4C}" presName="LevelTwoTextNode" presStyleLbl="node2" presStyleIdx="2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3D51C5F2-BE49-423E-ABCA-D3D392228231}" type="pres">
      <dgm:prSet presAssocID="{D483006C-0E8D-44FE-9941-1EF6FC14AC4C}" presName="level3hierChild" presStyleCnt="0"/>
      <dgm:spPr/>
    </dgm:pt>
    <dgm:pt modelId="{577759AA-2767-4234-AF3A-215BEC1150F8}" type="pres">
      <dgm:prSet presAssocID="{BCBBA6F0-9B3B-4371-A544-11B7D9605E0F}" presName="conn2-1" presStyleLbl="parChTrans1D2" presStyleIdx="3" presStyleCnt="6"/>
      <dgm:spPr/>
      <dgm:t>
        <a:bodyPr/>
        <a:lstStyle/>
        <a:p>
          <a:endParaRPr lang="nl-BE"/>
        </a:p>
      </dgm:t>
    </dgm:pt>
    <dgm:pt modelId="{FBFFEB17-D294-4A93-AE47-F8C454C43B2F}" type="pres">
      <dgm:prSet presAssocID="{BCBBA6F0-9B3B-4371-A544-11B7D9605E0F}" presName="connTx" presStyleLbl="parChTrans1D2" presStyleIdx="3" presStyleCnt="6"/>
      <dgm:spPr/>
      <dgm:t>
        <a:bodyPr/>
        <a:lstStyle/>
        <a:p>
          <a:endParaRPr lang="nl-BE"/>
        </a:p>
      </dgm:t>
    </dgm:pt>
    <dgm:pt modelId="{307C8037-B75C-401D-9D8E-90ED1E7DE758}" type="pres">
      <dgm:prSet presAssocID="{38CC7F77-C9EC-4DAF-BE52-A13C0897C37F}" presName="root2" presStyleCnt="0"/>
      <dgm:spPr/>
    </dgm:pt>
    <dgm:pt modelId="{FC0AE1A0-2FFE-4497-8A6C-711E22DD8265}" type="pres">
      <dgm:prSet presAssocID="{38CC7F77-C9EC-4DAF-BE52-A13C0897C37F}" presName="LevelTwoTextNode" presStyleLbl="node2" presStyleIdx="3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EEB2E905-C81B-416F-86D4-50E95525D738}" type="pres">
      <dgm:prSet presAssocID="{38CC7F77-C9EC-4DAF-BE52-A13C0897C37F}" presName="level3hierChild" presStyleCnt="0"/>
      <dgm:spPr/>
    </dgm:pt>
    <dgm:pt modelId="{E70A4911-B9EA-4CE8-9C48-F1B75B1F99E8}" type="pres">
      <dgm:prSet presAssocID="{2EE3C2E9-2269-4F7C-8ED1-61E16F0C7A65}" presName="conn2-1" presStyleLbl="parChTrans1D2" presStyleIdx="4" presStyleCnt="6"/>
      <dgm:spPr/>
      <dgm:t>
        <a:bodyPr/>
        <a:lstStyle/>
        <a:p>
          <a:endParaRPr lang="nl-BE"/>
        </a:p>
      </dgm:t>
    </dgm:pt>
    <dgm:pt modelId="{04D32EA3-FBD2-4B9B-8689-CE0C04402C9F}" type="pres">
      <dgm:prSet presAssocID="{2EE3C2E9-2269-4F7C-8ED1-61E16F0C7A65}" presName="connTx" presStyleLbl="parChTrans1D2" presStyleIdx="4" presStyleCnt="6"/>
      <dgm:spPr/>
      <dgm:t>
        <a:bodyPr/>
        <a:lstStyle/>
        <a:p>
          <a:endParaRPr lang="nl-BE"/>
        </a:p>
      </dgm:t>
    </dgm:pt>
    <dgm:pt modelId="{B1888EAC-A5A6-4B95-8A69-FCA6ACA46933}" type="pres">
      <dgm:prSet presAssocID="{97F233B0-42AD-4ED0-842F-1600F87C24A6}" presName="root2" presStyleCnt="0"/>
      <dgm:spPr/>
    </dgm:pt>
    <dgm:pt modelId="{9DE22C7B-90CF-4BE2-8BFC-34999FF50C62}" type="pres">
      <dgm:prSet presAssocID="{97F233B0-42AD-4ED0-842F-1600F87C24A6}" presName="LevelTwoTextNode" presStyleLbl="node2" presStyleIdx="4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C57F7826-9239-411A-A42E-EC73317CF887}" type="pres">
      <dgm:prSet presAssocID="{97F233B0-42AD-4ED0-842F-1600F87C24A6}" presName="level3hierChild" presStyleCnt="0"/>
      <dgm:spPr/>
    </dgm:pt>
    <dgm:pt modelId="{0B6B7AAD-134E-4785-A3D3-30069128D839}" type="pres">
      <dgm:prSet presAssocID="{4A140623-EB82-43F4-B9B3-7AA36AD6F257}" presName="conn2-1" presStyleLbl="parChTrans1D2" presStyleIdx="5" presStyleCnt="6"/>
      <dgm:spPr/>
      <dgm:t>
        <a:bodyPr/>
        <a:lstStyle/>
        <a:p>
          <a:endParaRPr lang="nl-BE"/>
        </a:p>
      </dgm:t>
    </dgm:pt>
    <dgm:pt modelId="{B22FC130-B815-45AD-9CC9-9F2C539DBABA}" type="pres">
      <dgm:prSet presAssocID="{4A140623-EB82-43F4-B9B3-7AA36AD6F257}" presName="connTx" presStyleLbl="parChTrans1D2" presStyleIdx="5" presStyleCnt="6"/>
      <dgm:spPr/>
      <dgm:t>
        <a:bodyPr/>
        <a:lstStyle/>
        <a:p>
          <a:endParaRPr lang="nl-BE"/>
        </a:p>
      </dgm:t>
    </dgm:pt>
    <dgm:pt modelId="{6783C164-39D4-4A84-B135-C908D3356F62}" type="pres">
      <dgm:prSet presAssocID="{23340520-FC94-41B1-B8BB-A809DA4A2404}" presName="root2" presStyleCnt="0"/>
      <dgm:spPr/>
    </dgm:pt>
    <dgm:pt modelId="{7B0F2542-213C-426B-B40C-9CCBFDE4205E}" type="pres">
      <dgm:prSet presAssocID="{23340520-FC94-41B1-B8BB-A809DA4A2404}" presName="LevelTwoTextNode" presStyleLbl="node2" presStyleIdx="5" presStyleCnt="6">
        <dgm:presLayoutVars>
          <dgm:chPref val="3"/>
        </dgm:presLayoutVars>
      </dgm:prSet>
      <dgm:spPr/>
      <dgm:t>
        <a:bodyPr/>
        <a:lstStyle/>
        <a:p>
          <a:endParaRPr lang="nl-BE"/>
        </a:p>
      </dgm:t>
    </dgm:pt>
    <dgm:pt modelId="{2521E653-9C20-42AE-8B41-BB09BD42005D}" type="pres">
      <dgm:prSet presAssocID="{23340520-FC94-41B1-B8BB-A809DA4A2404}" presName="level3hierChild" presStyleCnt="0"/>
      <dgm:spPr/>
    </dgm:pt>
  </dgm:ptLst>
  <dgm:cxnLst>
    <dgm:cxn modelId="{8EF1C831-0824-43FE-906A-DCFF441CA93C}" type="presOf" srcId="{23340520-FC94-41B1-B8BB-A809DA4A2404}" destId="{7B0F2542-213C-426B-B40C-9CCBFDE4205E}" srcOrd="0" destOrd="0" presId="urn:microsoft.com/office/officeart/2008/layout/HorizontalMultiLevelHierarchy"/>
    <dgm:cxn modelId="{E51C07B5-1459-4040-9BA2-81CCDEDEF217}" type="presOf" srcId="{3AA63BB2-D220-49E4-AB73-0BC881B65AE9}" destId="{B07DD331-6F93-4CE1-B33F-D15937EF6D2A}" srcOrd="0" destOrd="0" presId="urn:microsoft.com/office/officeart/2008/layout/HorizontalMultiLevelHierarchy"/>
    <dgm:cxn modelId="{C3442994-230C-4123-89B8-911943034E23}" type="presOf" srcId="{A29249BC-E7A1-4962-A1B3-4FCF1191CDD4}" destId="{740198B6-0B32-4C97-AF0A-C63F72C01681}" srcOrd="0" destOrd="0" presId="urn:microsoft.com/office/officeart/2008/layout/HorizontalMultiLevelHierarchy"/>
    <dgm:cxn modelId="{5E429C94-8F2C-40CA-BBB3-3FDFEBAC5A15}" type="presOf" srcId="{340211CC-6173-4ACC-8885-C9E8A415F3C4}" destId="{E7C6B77D-F5F5-4057-AB65-947FC54538D3}" srcOrd="0" destOrd="0" presId="urn:microsoft.com/office/officeart/2008/layout/HorizontalMultiLevelHierarchy"/>
    <dgm:cxn modelId="{C0A9378B-F254-42BE-9270-BC8FAE1E6671}" type="presOf" srcId="{4A140623-EB82-43F4-B9B3-7AA36AD6F257}" destId="{B22FC130-B815-45AD-9CC9-9F2C539DBABA}" srcOrd="1" destOrd="0" presId="urn:microsoft.com/office/officeart/2008/layout/HorizontalMultiLevelHierarchy"/>
    <dgm:cxn modelId="{8788C2C3-D854-4429-8D13-AF9B913152BA}" type="presOf" srcId="{38CC7F77-C9EC-4DAF-BE52-A13C0897C37F}" destId="{FC0AE1A0-2FFE-4497-8A6C-711E22DD8265}" srcOrd="0" destOrd="0" presId="urn:microsoft.com/office/officeart/2008/layout/HorizontalMultiLevelHierarchy"/>
    <dgm:cxn modelId="{514556DF-5607-498D-A6CE-1C2B3861AFDB}" type="presOf" srcId="{BCBBA6F0-9B3B-4371-A544-11B7D9605E0F}" destId="{577759AA-2767-4234-AF3A-215BEC1150F8}" srcOrd="0" destOrd="0" presId="urn:microsoft.com/office/officeart/2008/layout/HorizontalMultiLevelHierarchy"/>
    <dgm:cxn modelId="{23EAC951-E98D-413C-A36D-A9DAC3DA3355}" srcId="{BA4F9824-C3A7-444C-BE80-9039DB3E8243}" destId="{38CC7F77-C9EC-4DAF-BE52-A13C0897C37F}" srcOrd="3" destOrd="0" parTransId="{BCBBA6F0-9B3B-4371-A544-11B7D9605E0F}" sibTransId="{CA119EB0-992A-4B72-BECF-527838D78CDA}"/>
    <dgm:cxn modelId="{8371DC60-CDB0-4601-B2B4-BE8BD30E439A}" type="presOf" srcId="{BCBBA6F0-9B3B-4371-A544-11B7D9605E0F}" destId="{FBFFEB17-D294-4A93-AE47-F8C454C43B2F}" srcOrd="1" destOrd="0" presId="urn:microsoft.com/office/officeart/2008/layout/HorizontalMultiLevelHierarchy"/>
    <dgm:cxn modelId="{418B1A32-2E08-469B-AAAC-0192AF2E1EEC}" type="presOf" srcId="{2EE3C2E9-2269-4F7C-8ED1-61E16F0C7A65}" destId="{04D32EA3-FBD2-4B9B-8689-CE0C04402C9F}" srcOrd="1" destOrd="0" presId="urn:microsoft.com/office/officeart/2008/layout/HorizontalMultiLevelHierarchy"/>
    <dgm:cxn modelId="{AA5E632F-AEE5-4939-8626-9ED8C1BA36D3}" type="presOf" srcId="{BA4F9824-C3A7-444C-BE80-9039DB3E8243}" destId="{5F9C7946-2B21-42E4-9265-4FA436ED9843}" srcOrd="0" destOrd="0" presId="urn:microsoft.com/office/officeart/2008/layout/HorizontalMultiLevelHierarchy"/>
    <dgm:cxn modelId="{22977B3D-4B49-4A6F-8E97-1F16F844B2A6}" type="presOf" srcId="{97F233B0-42AD-4ED0-842F-1600F87C24A6}" destId="{9DE22C7B-90CF-4BE2-8BFC-34999FF50C62}" srcOrd="0" destOrd="0" presId="urn:microsoft.com/office/officeart/2008/layout/HorizontalMultiLevelHierarchy"/>
    <dgm:cxn modelId="{D2390B40-7795-4B70-8BD4-09CF5752A871}" srcId="{BA4F9824-C3A7-444C-BE80-9039DB3E8243}" destId="{3AA63BB2-D220-49E4-AB73-0BC881B65AE9}" srcOrd="0" destOrd="0" parTransId="{A484ADE6-F5F9-4EDB-8129-6CD114DE4349}" sibTransId="{A4E063BB-3743-45C3-A911-AB7504BC1289}"/>
    <dgm:cxn modelId="{600454DB-FE6E-4FB1-8337-AD4F71C6AEEB}" srcId="{BA4F9824-C3A7-444C-BE80-9039DB3E8243}" destId="{BAB512AC-91CC-4ECD-8A47-B7C96AEFC0C6}" srcOrd="1" destOrd="0" parTransId="{4D411A30-F2D6-431E-B7C9-055A443D931A}" sibTransId="{28780325-97CB-4F9A-B898-CDF9AAFF4505}"/>
    <dgm:cxn modelId="{9D036665-A25B-44C2-B5B1-42B854E2329B}" srcId="{BA4F9824-C3A7-444C-BE80-9039DB3E8243}" destId="{97F233B0-42AD-4ED0-842F-1600F87C24A6}" srcOrd="4" destOrd="0" parTransId="{2EE3C2E9-2269-4F7C-8ED1-61E16F0C7A65}" sibTransId="{9DC8C3B4-D867-43DD-9087-D25301930BA6}"/>
    <dgm:cxn modelId="{3DE6A2D1-D8D0-4DEA-8098-98A8A1B97230}" type="presOf" srcId="{4D411A30-F2D6-431E-B7C9-055A443D931A}" destId="{E279D713-FAE2-4661-B870-7DC5C82658B5}" srcOrd="0" destOrd="0" presId="urn:microsoft.com/office/officeart/2008/layout/HorizontalMultiLevelHierarchy"/>
    <dgm:cxn modelId="{38219559-3624-4B48-8500-3407DC3C7025}" type="presOf" srcId="{4A140623-EB82-43F4-B9B3-7AA36AD6F257}" destId="{0B6B7AAD-134E-4785-A3D3-30069128D839}" srcOrd="0" destOrd="0" presId="urn:microsoft.com/office/officeart/2008/layout/HorizontalMultiLevelHierarchy"/>
    <dgm:cxn modelId="{C5642976-4468-4BBD-9AF5-C0BDC44BD51F}" type="presOf" srcId="{BAB512AC-91CC-4ECD-8A47-B7C96AEFC0C6}" destId="{177B1E59-96CD-4C0E-A9C6-CC9F0053C7D8}" srcOrd="0" destOrd="0" presId="urn:microsoft.com/office/officeart/2008/layout/HorizontalMultiLevelHierarchy"/>
    <dgm:cxn modelId="{A5DD48D5-A704-4D73-9B39-A5CBACEF7B3F}" type="presOf" srcId="{A484ADE6-F5F9-4EDB-8129-6CD114DE4349}" destId="{5710D759-510D-4BDA-99AD-8A8E6F07A362}" srcOrd="0" destOrd="0" presId="urn:microsoft.com/office/officeart/2008/layout/HorizontalMultiLevelHierarchy"/>
    <dgm:cxn modelId="{90F7AEA5-06C3-49C3-A32C-2952B231C999}" type="presOf" srcId="{A484ADE6-F5F9-4EDB-8129-6CD114DE4349}" destId="{70D049DB-14A0-47D3-A62D-EC40E2752516}" srcOrd="1" destOrd="0" presId="urn:microsoft.com/office/officeart/2008/layout/HorizontalMultiLevelHierarchy"/>
    <dgm:cxn modelId="{45B31554-D057-42BB-A5D0-EE575333066E}" type="presOf" srcId="{2EE3C2E9-2269-4F7C-8ED1-61E16F0C7A65}" destId="{E70A4911-B9EA-4CE8-9C48-F1B75B1F99E8}" srcOrd="0" destOrd="0" presId="urn:microsoft.com/office/officeart/2008/layout/HorizontalMultiLevelHierarchy"/>
    <dgm:cxn modelId="{3EA5FAC9-EBC9-4910-B884-48BD526E96D8}" srcId="{A29249BC-E7A1-4962-A1B3-4FCF1191CDD4}" destId="{BA4F9824-C3A7-444C-BE80-9039DB3E8243}" srcOrd="0" destOrd="0" parTransId="{2720627F-C4D7-4A36-BC7C-07AAC0B05DB6}" sibTransId="{9C37A826-52CE-4E02-B584-2DBFBF973057}"/>
    <dgm:cxn modelId="{B5E193FA-2493-49DC-AD58-2668D30FCBFA}" srcId="{BA4F9824-C3A7-444C-BE80-9039DB3E8243}" destId="{23340520-FC94-41B1-B8BB-A809DA4A2404}" srcOrd="5" destOrd="0" parTransId="{4A140623-EB82-43F4-B9B3-7AA36AD6F257}" sibTransId="{884DF01E-C33E-4966-A1E1-67D0673B41F4}"/>
    <dgm:cxn modelId="{868E9F99-5876-411A-B955-3AC9F5CA8A87}" type="presOf" srcId="{4D411A30-F2D6-431E-B7C9-055A443D931A}" destId="{75A02BF5-E8E3-41FA-B587-EDAE6A29728C}" srcOrd="1" destOrd="0" presId="urn:microsoft.com/office/officeart/2008/layout/HorizontalMultiLevelHierarchy"/>
    <dgm:cxn modelId="{D003D9F6-6B40-4F3C-9179-D113D34D2E7D}" type="presOf" srcId="{D483006C-0E8D-44FE-9941-1EF6FC14AC4C}" destId="{A890F6A1-C561-4DDD-BAED-9ECC4B7C61AB}" srcOrd="0" destOrd="0" presId="urn:microsoft.com/office/officeart/2008/layout/HorizontalMultiLevelHierarchy"/>
    <dgm:cxn modelId="{82C987F8-00F0-468C-A4DA-F325A0070C39}" type="presOf" srcId="{340211CC-6173-4ACC-8885-C9E8A415F3C4}" destId="{10937BF0-F960-4BAE-A481-C0A0F5FAB23F}" srcOrd="1" destOrd="0" presId="urn:microsoft.com/office/officeart/2008/layout/HorizontalMultiLevelHierarchy"/>
    <dgm:cxn modelId="{759E9FAD-FD32-48E4-865A-7A2980CB6E51}" srcId="{BA4F9824-C3A7-444C-BE80-9039DB3E8243}" destId="{D483006C-0E8D-44FE-9941-1EF6FC14AC4C}" srcOrd="2" destOrd="0" parTransId="{340211CC-6173-4ACC-8885-C9E8A415F3C4}" sibTransId="{75FE9F3E-47D2-4934-B74A-08E2D1FC71F7}"/>
    <dgm:cxn modelId="{BCA0AF2B-B801-43F5-AB6F-070DE60B1110}" type="presParOf" srcId="{740198B6-0B32-4C97-AF0A-C63F72C01681}" destId="{E6DABB70-3A8A-491E-B1B1-98B54C43A82D}" srcOrd="0" destOrd="0" presId="urn:microsoft.com/office/officeart/2008/layout/HorizontalMultiLevelHierarchy"/>
    <dgm:cxn modelId="{1252D6F6-243A-43F2-B050-76D9E43F36C4}" type="presParOf" srcId="{E6DABB70-3A8A-491E-B1B1-98B54C43A82D}" destId="{5F9C7946-2B21-42E4-9265-4FA436ED9843}" srcOrd="0" destOrd="0" presId="urn:microsoft.com/office/officeart/2008/layout/HorizontalMultiLevelHierarchy"/>
    <dgm:cxn modelId="{9380CE91-A4E0-4B9E-A30A-147295A277A4}" type="presParOf" srcId="{E6DABB70-3A8A-491E-B1B1-98B54C43A82D}" destId="{A7F64AF7-0AE2-45CD-AE86-CA0C0219EF4E}" srcOrd="1" destOrd="0" presId="urn:microsoft.com/office/officeart/2008/layout/HorizontalMultiLevelHierarchy"/>
    <dgm:cxn modelId="{89A96CC1-307A-4058-B1DF-0F9E327147C3}" type="presParOf" srcId="{A7F64AF7-0AE2-45CD-AE86-CA0C0219EF4E}" destId="{5710D759-510D-4BDA-99AD-8A8E6F07A362}" srcOrd="0" destOrd="0" presId="urn:microsoft.com/office/officeart/2008/layout/HorizontalMultiLevelHierarchy"/>
    <dgm:cxn modelId="{FC0C95E3-21EC-4935-8152-034B687221C0}" type="presParOf" srcId="{5710D759-510D-4BDA-99AD-8A8E6F07A362}" destId="{70D049DB-14A0-47D3-A62D-EC40E2752516}" srcOrd="0" destOrd="0" presId="urn:microsoft.com/office/officeart/2008/layout/HorizontalMultiLevelHierarchy"/>
    <dgm:cxn modelId="{C17824FB-6F0D-4C14-A8B4-E84C4606EEC7}" type="presParOf" srcId="{A7F64AF7-0AE2-45CD-AE86-CA0C0219EF4E}" destId="{446C7C1F-F463-4D41-B54E-4DE33E01D9FF}" srcOrd="1" destOrd="0" presId="urn:microsoft.com/office/officeart/2008/layout/HorizontalMultiLevelHierarchy"/>
    <dgm:cxn modelId="{FBFE72E1-A0B2-43F7-B890-A5EC749A6B33}" type="presParOf" srcId="{446C7C1F-F463-4D41-B54E-4DE33E01D9FF}" destId="{B07DD331-6F93-4CE1-B33F-D15937EF6D2A}" srcOrd="0" destOrd="0" presId="urn:microsoft.com/office/officeart/2008/layout/HorizontalMultiLevelHierarchy"/>
    <dgm:cxn modelId="{E639F90D-5917-43BF-BFEB-0CCD0D56E37C}" type="presParOf" srcId="{446C7C1F-F463-4D41-B54E-4DE33E01D9FF}" destId="{656D1499-B2CB-4D97-AF72-5D7A06E1DB6D}" srcOrd="1" destOrd="0" presId="urn:microsoft.com/office/officeart/2008/layout/HorizontalMultiLevelHierarchy"/>
    <dgm:cxn modelId="{7844309F-74B4-41E3-94A1-126D0906D572}" type="presParOf" srcId="{A7F64AF7-0AE2-45CD-AE86-CA0C0219EF4E}" destId="{E279D713-FAE2-4661-B870-7DC5C82658B5}" srcOrd="2" destOrd="0" presId="urn:microsoft.com/office/officeart/2008/layout/HorizontalMultiLevelHierarchy"/>
    <dgm:cxn modelId="{D4820EDD-1286-49D4-872C-595BE952D9A0}" type="presParOf" srcId="{E279D713-FAE2-4661-B870-7DC5C82658B5}" destId="{75A02BF5-E8E3-41FA-B587-EDAE6A29728C}" srcOrd="0" destOrd="0" presId="urn:microsoft.com/office/officeart/2008/layout/HorizontalMultiLevelHierarchy"/>
    <dgm:cxn modelId="{779EC9AC-65CB-4781-957B-87B84398FFA0}" type="presParOf" srcId="{A7F64AF7-0AE2-45CD-AE86-CA0C0219EF4E}" destId="{56650921-EBB6-4396-B4EB-A016E9EFD7C2}" srcOrd="3" destOrd="0" presId="urn:microsoft.com/office/officeart/2008/layout/HorizontalMultiLevelHierarchy"/>
    <dgm:cxn modelId="{16BA4B59-3080-4D13-9A20-1D00D5A7F65D}" type="presParOf" srcId="{56650921-EBB6-4396-B4EB-A016E9EFD7C2}" destId="{177B1E59-96CD-4C0E-A9C6-CC9F0053C7D8}" srcOrd="0" destOrd="0" presId="urn:microsoft.com/office/officeart/2008/layout/HorizontalMultiLevelHierarchy"/>
    <dgm:cxn modelId="{17360F1E-6929-440B-BBAC-D8711F260462}" type="presParOf" srcId="{56650921-EBB6-4396-B4EB-A016E9EFD7C2}" destId="{8D7BB59C-1D23-4FBC-A8A9-CE64EE92110A}" srcOrd="1" destOrd="0" presId="urn:microsoft.com/office/officeart/2008/layout/HorizontalMultiLevelHierarchy"/>
    <dgm:cxn modelId="{C8DF54BD-B52E-4789-AF09-63CD7E0F16F0}" type="presParOf" srcId="{A7F64AF7-0AE2-45CD-AE86-CA0C0219EF4E}" destId="{E7C6B77D-F5F5-4057-AB65-947FC54538D3}" srcOrd="4" destOrd="0" presId="urn:microsoft.com/office/officeart/2008/layout/HorizontalMultiLevelHierarchy"/>
    <dgm:cxn modelId="{2C549F3E-BD09-4AEC-9809-40F268EC56C2}" type="presParOf" srcId="{E7C6B77D-F5F5-4057-AB65-947FC54538D3}" destId="{10937BF0-F960-4BAE-A481-C0A0F5FAB23F}" srcOrd="0" destOrd="0" presId="urn:microsoft.com/office/officeart/2008/layout/HorizontalMultiLevelHierarchy"/>
    <dgm:cxn modelId="{B0721C63-CA61-4A09-B378-1B4E9955B0C3}" type="presParOf" srcId="{A7F64AF7-0AE2-45CD-AE86-CA0C0219EF4E}" destId="{BE8C1EBA-0DC8-4996-9082-72822DAB302E}" srcOrd="5" destOrd="0" presId="urn:microsoft.com/office/officeart/2008/layout/HorizontalMultiLevelHierarchy"/>
    <dgm:cxn modelId="{2D2B1D09-6281-4A84-B081-AC5AEE9DAF90}" type="presParOf" srcId="{BE8C1EBA-0DC8-4996-9082-72822DAB302E}" destId="{A890F6A1-C561-4DDD-BAED-9ECC4B7C61AB}" srcOrd="0" destOrd="0" presId="urn:microsoft.com/office/officeart/2008/layout/HorizontalMultiLevelHierarchy"/>
    <dgm:cxn modelId="{2E9B6A58-6014-4B1C-962A-C95A99963462}" type="presParOf" srcId="{BE8C1EBA-0DC8-4996-9082-72822DAB302E}" destId="{3D51C5F2-BE49-423E-ABCA-D3D392228231}" srcOrd="1" destOrd="0" presId="urn:microsoft.com/office/officeart/2008/layout/HorizontalMultiLevelHierarchy"/>
    <dgm:cxn modelId="{45FDC6C0-50F8-4E7E-88F1-6A029201C2B6}" type="presParOf" srcId="{A7F64AF7-0AE2-45CD-AE86-CA0C0219EF4E}" destId="{577759AA-2767-4234-AF3A-215BEC1150F8}" srcOrd="6" destOrd="0" presId="urn:microsoft.com/office/officeart/2008/layout/HorizontalMultiLevelHierarchy"/>
    <dgm:cxn modelId="{D71C54C3-BB05-42C5-85CB-62CF57962076}" type="presParOf" srcId="{577759AA-2767-4234-AF3A-215BEC1150F8}" destId="{FBFFEB17-D294-4A93-AE47-F8C454C43B2F}" srcOrd="0" destOrd="0" presId="urn:microsoft.com/office/officeart/2008/layout/HorizontalMultiLevelHierarchy"/>
    <dgm:cxn modelId="{25BBBB46-7D77-4706-A9ED-0ED56131C0CC}" type="presParOf" srcId="{A7F64AF7-0AE2-45CD-AE86-CA0C0219EF4E}" destId="{307C8037-B75C-401D-9D8E-90ED1E7DE758}" srcOrd="7" destOrd="0" presId="urn:microsoft.com/office/officeart/2008/layout/HorizontalMultiLevelHierarchy"/>
    <dgm:cxn modelId="{0146F9D6-8391-44D5-AF6E-495C3EC49729}" type="presParOf" srcId="{307C8037-B75C-401D-9D8E-90ED1E7DE758}" destId="{FC0AE1A0-2FFE-4497-8A6C-711E22DD8265}" srcOrd="0" destOrd="0" presId="urn:microsoft.com/office/officeart/2008/layout/HorizontalMultiLevelHierarchy"/>
    <dgm:cxn modelId="{923BC794-0451-4B91-B418-68BEFD8D6D9E}" type="presParOf" srcId="{307C8037-B75C-401D-9D8E-90ED1E7DE758}" destId="{EEB2E905-C81B-416F-86D4-50E95525D738}" srcOrd="1" destOrd="0" presId="urn:microsoft.com/office/officeart/2008/layout/HorizontalMultiLevelHierarchy"/>
    <dgm:cxn modelId="{75F0EB14-EFED-4495-9321-403FDA562CF1}" type="presParOf" srcId="{A7F64AF7-0AE2-45CD-AE86-CA0C0219EF4E}" destId="{E70A4911-B9EA-4CE8-9C48-F1B75B1F99E8}" srcOrd="8" destOrd="0" presId="urn:microsoft.com/office/officeart/2008/layout/HorizontalMultiLevelHierarchy"/>
    <dgm:cxn modelId="{F6BF2DBC-5661-4E4F-9EE9-CEB193F10735}" type="presParOf" srcId="{E70A4911-B9EA-4CE8-9C48-F1B75B1F99E8}" destId="{04D32EA3-FBD2-4B9B-8689-CE0C04402C9F}" srcOrd="0" destOrd="0" presId="urn:microsoft.com/office/officeart/2008/layout/HorizontalMultiLevelHierarchy"/>
    <dgm:cxn modelId="{32BB3C85-C3DB-47A4-ADAA-7849913800F2}" type="presParOf" srcId="{A7F64AF7-0AE2-45CD-AE86-CA0C0219EF4E}" destId="{B1888EAC-A5A6-4B95-8A69-FCA6ACA46933}" srcOrd="9" destOrd="0" presId="urn:microsoft.com/office/officeart/2008/layout/HorizontalMultiLevelHierarchy"/>
    <dgm:cxn modelId="{E21A3C86-C3B6-469D-B839-F0676142F83A}" type="presParOf" srcId="{B1888EAC-A5A6-4B95-8A69-FCA6ACA46933}" destId="{9DE22C7B-90CF-4BE2-8BFC-34999FF50C62}" srcOrd="0" destOrd="0" presId="urn:microsoft.com/office/officeart/2008/layout/HorizontalMultiLevelHierarchy"/>
    <dgm:cxn modelId="{9D3C61DA-2F36-4C78-A0C8-B3E7782343F1}" type="presParOf" srcId="{B1888EAC-A5A6-4B95-8A69-FCA6ACA46933}" destId="{C57F7826-9239-411A-A42E-EC73317CF887}" srcOrd="1" destOrd="0" presId="urn:microsoft.com/office/officeart/2008/layout/HorizontalMultiLevelHierarchy"/>
    <dgm:cxn modelId="{9DC1D6F5-6EAD-4C9C-8E5F-329A780FEAA9}" type="presParOf" srcId="{A7F64AF7-0AE2-45CD-AE86-CA0C0219EF4E}" destId="{0B6B7AAD-134E-4785-A3D3-30069128D839}" srcOrd="10" destOrd="0" presId="urn:microsoft.com/office/officeart/2008/layout/HorizontalMultiLevelHierarchy"/>
    <dgm:cxn modelId="{DFE7AD60-D606-4A62-9CD0-4875272E4DCC}" type="presParOf" srcId="{0B6B7AAD-134E-4785-A3D3-30069128D839}" destId="{B22FC130-B815-45AD-9CC9-9F2C539DBABA}" srcOrd="0" destOrd="0" presId="urn:microsoft.com/office/officeart/2008/layout/HorizontalMultiLevelHierarchy"/>
    <dgm:cxn modelId="{DCDB5820-8DC3-49D2-BC51-7129783CFB92}" type="presParOf" srcId="{A7F64AF7-0AE2-45CD-AE86-CA0C0219EF4E}" destId="{6783C164-39D4-4A84-B135-C908D3356F62}" srcOrd="11" destOrd="0" presId="urn:microsoft.com/office/officeart/2008/layout/HorizontalMultiLevelHierarchy"/>
    <dgm:cxn modelId="{573F1C28-29DB-4340-BBE4-2CBAB8C1F562}" type="presParOf" srcId="{6783C164-39D4-4A84-B135-C908D3356F62}" destId="{7B0F2542-213C-426B-B40C-9CCBFDE4205E}" srcOrd="0" destOrd="0" presId="urn:microsoft.com/office/officeart/2008/layout/HorizontalMultiLevelHierarchy"/>
    <dgm:cxn modelId="{D9468C58-19DF-4B2D-ABD1-780B85985768}" type="presParOf" srcId="{6783C164-39D4-4A84-B135-C908D3356F62}" destId="{2521E653-9C20-42AE-8B41-BB09BD42005D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6B7AAD-134E-4785-A3D3-30069128D839}">
      <dsp:nvSpPr>
        <dsp:cNvPr id="0" name=""/>
        <dsp:cNvSpPr/>
      </dsp:nvSpPr>
      <dsp:spPr>
        <a:xfrm>
          <a:off x="743791" y="2334018"/>
          <a:ext cx="419890" cy="20133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9945" y="0"/>
              </a:lnTo>
              <a:lnTo>
                <a:pt x="209945" y="2013391"/>
              </a:lnTo>
              <a:lnTo>
                <a:pt x="419890" y="201339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600" kern="1200"/>
        </a:p>
      </dsp:txBody>
      <dsp:txXfrm>
        <a:off x="902319" y="3289296"/>
        <a:ext cx="102835" cy="102835"/>
      </dsp:txXfrm>
    </dsp:sp>
    <dsp:sp modelId="{E70A4911-B9EA-4CE8-9C48-F1B75B1F99E8}">
      <dsp:nvSpPr>
        <dsp:cNvPr id="0" name=""/>
        <dsp:cNvSpPr/>
      </dsp:nvSpPr>
      <dsp:spPr>
        <a:xfrm>
          <a:off x="743791" y="2334018"/>
          <a:ext cx="419890" cy="12132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9945" y="0"/>
              </a:lnTo>
              <a:lnTo>
                <a:pt x="209945" y="1213295"/>
              </a:lnTo>
              <a:lnTo>
                <a:pt x="419890" y="121329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21639" y="2908568"/>
        <a:ext cx="64194" cy="64194"/>
      </dsp:txXfrm>
    </dsp:sp>
    <dsp:sp modelId="{577759AA-2767-4234-AF3A-215BEC1150F8}">
      <dsp:nvSpPr>
        <dsp:cNvPr id="0" name=""/>
        <dsp:cNvSpPr/>
      </dsp:nvSpPr>
      <dsp:spPr>
        <a:xfrm>
          <a:off x="743791" y="2334018"/>
          <a:ext cx="419890" cy="4131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9945" y="0"/>
              </a:lnTo>
              <a:lnTo>
                <a:pt x="209945" y="413198"/>
              </a:lnTo>
              <a:lnTo>
                <a:pt x="419890" y="41319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39009" y="2525890"/>
        <a:ext cx="29455" cy="29455"/>
      </dsp:txXfrm>
    </dsp:sp>
    <dsp:sp modelId="{E7C6B77D-F5F5-4057-AB65-947FC54538D3}">
      <dsp:nvSpPr>
        <dsp:cNvPr id="0" name=""/>
        <dsp:cNvSpPr/>
      </dsp:nvSpPr>
      <dsp:spPr>
        <a:xfrm>
          <a:off x="743791" y="1947120"/>
          <a:ext cx="419890" cy="386897"/>
        </a:xfrm>
        <a:custGeom>
          <a:avLst/>
          <a:gdLst/>
          <a:ahLst/>
          <a:cxnLst/>
          <a:rect l="0" t="0" r="0" b="0"/>
          <a:pathLst>
            <a:path>
              <a:moveTo>
                <a:pt x="0" y="386897"/>
              </a:moveTo>
              <a:lnTo>
                <a:pt x="209945" y="386897"/>
              </a:lnTo>
              <a:lnTo>
                <a:pt x="209945" y="0"/>
              </a:lnTo>
              <a:lnTo>
                <a:pt x="419890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39462" y="2126295"/>
        <a:ext cx="28548" cy="28548"/>
      </dsp:txXfrm>
    </dsp:sp>
    <dsp:sp modelId="{E279D713-FAE2-4661-B870-7DC5C82658B5}">
      <dsp:nvSpPr>
        <dsp:cNvPr id="0" name=""/>
        <dsp:cNvSpPr/>
      </dsp:nvSpPr>
      <dsp:spPr>
        <a:xfrm>
          <a:off x="743791" y="1147024"/>
          <a:ext cx="419890" cy="1186994"/>
        </a:xfrm>
        <a:custGeom>
          <a:avLst/>
          <a:gdLst/>
          <a:ahLst/>
          <a:cxnLst/>
          <a:rect l="0" t="0" r="0" b="0"/>
          <a:pathLst>
            <a:path>
              <a:moveTo>
                <a:pt x="0" y="1186994"/>
              </a:moveTo>
              <a:lnTo>
                <a:pt x="209945" y="1186994"/>
              </a:lnTo>
              <a:lnTo>
                <a:pt x="209945" y="0"/>
              </a:lnTo>
              <a:lnTo>
                <a:pt x="419890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22260" y="1709044"/>
        <a:ext cx="62953" cy="62953"/>
      </dsp:txXfrm>
    </dsp:sp>
    <dsp:sp modelId="{5710D759-510D-4BDA-99AD-8A8E6F07A362}">
      <dsp:nvSpPr>
        <dsp:cNvPr id="0" name=""/>
        <dsp:cNvSpPr/>
      </dsp:nvSpPr>
      <dsp:spPr>
        <a:xfrm>
          <a:off x="743791" y="333777"/>
          <a:ext cx="419890" cy="2000241"/>
        </a:xfrm>
        <a:custGeom>
          <a:avLst/>
          <a:gdLst/>
          <a:ahLst/>
          <a:cxnLst/>
          <a:rect l="0" t="0" r="0" b="0"/>
          <a:pathLst>
            <a:path>
              <a:moveTo>
                <a:pt x="0" y="2000241"/>
              </a:moveTo>
              <a:lnTo>
                <a:pt x="209945" y="2000241"/>
              </a:lnTo>
              <a:lnTo>
                <a:pt x="209945" y="0"/>
              </a:lnTo>
              <a:lnTo>
                <a:pt x="419890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600" kern="1200"/>
        </a:p>
      </dsp:txBody>
      <dsp:txXfrm>
        <a:off x="902641" y="1282801"/>
        <a:ext cx="102191" cy="102191"/>
      </dsp:txXfrm>
    </dsp:sp>
    <dsp:sp modelId="{5F9C7946-2B21-42E4-9265-4FA436ED9843}">
      <dsp:nvSpPr>
        <dsp:cNvPr id="0" name=""/>
        <dsp:cNvSpPr/>
      </dsp:nvSpPr>
      <dsp:spPr>
        <a:xfrm rot="16200000">
          <a:off x="-1755490" y="2013979"/>
          <a:ext cx="4358487" cy="64007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2300" kern="1200" dirty="0" smtClean="0"/>
            <a:t>1 ton </a:t>
          </a:r>
          <a:r>
            <a:rPr lang="nl-BE" sz="2300" kern="1200" dirty="0" err="1" smtClean="0"/>
            <a:t>UO</a:t>
          </a:r>
          <a:r>
            <a:rPr lang="nl-BE" sz="2300" kern="1200" baseline="-25000" dirty="0" err="1" smtClean="0"/>
            <a:t>2</a:t>
          </a:r>
          <a:r>
            <a:rPr lang="nl-BE" sz="2300" kern="1200" baseline="-25000" dirty="0" smtClean="0"/>
            <a:t> </a:t>
          </a:r>
          <a:r>
            <a:rPr lang="nl-BE" sz="2300" kern="1200" baseline="0" dirty="0" err="1" smtClean="0"/>
            <a:t>used</a:t>
          </a:r>
          <a:r>
            <a:rPr lang="nl-BE" sz="2300" kern="1200" baseline="0" dirty="0" smtClean="0"/>
            <a:t> </a:t>
          </a:r>
          <a:r>
            <a:rPr lang="nl-BE" sz="2300" kern="1200" baseline="0" dirty="0" err="1" smtClean="0"/>
            <a:t>fuel</a:t>
          </a:r>
          <a:r>
            <a:rPr lang="nl-BE" sz="2300" kern="1200" baseline="0" dirty="0" smtClean="0"/>
            <a:t> (50 </a:t>
          </a:r>
          <a:r>
            <a:rPr lang="nl-BE" sz="2300" kern="1200" baseline="0" dirty="0" err="1" smtClean="0"/>
            <a:t>GWd</a:t>
          </a:r>
          <a:r>
            <a:rPr lang="nl-BE" sz="2300" kern="1200" baseline="0" dirty="0" smtClean="0"/>
            <a:t>/t)</a:t>
          </a:r>
          <a:endParaRPr lang="nl-BE" sz="2300" kern="1200" baseline="0" dirty="0"/>
        </a:p>
      </dsp:txBody>
      <dsp:txXfrm>
        <a:off x="-1755490" y="2013979"/>
        <a:ext cx="4358487" cy="640077"/>
      </dsp:txXfrm>
    </dsp:sp>
    <dsp:sp modelId="{B07DD331-6F93-4CE1-B33F-D15937EF6D2A}">
      <dsp:nvSpPr>
        <dsp:cNvPr id="0" name=""/>
        <dsp:cNvSpPr/>
      </dsp:nvSpPr>
      <dsp:spPr>
        <a:xfrm>
          <a:off x="1163682" y="588"/>
          <a:ext cx="2099453" cy="666377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93,5 % U</a:t>
          </a:r>
          <a:endParaRPr lang="nl-BE" sz="1700" kern="1200" dirty="0"/>
        </a:p>
      </dsp:txBody>
      <dsp:txXfrm>
        <a:off x="1163682" y="588"/>
        <a:ext cx="2099453" cy="666377"/>
      </dsp:txXfrm>
    </dsp:sp>
    <dsp:sp modelId="{177B1E59-96CD-4C0E-A9C6-CC9F0053C7D8}">
      <dsp:nvSpPr>
        <dsp:cNvPr id="0" name=""/>
        <dsp:cNvSpPr/>
      </dsp:nvSpPr>
      <dsp:spPr>
        <a:xfrm>
          <a:off x="1163682" y="826985"/>
          <a:ext cx="2099453" cy="640077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1,2 % Pu</a:t>
          </a:r>
          <a:endParaRPr lang="nl-BE" sz="1700" kern="1200" dirty="0"/>
        </a:p>
      </dsp:txBody>
      <dsp:txXfrm>
        <a:off x="1163682" y="826985"/>
        <a:ext cx="2099453" cy="640077"/>
      </dsp:txXfrm>
    </dsp:sp>
    <dsp:sp modelId="{A890F6A1-C561-4DDD-BAED-9ECC4B7C61AB}">
      <dsp:nvSpPr>
        <dsp:cNvPr id="0" name=""/>
        <dsp:cNvSpPr/>
      </dsp:nvSpPr>
      <dsp:spPr>
        <a:xfrm>
          <a:off x="1163682" y="1627082"/>
          <a:ext cx="2099453" cy="640077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0,2 % </a:t>
          </a:r>
          <a:r>
            <a:rPr lang="nl-BE" sz="1700" kern="1200" dirty="0" err="1" smtClean="0"/>
            <a:t>MAs</a:t>
          </a:r>
          <a:endParaRPr lang="nl-BE" sz="1700" kern="1200" dirty="0"/>
        </a:p>
      </dsp:txBody>
      <dsp:txXfrm>
        <a:off x="1163682" y="1627082"/>
        <a:ext cx="2099453" cy="640077"/>
      </dsp:txXfrm>
    </dsp:sp>
    <dsp:sp modelId="{FC0AE1A0-2FFE-4497-8A6C-711E22DD8265}">
      <dsp:nvSpPr>
        <dsp:cNvPr id="0" name=""/>
        <dsp:cNvSpPr/>
      </dsp:nvSpPr>
      <dsp:spPr>
        <a:xfrm>
          <a:off x="1163682" y="2427178"/>
          <a:ext cx="2099453" cy="640077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err="1" smtClean="0"/>
            <a:t>Vitrified</a:t>
          </a:r>
          <a:r>
            <a:rPr lang="nl-BE" sz="1700" kern="1200" dirty="0" smtClean="0"/>
            <a:t> </a:t>
          </a:r>
          <a:r>
            <a:rPr lang="nl-BE" sz="1700" kern="1200" dirty="0" err="1" smtClean="0"/>
            <a:t>with</a:t>
          </a:r>
          <a:r>
            <a:rPr lang="nl-BE" sz="1700" kern="1200" dirty="0" smtClean="0"/>
            <a:t> </a:t>
          </a:r>
          <a:r>
            <a:rPr lang="nl-BE" sz="1700" kern="1200" dirty="0" err="1" smtClean="0"/>
            <a:t>FPs</a:t>
          </a:r>
          <a:endParaRPr lang="nl-BE" sz="1700" kern="1200" dirty="0" smtClean="0"/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(in 2)</a:t>
          </a:r>
          <a:endParaRPr lang="nl-BE" sz="1700" kern="1200" dirty="0"/>
        </a:p>
      </dsp:txBody>
      <dsp:txXfrm>
        <a:off x="1163682" y="2427178"/>
        <a:ext cx="2099453" cy="640077"/>
      </dsp:txXfrm>
    </dsp:sp>
    <dsp:sp modelId="{9DE22C7B-90CF-4BE2-8BFC-34999FF50C62}">
      <dsp:nvSpPr>
        <dsp:cNvPr id="0" name=""/>
        <dsp:cNvSpPr/>
      </dsp:nvSpPr>
      <dsp:spPr>
        <a:xfrm>
          <a:off x="1163682" y="3227275"/>
          <a:ext cx="2099453" cy="640077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err="1" smtClean="0"/>
            <a:t>Transmuted</a:t>
          </a:r>
          <a:r>
            <a:rPr lang="nl-BE" sz="1700" kern="1200" dirty="0" smtClean="0"/>
            <a:t> is ADS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(in 3)</a:t>
          </a:r>
          <a:endParaRPr lang="nl-BE" sz="1700" kern="1200" dirty="0"/>
        </a:p>
      </dsp:txBody>
      <dsp:txXfrm>
        <a:off x="1163682" y="3227275"/>
        <a:ext cx="2099453" cy="640077"/>
      </dsp:txXfrm>
    </dsp:sp>
    <dsp:sp modelId="{7B0F2542-213C-426B-B40C-9CCBFDE4205E}">
      <dsp:nvSpPr>
        <dsp:cNvPr id="0" name=""/>
        <dsp:cNvSpPr/>
      </dsp:nvSpPr>
      <dsp:spPr>
        <a:xfrm>
          <a:off x="1163682" y="4027371"/>
          <a:ext cx="2099453" cy="640077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baseline="0" dirty="0" smtClean="0"/>
            <a:t>~</a:t>
          </a:r>
          <a:r>
            <a:rPr lang="nl-BE" sz="1700" kern="1200" dirty="0" smtClean="0"/>
            <a:t>5,1 % </a:t>
          </a:r>
          <a:r>
            <a:rPr lang="nl-BE" sz="1700" kern="1200" dirty="0" err="1" smtClean="0"/>
            <a:t>FPs</a:t>
          </a:r>
          <a:endParaRPr lang="nl-BE" sz="1700" kern="1200" dirty="0"/>
        </a:p>
      </dsp:txBody>
      <dsp:txXfrm>
        <a:off x="1163682" y="4027371"/>
        <a:ext cx="2099453" cy="6400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6B7AAD-134E-4785-A3D3-30069128D839}">
      <dsp:nvSpPr>
        <dsp:cNvPr id="0" name=""/>
        <dsp:cNvSpPr/>
      </dsp:nvSpPr>
      <dsp:spPr>
        <a:xfrm>
          <a:off x="743791" y="2334018"/>
          <a:ext cx="419890" cy="20133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9945" y="0"/>
              </a:lnTo>
              <a:lnTo>
                <a:pt x="209945" y="2013391"/>
              </a:lnTo>
              <a:lnTo>
                <a:pt x="419890" y="201339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600" kern="1200"/>
        </a:p>
      </dsp:txBody>
      <dsp:txXfrm>
        <a:off x="902319" y="3289296"/>
        <a:ext cx="102835" cy="102835"/>
      </dsp:txXfrm>
    </dsp:sp>
    <dsp:sp modelId="{E70A4911-B9EA-4CE8-9C48-F1B75B1F99E8}">
      <dsp:nvSpPr>
        <dsp:cNvPr id="0" name=""/>
        <dsp:cNvSpPr/>
      </dsp:nvSpPr>
      <dsp:spPr>
        <a:xfrm>
          <a:off x="743791" y="2334018"/>
          <a:ext cx="419890" cy="12132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9945" y="0"/>
              </a:lnTo>
              <a:lnTo>
                <a:pt x="209945" y="1213295"/>
              </a:lnTo>
              <a:lnTo>
                <a:pt x="419890" y="121329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21639" y="2908568"/>
        <a:ext cx="64194" cy="64194"/>
      </dsp:txXfrm>
    </dsp:sp>
    <dsp:sp modelId="{577759AA-2767-4234-AF3A-215BEC1150F8}">
      <dsp:nvSpPr>
        <dsp:cNvPr id="0" name=""/>
        <dsp:cNvSpPr/>
      </dsp:nvSpPr>
      <dsp:spPr>
        <a:xfrm>
          <a:off x="743791" y="2334018"/>
          <a:ext cx="419890" cy="4131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9945" y="0"/>
              </a:lnTo>
              <a:lnTo>
                <a:pt x="209945" y="413198"/>
              </a:lnTo>
              <a:lnTo>
                <a:pt x="419890" y="41319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39009" y="2525890"/>
        <a:ext cx="29455" cy="29455"/>
      </dsp:txXfrm>
    </dsp:sp>
    <dsp:sp modelId="{E7C6B77D-F5F5-4057-AB65-947FC54538D3}">
      <dsp:nvSpPr>
        <dsp:cNvPr id="0" name=""/>
        <dsp:cNvSpPr/>
      </dsp:nvSpPr>
      <dsp:spPr>
        <a:xfrm>
          <a:off x="743791" y="1947120"/>
          <a:ext cx="419890" cy="386897"/>
        </a:xfrm>
        <a:custGeom>
          <a:avLst/>
          <a:gdLst/>
          <a:ahLst/>
          <a:cxnLst/>
          <a:rect l="0" t="0" r="0" b="0"/>
          <a:pathLst>
            <a:path>
              <a:moveTo>
                <a:pt x="0" y="386897"/>
              </a:moveTo>
              <a:lnTo>
                <a:pt x="209945" y="386897"/>
              </a:lnTo>
              <a:lnTo>
                <a:pt x="209945" y="0"/>
              </a:lnTo>
              <a:lnTo>
                <a:pt x="419890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39462" y="2126295"/>
        <a:ext cx="28548" cy="28548"/>
      </dsp:txXfrm>
    </dsp:sp>
    <dsp:sp modelId="{E279D713-FAE2-4661-B870-7DC5C82658B5}">
      <dsp:nvSpPr>
        <dsp:cNvPr id="0" name=""/>
        <dsp:cNvSpPr/>
      </dsp:nvSpPr>
      <dsp:spPr>
        <a:xfrm>
          <a:off x="743791" y="1147024"/>
          <a:ext cx="419890" cy="1186994"/>
        </a:xfrm>
        <a:custGeom>
          <a:avLst/>
          <a:gdLst/>
          <a:ahLst/>
          <a:cxnLst/>
          <a:rect l="0" t="0" r="0" b="0"/>
          <a:pathLst>
            <a:path>
              <a:moveTo>
                <a:pt x="0" y="1186994"/>
              </a:moveTo>
              <a:lnTo>
                <a:pt x="209945" y="1186994"/>
              </a:lnTo>
              <a:lnTo>
                <a:pt x="209945" y="0"/>
              </a:lnTo>
              <a:lnTo>
                <a:pt x="419890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22260" y="1709044"/>
        <a:ext cx="62953" cy="62953"/>
      </dsp:txXfrm>
    </dsp:sp>
    <dsp:sp modelId="{5710D759-510D-4BDA-99AD-8A8E6F07A362}">
      <dsp:nvSpPr>
        <dsp:cNvPr id="0" name=""/>
        <dsp:cNvSpPr/>
      </dsp:nvSpPr>
      <dsp:spPr>
        <a:xfrm>
          <a:off x="743791" y="333777"/>
          <a:ext cx="419890" cy="2000241"/>
        </a:xfrm>
        <a:custGeom>
          <a:avLst/>
          <a:gdLst/>
          <a:ahLst/>
          <a:cxnLst/>
          <a:rect l="0" t="0" r="0" b="0"/>
          <a:pathLst>
            <a:path>
              <a:moveTo>
                <a:pt x="0" y="2000241"/>
              </a:moveTo>
              <a:lnTo>
                <a:pt x="209945" y="2000241"/>
              </a:lnTo>
              <a:lnTo>
                <a:pt x="209945" y="0"/>
              </a:lnTo>
              <a:lnTo>
                <a:pt x="419890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600" kern="1200"/>
        </a:p>
      </dsp:txBody>
      <dsp:txXfrm>
        <a:off x="902641" y="1282801"/>
        <a:ext cx="102191" cy="102191"/>
      </dsp:txXfrm>
    </dsp:sp>
    <dsp:sp modelId="{5F9C7946-2B21-42E4-9265-4FA436ED9843}">
      <dsp:nvSpPr>
        <dsp:cNvPr id="0" name=""/>
        <dsp:cNvSpPr/>
      </dsp:nvSpPr>
      <dsp:spPr>
        <a:xfrm rot="16200000">
          <a:off x="-1755490" y="2013979"/>
          <a:ext cx="4358487" cy="64007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2300" kern="1200" dirty="0" smtClean="0"/>
            <a:t>1 ton </a:t>
          </a:r>
          <a:r>
            <a:rPr lang="nl-BE" sz="2300" kern="1200" dirty="0" err="1" smtClean="0"/>
            <a:t>UO</a:t>
          </a:r>
          <a:r>
            <a:rPr lang="nl-BE" sz="2300" kern="1200" baseline="-25000" dirty="0" err="1" smtClean="0"/>
            <a:t>2</a:t>
          </a:r>
          <a:r>
            <a:rPr lang="nl-BE" sz="2300" kern="1200" baseline="-25000" dirty="0" smtClean="0"/>
            <a:t> </a:t>
          </a:r>
          <a:r>
            <a:rPr lang="nl-BE" sz="2300" kern="1200" baseline="0" dirty="0" err="1" smtClean="0"/>
            <a:t>used</a:t>
          </a:r>
          <a:r>
            <a:rPr lang="nl-BE" sz="2300" kern="1200" baseline="0" dirty="0" smtClean="0"/>
            <a:t> </a:t>
          </a:r>
          <a:r>
            <a:rPr lang="nl-BE" sz="2300" kern="1200" baseline="0" dirty="0" err="1" smtClean="0"/>
            <a:t>fuel</a:t>
          </a:r>
          <a:r>
            <a:rPr lang="nl-BE" sz="2300" kern="1200" baseline="0" dirty="0" smtClean="0"/>
            <a:t> (50 </a:t>
          </a:r>
          <a:r>
            <a:rPr lang="nl-BE" sz="2300" kern="1200" baseline="0" dirty="0" err="1" smtClean="0"/>
            <a:t>GWd</a:t>
          </a:r>
          <a:r>
            <a:rPr lang="nl-BE" sz="2300" kern="1200" baseline="0" dirty="0" smtClean="0"/>
            <a:t>/t)</a:t>
          </a:r>
          <a:endParaRPr lang="nl-BE" sz="2300" kern="1200" baseline="0" dirty="0"/>
        </a:p>
      </dsp:txBody>
      <dsp:txXfrm>
        <a:off x="-1755490" y="2013979"/>
        <a:ext cx="4358487" cy="640077"/>
      </dsp:txXfrm>
    </dsp:sp>
    <dsp:sp modelId="{B07DD331-6F93-4CE1-B33F-D15937EF6D2A}">
      <dsp:nvSpPr>
        <dsp:cNvPr id="0" name=""/>
        <dsp:cNvSpPr/>
      </dsp:nvSpPr>
      <dsp:spPr>
        <a:xfrm>
          <a:off x="1163682" y="588"/>
          <a:ext cx="2099453" cy="666377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93,5 % U</a:t>
          </a:r>
          <a:endParaRPr lang="nl-BE" sz="1700" kern="1200" dirty="0"/>
        </a:p>
      </dsp:txBody>
      <dsp:txXfrm>
        <a:off x="1163682" y="588"/>
        <a:ext cx="2099453" cy="666377"/>
      </dsp:txXfrm>
    </dsp:sp>
    <dsp:sp modelId="{177B1E59-96CD-4C0E-A9C6-CC9F0053C7D8}">
      <dsp:nvSpPr>
        <dsp:cNvPr id="0" name=""/>
        <dsp:cNvSpPr/>
      </dsp:nvSpPr>
      <dsp:spPr>
        <a:xfrm>
          <a:off x="1163682" y="826985"/>
          <a:ext cx="2099453" cy="640077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1,2 % Pu</a:t>
          </a:r>
          <a:endParaRPr lang="nl-BE" sz="1700" kern="1200" dirty="0"/>
        </a:p>
      </dsp:txBody>
      <dsp:txXfrm>
        <a:off x="1163682" y="826985"/>
        <a:ext cx="2099453" cy="640077"/>
      </dsp:txXfrm>
    </dsp:sp>
    <dsp:sp modelId="{A890F6A1-C561-4DDD-BAED-9ECC4B7C61AB}">
      <dsp:nvSpPr>
        <dsp:cNvPr id="0" name=""/>
        <dsp:cNvSpPr/>
      </dsp:nvSpPr>
      <dsp:spPr>
        <a:xfrm>
          <a:off x="1163682" y="1627082"/>
          <a:ext cx="2099453" cy="640077"/>
        </a:xfrm>
        <a:prstGeom prst="rect">
          <a:avLst/>
        </a:prstGeom>
        <a:solidFill>
          <a:srgbClr val="FF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0,2 % </a:t>
          </a:r>
          <a:r>
            <a:rPr lang="nl-BE" sz="1700" kern="1200" dirty="0" err="1" smtClean="0"/>
            <a:t>MAs</a:t>
          </a:r>
          <a:endParaRPr lang="nl-BE" sz="1700" kern="1200" dirty="0"/>
        </a:p>
      </dsp:txBody>
      <dsp:txXfrm>
        <a:off x="1163682" y="1627082"/>
        <a:ext cx="2099453" cy="640077"/>
      </dsp:txXfrm>
    </dsp:sp>
    <dsp:sp modelId="{FC0AE1A0-2FFE-4497-8A6C-711E22DD8265}">
      <dsp:nvSpPr>
        <dsp:cNvPr id="0" name=""/>
        <dsp:cNvSpPr/>
      </dsp:nvSpPr>
      <dsp:spPr>
        <a:xfrm>
          <a:off x="1163682" y="2427178"/>
          <a:ext cx="2099453" cy="640077"/>
        </a:xfrm>
        <a:prstGeom prst="rect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err="1" smtClean="0"/>
            <a:t>Vitrified</a:t>
          </a:r>
          <a:r>
            <a:rPr lang="nl-BE" sz="1700" kern="1200" dirty="0" smtClean="0"/>
            <a:t> </a:t>
          </a:r>
          <a:r>
            <a:rPr lang="nl-BE" sz="1700" kern="1200" dirty="0" err="1" smtClean="0"/>
            <a:t>with</a:t>
          </a:r>
          <a:r>
            <a:rPr lang="nl-BE" sz="1700" kern="1200" dirty="0" smtClean="0"/>
            <a:t> </a:t>
          </a:r>
          <a:r>
            <a:rPr lang="nl-BE" sz="1700" kern="1200" dirty="0" err="1" smtClean="0"/>
            <a:t>FPs</a:t>
          </a:r>
          <a:endParaRPr lang="nl-BE" sz="1700" kern="1200" dirty="0" smtClean="0"/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(in 2)</a:t>
          </a:r>
          <a:endParaRPr lang="nl-BE" sz="1700" kern="1200" dirty="0"/>
        </a:p>
      </dsp:txBody>
      <dsp:txXfrm>
        <a:off x="1163682" y="2427178"/>
        <a:ext cx="2099453" cy="640077"/>
      </dsp:txXfrm>
    </dsp:sp>
    <dsp:sp modelId="{9DE22C7B-90CF-4BE2-8BFC-34999FF50C62}">
      <dsp:nvSpPr>
        <dsp:cNvPr id="0" name=""/>
        <dsp:cNvSpPr/>
      </dsp:nvSpPr>
      <dsp:spPr>
        <a:xfrm>
          <a:off x="1163682" y="3227275"/>
          <a:ext cx="2099453" cy="640077"/>
        </a:xfrm>
        <a:prstGeom prst="rect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1700" kern="1200" dirty="0"/>
        </a:p>
      </dsp:txBody>
      <dsp:txXfrm>
        <a:off x="1163682" y="3227275"/>
        <a:ext cx="2099453" cy="640077"/>
      </dsp:txXfrm>
    </dsp:sp>
    <dsp:sp modelId="{7B0F2542-213C-426B-B40C-9CCBFDE4205E}">
      <dsp:nvSpPr>
        <dsp:cNvPr id="0" name=""/>
        <dsp:cNvSpPr/>
      </dsp:nvSpPr>
      <dsp:spPr>
        <a:xfrm>
          <a:off x="1163682" y="4027371"/>
          <a:ext cx="2099453" cy="640077"/>
        </a:xfrm>
        <a:prstGeom prst="rect">
          <a:avLst/>
        </a:prstGeom>
        <a:solidFill>
          <a:srgbClr val="FFC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baseline="0" dirty="0" smtClean="0"/>
            <a:t>~</a:t>
          </a:r>
          <a:r>
            <a:rPr lang="nl-BE" sz="1700" kern="1200" dirty="0" smtClean="0"/>
            <a:t>5,1 % </a:t>
          </a:r>
          <a:r>
            <a:rPr lang="nl-BE" sz="1700" kern="1200" dirty="0" err="1" smtClean="0"/>
            <a:t>FPs</a:t>
          </a:r>
          <a:endParaRPr lang="nl-BE" sz="1700" kern="1200" dirty="0"/>
        </a:p>
      </dsp:txBody>
      <dsp:txXfrm>
        <a:off x="1163682" y="4027371"/>
        <a:ext cx="2099453" cy="640077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6B7AAD-134E-4785-A3D3-30069128D839}">
      <dsp:nvSpPr>
        <dsp:cNvPr id="0" name=""/>
        <dsp:cNvSpPr/>
      </dsp:nvSpPr>
      <dsp:spPr>
        <a:xfrm>
          <a:off x="743791" y="2334018"/>
          <a:ext cx="419890" cy="201339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9945" y="0"/>
              </a:lnTo>
              <a:lnTo>
                <a:pt x="209945" y="2013391"/>
              </a:lnTo>
              <a:lnTo>
                <a:pt x="419890" y="2013391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600" kern="1200"/>
        </a:p>
      </dsp:txBody>
      <dsp:txXfrm>
        <a:off x="902319" y="3289296"/>
        <a:ext cx="102835" cy="102835"/>
      </dsp:txXfrm>
    </dsp:sp>
    <dsp:sp modelId="{E70A4911-B9EA-4CE8-9C48-F1B75B1F99E8}">
      <dsp:nvSpPr>
        <dsp:cNvPr id="0" name=""/>
        <dsp:cNvSpPr/>
      </dsp:nvSpPr>
      <dsp:spPr>
        <a:xfrm>
          <a:off x="743791" y="2334018"/>
          <a:ext cx="419890" cy="121329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9945" y="0"/>
              </a:lnTo>
              <a:lnTo>
                <a:pt x="209945" y="1213295"/>
              </a:lnTo>
              <a:lnTo>
                <a:pt x="419890" y="1213295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21639" y="2908568"/>
        <a:ext cx="64194" cy="64194"/>
      </dsp:txXfrm>
    </dsp:sp>
    <dsp:sp modelId="{577759AA-2767-4234-AF3A-215BEC1150F8}">
      <dsp:nvSpPr>
        <dsp:cNvPr id="0" name=""/>
        <dsp:cNvSpPr/>
      </dsp:nvSpPr>
      <dsp:spPr>
        <a:xfrm>
          <a:off x="743791" y="2334018"/>
          <a:ext cx="419890" cy="4131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09945" y="0"/>
              </a:lnTo>
              <a:lnTo>
                <a:pt x="209945" y="413198"/>
              </a:lnTo>
              <a:lnTo>
                <a:pt x="419890" y="413198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39009" y="2525890"/>
        <a:ext cx="29455" cy="29455"/>
      </dsp:txXfrm>
    </dsp:sp>
    <dsp:sp modelId="{E7C6B77D-F5F5-4057-AB65-947FC54538D3}">
      <dsp:nvSpPr>
        <dsp:cNvPr id="0" name=""/>
        <dsp:cNvSpPr/>
      </dsp:nvSpPr>
      <dsp:spPr>
        <a:xfrm>
          <a:off x="743791" y="1947120"/>
          <a:ext cx="419890" cy="386897"/>
        </a:xfrm>
        <a:custGeom>
          <a:avLst/>
          <a:gdLst/>
          <a:ahLst/>
          <a:cxnLst/>
          <a:rect l="0" t="0" r="0" b="0"/>
          <a:pathLst>
            <a:path>
              <a:moveTo>
                <a:pt x="0" y="386897"/>
              </a:moveTo>
              <a:lnTo>
                <a:pt x="209945" y="386897"/>
              </a:lnTo>
              <a:lnTo>
                <a:pt x="209945" y="0"/>
              </a:lnTo>
              <a:lnTo>
                <a:pt x="419890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39462" y="2126295"/>
        <a:ext cx="28548" cy="28548"/>
      </dsp:txXfrm>
    </dsp:sp>
    <dsp:sp modelId="{E279D713-FAE2-4661-B870-7DC5C82658B5}">
      <dsp:nvSpPr>
        <dsp:cNvPr id="0" name=""/>
        <dsp:cNvSpPr/>
      </dsp:nvSpPr>
      <dsp:spPr>
        <a:xfrm>
          <a:off x="743791" y="1147024"/>
          <a:ext cx="419890" cy="1186994"/>
        </a:xfrm>
        <a:custGeom>
          <a:avLst/>
          <a:gdLst/>
          <a:ahLst/>
          <a:cxnLst/>
          <a:rect l="0" t="0" r="0" b="0"/>
          <a:pathLst>
            <a:path>
              <a:moveTo>
                <a:pt x="0" y="1186994"/>
              </a:moveTo>
              <a:lnTo>
                <a:pt x="209945" y="1186994"/>
              </a:lnTo>
              <a:lnTo>
                <a:pt x="209945" y="0"/>
              </a:lnTo>
              <a:lnTo>
                <a:pt x="419890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500" kern="1200"/>
        </a:p>
      </dsp:txBody>
      <dsp:txXfrm>
        <a:off x="922260" y="1709044"/>
        <a:ext cx="62953" cy="62953"/>
      </dsp:txXfrm>
    </dsp:sp>
    <dsp:sp modelId="{5710D759-510D-4BDA-99AD-8A8E6F07A362}">
      <dsp:nvSpPr>
        <dsp:cNvPr id="0" name=""/>
        <dsp:cNvSpPr/>
      </dsp:nvSpPr>
      <dsp:spPr>
        <a:xfrm>
          <a:off x="743791" y="333777"/>
          <a:ext cx="419890" cy="2000241"/>
        </a:xfrm>
        <a:custGeom>
          <a:avLst/>
          <a:gdLst/>
          <a:ahLst/>
          <a:cxnLst/>
          <a:rect l="0" t="0" r="0" b="0"/>
          <a:pathLst>
            <a:path>
              <a:moveTo>
                <a:pt x="0" y="2000241"/>
              </a:moveTo>
              <a:lnTo>
                <a:pt x="209945" y="2000241"/>
              </a:lnTo>
              <a:lnTo>
                <a:pt x="209945" y="0"/>
              </a:lnTo>
              <a:lnTo>
                <a:pt x="419890" y="0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nl-BE" sz="600" kern="1200"/>
        </a:p>
      </dsp:txBody>
      <dsp:txXfrm>
        <a:off x="902641" y="1282801"/>
        <a:ext cx="102191" cy="102191"/>
      </dsp:txXfrm>
    </dsp:sp>
    <dsp:sp modelId="{5F9C7946-2B21-42E4-9265-4FA436ED9843}">
      <dsp:nvSpPr>
        <dsp:cNvPr id="0" name=""/>
        <dsp:cNvSpPr/>
      </dsp:nvSpPr>
      <dsp:spPr>
        <a:xfrm rot="16200000">
          <a:off x="-1755490" y="2013979"/>
          <a:ext cx="4358487" cy="64007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05" tIns="14605" rIns="14605" bIns="1460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2300" kern="1200" dirty="0" smtClean="0"/>
            <a:t>1 ton </a:t>
          </a:r>
          <a:r>
            <a:rPr lang="nl-BE" sz="2300" kern="1200" dirty="0" err="1" smtClean="0"/>
            <a:t>UO</a:t>
          </a:r>
          <a:r>
            <a:rPr lang="nl-BE" sz="2300" kern="1200" baseline="-25000" dirty="0" err="1" smtClean="0"/>
            <a:t>2</a:t>
          </a:r>
          <a:r>
            <a:rPr lang="nl-BE" sz="2300" kern="1200" baseline="-25000" dirty="0" smtClean="0"/>
            <a:t> </a:t>
          </a:r>
          <a:r>
            <a:rPr lang="nl-BE" sz="2300" kern="1200" baseline="0" dirty="0" err="1" smtClean="0"/>
            <a:t>used</a:t>
          </a:r>
          <a:r>
            <a:rPr lang="nl-BE" sz="2300" kern="1200" baseline="0" dirty="0" smtClean="0"/>
            <a:t> </a:t>
          </a:r>
          <a:r>
            <a:rPr lang="nl-BE" sz="2300" kern="1200" baseline="0" dirty="0" err="1" smtClean="0"/>
            <a:t>fuel</a:t>
          </a:r>
          <a:r>
            <a:rPr lang="nl-BE" sz="2300" kern="1200" baseline="0" dirty="0" smtClean="0"/>
            <a:t> (50 </a:t>
          </a:r>
          <a:r>
            <a:rPr lang="nl-BE" sz="2300" kern="1200" baseline="0" dirty="0" err="1" smtClean="0"/>
            <a:t>GWd</a:t>
          </a:r>
          <a:r>
            <a:rPr lang="nl-BE" sz="2300" kern="1200" baseline="0" dirty="0" smtClean="0"/>
            <a:t>/t)</a:t>
          </a:r>
          <a:endParaRPr lang="nl-BE" sz="2300" kern="1200" baseline="0" dirty="0"/>
        </a:p>
      </dsp:txBody>
      <dsp:txXfrm>
        <a:off x="-1755490" y="2013979"/>
        <a:ext cx="4358487" cy="640077"/>
      </dsp:txXfrm>
    </dsp:sp>
    <dsp:sp modelId="{B07DD331-6F93-4CE1-B33F-D15937EF6D2A}">
      <dsp:nvSpPr>
        <dsp:cNvPr id="0" name=""/>
        <dsp:cNvSpPr/>
      </dsp:nvSpPr>
      <dsp:spPr>
        <a:xfrm>
          <a:off x="1163682" y="588"/>
          <a:ext cx="2099453" cy="666377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93,5 % U</a:t>
          </a:r>
          <a:endParaRPr lang="nl-BE" sz="1700" kern="1200" dirty="0"/>
        </a:p>
      </dsp:txBody>
      <dsp:txXfrm>
        <a:off x="1163682" y="588"/>
        <a:ext cx="2099453" cy="666377"/>
      </dsp:txXfrm>
    </dsp:sp>
    <dsp:sp modelId="{177B1E59-96CD-4C0E-A9C6-CC9F0053C7D8}">
      <dsp:nvSpPr>
        <dsp:cNvPr id="0" name=""/>
        <dsp:cNvSpPr/>
      </dsp:nvSpPr>
      <dsp:spPr>
        <a:xfrm>
          <a:off x="1163682" y="826985"/>
          <a:ext cx="2099453" cy="640077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1,2 % Pu</a:t>
          </a:r>
          <a:endParaRPr lang="nl-BE" sz="1700" kern="1200" dirty="0"/>
        </a:p>
      </dsp:txBody>
      <dsp:txXfrm>
        <a:off x="1163682" y="826985"/>
        <a:ext cx="2099453" cy="640077"/>
      </dsp:txXfrm>
    </dsp:sp>
    <dsp:sp modelId="{A890F6A1-C561-4DDD-BAED-9ECC4B7C61AB}">
      <dsp:nvSpPr>
        <dsp:cNvPr id="0" name=""/>
        <dsp:cNvSpPr/>
      </dsp:nvSpPr>
      <dsp:spPr>
        <a:xfrm>
          <a:off x="1163682" y="1627082"/>
          <a:ext cx="2099453" cy="640077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0,2 % </a:t>
          </a:r>
          <a:r>
            <a:rPr lang="nl-BE" sz="1700" kern="1200" dirty="0" err="1" smtClean="0"/>
            <a:t>MAs</a:t>
          </a:r>
          <a:endParaRPr lang="nl-BE" sz="1700" kern="1200" dirty="0"/>
        </a:p>
      </dsp:txBody>
      <dsp:txXfrm>
        <a:off x="1163682" y="1627082"/>
        <a:ext cx="2099453" cy="640077"/>
      </dsp:txXfrm>
    </dsp:sp>
    <dsp:sp modelId="{FC0AE1A0-2FFE-4497-8A6C-711E22DD8265}">
      <dsp:nvSpPr>
        <dsp:cNvPr id="0" name=""/>
        <dsp:cNvSpPr/>
      </dsp:nvSpPr>
      <dsp:spPr>
        <a:xfrm>
          <a:off x="1163682" y="2427178"/>
          <a:ext cx="2099453" cy="640077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err="1" smtClean="0"/>
            <a:t>Vitrified</a:t>
          </a:r>
          <a:r>
            <a:rPr lang="nl-BE" sz="1700" kern="1200" dirty="0" smtClean="0"/>
            <a:t> </a:t>
          </a:r>
          <a:r>
            <a:rPr lang="nl-BE" sz="1700" kern="1200" dirty="0" err="1" smtClean="0"/>
            <a:t>with</a:t>
          </a:r>
          <a:r>
            <a:rPr lang="nl-BE" sz="1700" kern="1200" dirty="0" smtClean="0"/>
            <a:t> </a:t>
          </a:r>
          <a:r>
            <a:rPr lang="nl-BE" sz="1700" kern="1200" dirty="0" err="1" smtClean="0"/>
            <a:t>FPs</a:t>
          </a:r>
          <a:endParaRPr lang="nl-BE" sz="1700" kern="1200" dirty="0" smtClean="0"/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(in 2)</a:t>
          </a:r>
          <a:endParaRPr lang="nl-BE" sz="1700" kern="1200" dirty="0"/>
        </a:p>
      </dsp:txBody>
      <dsp:txXfrm>
        <a:off x="1163682" y="2427178"/>
        <a:ext cx="2099453" cy="640077"/>
      </dsp:txXfrm>
    </dsp:sp>
    <dsp:sp modelId="{9DE22C7B-90CF-4BE2-8BFC-34999FF50C62}">
      <dsp:nvSpPr>
        <dsp:cNvPr id="0" name=""/>
        <dsp:cNvSpPr/>
      </dsp:nvSpPr>
      <dsp:spPr>
        <a:xfrm>
          <a:off x="1163682" y="3227275"/>
          <a:ext cx="2099453" cy="640077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err="1" smtClean="0"/>
            <a:t>Transmuted</a:t>
          </a:r>
          <a:r>
            <a:rPr lang="nl-BE" sz="1700" kern="1200" dirty="0" smtClean="0"/>
            <a:t> is ADS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dirty="0" smtClean="0"/>
            <a:t>(in 3)</a:t>
          </a:r>
          <a:endParaRPr lang="nl-BE" sz="1700" kern="1200" dirty="0"/>
        </a:p>
      </dsp:txBody>
      <dsp:txXfrm>
        <a:off x="1163682" y="3227275"/>
        <a:ext cx="2099453" cy="640077"/>
      </dsp:txXfrm>
    </dsp:sp>
    <dsp:sp modelId="{7B0F2542-213C-426B-B40C-9CCBFDE4205E}">
      <dsp:nvSpPr>
        <dsp:cNvPr id="0" name=""/>
        <dsp:cNvSpPr/>
      </dsp:nvSpPr>
      <dsp:spPr>
        <a:xfrm>
          <a:off x="1163682" y="4027371"/>
          <a:ext cx="2099453" cy="640077"/>
        </a:xfrm>
        <a:prstGeom prst="rect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l-BE" sz="1700" kern="1200" baseline="0" dirty="0" smtClean="0"/>
            <a:t>~</a:t>
          </a:r>
          <a:r>
            <a:rPr lang="nl-BE" sz="1700" kern="1200" dirty="0" smtClean="0"/>
            <a:t>5,1 % </a:t>
          </a:r>
          <a:r>
            <a:rPr lang="nl-BE" sz="1700" kern="1200" dirty="0" err="1" smtClean="0"/>
            <a:t>FPs</a:t>
          </a:r>
          <a:endParaRPr lang="nl-BE" sz="1700" kern="1200" dirty="0"/>
        </a:p>
      </dsp:txBody>
      <dsp:txXfrm>
        <a:off x="1163682" y="4027371"/>
        <a:ext cx="2099453" cy="6400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694" cy="5126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505" y="0"/>
            <a:ext cx="3076694" cy="5126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732BD1-F0C4-411B-948B-1191EDCBFC87}" type="datetimeFigureOut">
              <a:rPr lang="nl-BE" smtClean="0"/>
              <a:t>2022-07-18</a:t>
            </a:fld>
            <a:endParaRPr lang="nl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969"/>
            <a:ext cx="3076694" cy="510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505" y="9721969"/>
            <a:ext cx="3076694" cy="51035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30A7C3-3BC7-4F09-ABEC-DEE4C8B90573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8536694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5" y="2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26CBC57B-3E7E-469D-8403-91A719FB33F3}" type="datetimeFigureOut">
              <a:rPr lang="nl-BE" smtClean="0"/>
              <a:t>2022-07-18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6525" y="766763"/>
            <a:ext cx="6826250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4"/>
            <a:ext cx="5679440" cy="4605576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1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5" y="9721110"/>
            <a:ext cx="3076363" cy="511731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1E6426AA-B911-4315-8B16-824FEF6D4B62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211016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mtClean="0"/>
              <a:t>video vertragen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9104454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55301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18292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6525" y="766763"/>
            <a:ext cx="6826250" cy="38401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6426AA-B911-4315-8B16-824FEF6D4B62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35394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is</a:t>
            </a:r>
            <a:r>
              <a:rPr lang="en-US" baseline="0" dirty="0" smtClean="0"/>
              <a:t> is the layout selected for the subcritical core revision 1.8</a:t>
            </a:r>
          </a:p>
          <a:p>
            <a:r>
              <a:rPr lang="en-US" baseline="0" dirty="0" smtClean="0"/>
              <a:t>It contains 78 hexagonal FAs (in white) with 30% MOX fuel</a:t>
            </a:r>
          </a:p>
          <a:p>
            <a:r>
              <a:rPr lang="en-US" baseline="0" dirty="0" smtClean="0"/>
              <a:t>6 experiments for material irradiation are loaded close to the spallation target in correspondence of the multifunctional channels where the neutron flues are the highest</a:t>
            </a:r>
          </a:p>
          <a:p>
            <a:r>
              <a:rPr lang="en-US" baseline="0" dirty="0" smtClean="0"/>
              <a:t>3 thermal islands for Mo-99 production, farther from the center to not disrupt the flux, but close enough to have enough neutron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6426AA-B911-4315-8B16-824FEF6D4B62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62028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5"/>
          </a:xfrm>
          <a:prstGeom prst="rect">
            <a:avLst/>
          </a:prstGeom>
        </p:spPr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baseline="0" dirty="0" err="1" smtClean="0"/>
              <a:t>Spreker</a:t>
            </a:r>
            <a:r>
              <a:rPr lang="en-US" b="1" baseline="0" dirty="0" smtClean="0"/>
              <a:t>: </a:t>
            </a:r>
            <a:r>
              <a:rPr lang="en-US" sz="900" b="1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amid Aït Abderrahim</a:t>
            </a:r>
            <a:endParaRPr lang="en-US" baseline="0" dirty="0" smtClean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err="1" smtClean="0"/>
              <a:t>En</a:t>
            </a:r>
            <a:r>
              <a:rPr lang="en-US" baseline="0" dirty="0" smtClean="0"/>
              <a:t> nog </a:t>
            </a:r>
            <a:r>
              <a:rPr lang="en-US" baseline="0" dirty="0" err="1" smtClean="0"/>
              <a:t>e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rganisatiewijziging</a:t>
            </a:r>
            <a:r>
              <a:rPr lang="en-US" baseline="0" dirty="0" smtClean="0"/>
              <a:t>: MYRRHA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err="1" smtClean="0"/>
              <a:t>Apar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chtsstructuur</a:t>
            </a:r>
            <a:r>
              <a:rPr lang="en-US" baseline="0" dirty="0" smtClean="0"/>
              <a:t>: ‘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ternationale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eniging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zonder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b="0" i="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nstoogmerk</a:t>
            </a:r>
            <a:r>
              <a:rPr lang="en-US" sz="900" b="0" i="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’</a:t>
            </a:r>
            <a:endParaRPr lang="en-US" baseline="0" dirty="0" smtClean="0"/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aseline="0" dirty="0" err="1" smtClean="0"/>
              <a:t>Blijvend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ndersteuning</a:t>
            </a:r>
            <a:r>
              <a:rPr lang="en-US" baseline="0" dirty="0" smtClean="0"/>
              <a:t> van SCK CEN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l-BE" baseline="0" dirty="0" smtClean="0"/>
              <a:t>de belangstelling van buitenlandse partners voor een instap in het project stimuleren / internationale investeerders samenbreng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2016" y="10294088"/>
            <a:ext cx="2945659" cy="498055"/>
          </a:xfrm>
          <a:prstGeom prst="rect">
            <a:avLst/>
          </a:prstGeom>
        </p:spPr>
        <p:txBody>
          <a:bodyPr/>
          <a:lstStyle/>
          <a:p>
            <a:fld id="{08D528F1-0B43-4D94-A9A2-5B899A16B97D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56780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432050" y="485775"/>
            <a:ext cx="4232275" cy="2381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592071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6525" y="766763"/>
            <a:ext cx="6826250" cy="38401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6426AA-B911-4315-8B16-824FEF6D4B62}" type="slidenum">
              <a:rPr lang="nl-BE" smtClean="0"/>
              <a:t>37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4029112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0338" y="779463"/>
            <a:ext cx="6780212" cy="38147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767180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39793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6426AA-B911-4315-8B16-824FEF6D4B62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9700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6426AA-B911-4315-8B16-824FEF6D4B62}" type="slidenum">
              <a:rPr kumimoji="0" lang="nl-B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l-B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3223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1125" y="755650"/>
            <a:ext cx="6577013" cy="3700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20860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GB" dirty="0" smtClean="0"/>
              <a:t>What is MYRRHA </a:t>
            </a:r>
          </a:p>
          <a:p>
            <a:pPr eaLnBrk="1" hangingPunct="1"/>
            <a:r>
              <a:rPr lang="en-GB" dirty="0" smtClean="0"/>
              <a:t>What offers</a:t>
            </a:r>
          </a:p>
        </p:txBody>
      </p:sp>
    </p:spTree>
    <p:extLst>
      <p:ext uri="{BB962C8B-B14F-4D97-AF65-F5344CB8AC3E}">
        <p14:creationId xmlns:p14="http://schemas.microsoft.com/office/powerpoint/2010/main" val="16191562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0483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GB" dirty="0" smtClean="0"/>
              <a:t>What is MYRRHA </a:t>
            </a:r>
          </a:p>
          <a:p>
            <a:pPr eaLnBrk="1" hangingPunct="1"/>
            <a:r>
              <a:rPr lang="en-GB" dirty="0" smtClean="0"/>
              <a:t>What offers</a:t>
            </a:r>
          </a:p>
        </p:txBody>
      </p:sp>
    </p:spTree>
    <p:extLst>
      <p:ext uri="{BB962C8B-B14F-4D97-AF65-F5344CB8AC3E}">
        <p14:creationId xmlns:p14="http://schemas.microsoft.com/office/powerpoint/2010/main" val="30174446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0338" y="777875"/>
            <a:ext cx="6780212" cy="38147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K</a:t>
            </a:r>
          </a:p>
        </p:txBody>
      </p:sp>
    </p:spTree>
    <p:extLst>
      <p:ext uri="{BB962C8B-B14F-4D97-AF65-F5344CB8AC3E}">
        <p14:creationId xmlns:p14="http://schemas.microsoft.com/office/powerpoint/2010/main" val="27636992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498064" y="1988843"/>
            <a:ext cx="11195872" cy="182420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E8FC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53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nl-B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110" y="6381328"/>
            <a:ext cx="12033890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563684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3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246735" y="989680"/>
            <a:ext cx="11606879" cy="5607672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57" y="116633"/>
            <a:ext cx="11439761" cy="7143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4420" y="1196752"/>
            <a:ext cx="11431182" cy="5256584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>
              <a:defRPr sz="1600"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 sz="1400"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10346197" y="35625"/>
            <a:ext cx="1646740" cy="258854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>
                    <a:lumMod val="50000"/>
                    <a:lumOff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1B492441-0EAF-483D-8500-C54EB8F6570A}" type="datetime1">
              <a:rPr lang="nl-BE" smtClean="0"/>
              <a:pPr>
                <a:defRPr/>
              </a:pPr>
              <a:t>2022-07-18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68540146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00100"/>
            <a:ext cx="10658475" cy="7112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3200" y="1638300"/>
            <a:ext cx="4872038" cy="698501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sz="2800" b="0">
                <a:solidFill>
                  <a:schemeClr val="accent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8" name="Tijdelijke aanduiding voor grafiek 7">
            <a:extLst>
              <a:ext uri="{FF2B5EF4-FFF2-40B4-BE49-F238E27FC236}">
                <a16:creationId xmlns:a16="http://schemas.microsoft.com/office/drawing/2014/main" id="{785BDB02-0669-46C1-BC18-4B6915F659E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66762" y="1638300"/>
            <a:ext cx="4872037" cy="441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b="0"/>
            </a:lvl1pPr>
          </a:lstStyle>
          <a:p>
            <a:endParaRPr lang="en-BE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544414" y="2463800"/>
            <a:ext cx="4872037" cy="35941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3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1373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28">
          <p15:clr>
            <a:srgbClr val="FBAE40"/>
          </p15:clr>
        </p15:guide>
        <p15:guide id="3" pos="3552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256689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71692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96993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498064" y="1988843"/>
            <a:ext cx="11195872" cy="182420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E8FC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53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nl-B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110" y="6381328"/>
            <a:ext cx="12033890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20297210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1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508000" y="989681"/>
            <a:ext cx="11195872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141545"/>
            <a:ext cx="109728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217914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2905611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93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0" y="989683"/>
            <a:ext cx="11195872" cy="5391647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175789" y="1141545"/>
            <a:ext cx="7296811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137316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3" y="1028737"/>
            <a:ext cx="7610239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8331157" y="1046404"/>
            <a:ext cx="3314700" cy="528335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8452337" y="1124744"/>
            <a:ext cx="3072341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nl-BE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5" y="1141545"/>
            <a:ext cx="7296811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9598380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6131311" y="1028737"/>
            <a:ext cx="5491988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6288022" y="1141545"/>
            <a:ext cx="514325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1" y="1028737"/>
            <a:ext cx="5491988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1141545"/>
            <a:ext cx="514325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122313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1962888"/>
              </p:ext>
            </p:extLst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8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508000" y="989681"/>
            <a:ext cx="11195872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141545"/>
            <a:ext cx="109728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727642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6131311" y="1213401"/>
            <a:ext cx="5491988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1" y="1213401"/>
            <a:ext cx="5491988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1604797"/>
            <a:ext cx="514325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320161" y="1604797"/>
            <a:ext cx="514325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643687" y="1021379"/>
            <a:ext cx="5164284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9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6308316" y="1021379"/>
            <a:ext cx="5164284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8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58109" y="2420888"/>
            <a:ext cx="17725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sz="2100" b="1" dirty="0" err="1">
              <a:solidFill>
                <a:schemeClr val="bg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778486" y="1073459"/>
            <a:ext cx="4874388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6440111" y="1073459"/>
            <a:ext cx="4874388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9244083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>
            <a:spLocks/>
          </p:cNvSpPr>
          <p:nvPr userDrawn="1"/>
        </p:nvSpPr>
        <p:spPr bwMode="auto">
          <a:xfrm>
            <a:off x="508003" y="1028733"/>
            <a:ext cx="11115297" cy="259228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3" y="3717036"/>
            <a:ext cx="11115297" cy="259228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3856619"/>
            <a:ext cx="10807886" cy="23131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64713" y="1192302"/>
            <a:ext cx="10807886" cy="22651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488687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6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30"/>
            <a:ext cx="10972800" cy="96010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68610" y="6405334"/>
            <a:ext cx="480053" cy="365125"/>
          </a:xfrm>
          <a:prstGeom prst="rect">
            <a:avLst/>
          </a:prstGeom>
        </p:spPr>
        <p:txBody>
          <a:bodyPr/>
          <a:lstStyle/>
          <a:p>
            <a:fld id="{B9CD9413-B2A0-4D48-9D45-C313C489C51C}" type="slidenum">
              <a:rPr lang="nl-BE" smtClean="0"/>
              <a:t>‹#›</a:t>
            </a:fld>
            <a:endParaRPr lang="nl-B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229706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98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381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81735170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0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246735" y="989680"/>
            <a:ext cx="11606879" cy="5607672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57" y="116633"/>
            <a:ext cx="11439761" cy="7143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4420" y="1196752"/>
            <a:ext cx="11431182" cy="5256584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>
              <a:defRPr sz="1600"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 sz="1400"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10346197" y="35625"/>
            <a:ext cx="1646740" cy="258854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>
                    <a:lumMod val="50000"/>
                    <a:lumOff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1B492441-0EAF-483D-8500-C54EB8F6570A}" type="datetime1">
              <a:rPr lang="nl-BE" smtClean="0"/>
              <a:pPr>
                <a:defRPr/>
              </a:pPr>
              <a:t>2022-07-18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900316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3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381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0" y="989681"/>
            <a:ext cx="11195872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8601313"/>
      </p:ext>
    </p:extLst>
  </p:cSld>
  <p:clrMapOvr>
    <a:masterClrMapping/>
  </p:clrMapOvr>
  <p:transition spd="slow">
    <p:push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00100"/>
            <a:ext cx="10658475" cy="7112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3200" y="1638300"/>
            <a:ext cx="4872038" cy="698501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sz="2800" b="0">
                <a:solidFill>
                  <a:schemeClr val="accent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8" name="Tijdelijke aanduiding voor grafiek 7">
            <a:extLst>
              <a:ext uri="{FF2B5EF4-FFF2-40B4-BE49-F238E27FC236}">
                <a16:creationId xmlns:a16="http://schemas.microsoft.com/office/drawing/2014/main" id="{785BDB02-0669-46C1-BC18-4B6915F659E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66762" y="1638300"/>
            <a:ext cx="4872037" cy="441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b="0"/>
            </a:lvl1pPr>
          </a:lstStyle>
          <a:p>
            <a:endParaRPr lang="en-BE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544414" y="2463800"/>
            <a:ext cx="4872037" cy="35941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3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3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28">
          <p15:clr>
            <a:srgbClr val="FBAE40"/>
          </p15:clr>
        </p15:guide>
        <p15:guide id="3" pos="355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86" name="Afbeelding 8">
            <a:extLst>
              <a:ext uri="{FF2B5EF4-FFF2-40B4-BE49-F238E27FC236}">
                <a16:creationId xmlns:a16="http://schemas.microsoft.com/office/drawing/2014/main" id="{647C93FD-69BD-4ECC-920A-2E0DC25772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60" t="46262" r="6836" b="16827"/>
          <a:stretch/>
        </p:blipFill>
        <p:spPr>
          <a:xfrm>
            <a:off x="742950" y="762000"/>
            <a:ext cx="10725150" cy="4476750"/>
          </a:xfrm>
          <a:prstGeom prst="rect">
            <a:avLst/>
          </a:prstGeom>
        </p:spPr>
      </p:pic>
      <p:sp>
        <p:nvSpPr>
          <p:cNvPr id="17" name="Tijdelijke aanduiding voor tekst 16">
            <a:extLst>
              <a:ext uri="{FF2B5EF4-FFF2-40B4-BE49-F238E27FC236}">
                <a16:creationId xmlns:a16="http://schemas.microsoft.com/office/drawing/2014/main" id="{84146CB0-6BC6-4934-BF0B-44A468D396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81350" y="5321300"/>
            <a:ext cx="8270421" cy="28578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BE" dirty="0"/>
          </a:p>
        </p:txBody>
      </p:sp>
      <p:sp>
        <p:nvSpPr>
          <p:cNvPr id="2687" name="Title Placeholder 1"/>
          <p:cNvSpPr>
            <a:spLocks noGrp="1"/>
          </p:cNvSpPr>
          <p:nvPr>
            <p:ph type="title"/>
          </p:nvPr>
        </p:nvSpPr>
        <p:spPr>
          <a:xfrm>
            <a:off x="3181350" y="5635663"/>
            <a:ext cx="8362949" cy="6020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762000" y="5300663"/>
            <a:ext cx="2193925" cy="793750"/>
            <a:chOff x="480" y="3339"/>
            <a:chExt cx="1382" cy="50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80" y="3339"/>
              <a:ext cx="1382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480" y="3418"/>
              <a:ext cx="167" cy="236"/>
            </a:xfrm>
            <a:custGeom>
              <a:avLst/>
              <a:gdLst>
                <a:gd name="T0" fmla="*/ 116 w 502"/>
                <a:gd name="T1" fmla="*/ 486 h 709"/>
                <a:gd name="T2" fmla="*/ 156 w 502"/>
                <a:gd name="T3" fmla="*/ 539 h 709"/>
                <a:gd name="T4" fmla="*/ 181 w 502"/>
                <a:gd name="T5" fmla="*/ 557 h 709"/>
                <a:gd name="T6" fmla="*/ 210 w 502"/>
                <a:gd name="T7" fmla="*/ 568 h 709"/>
                <a:gd name="T8" fmla="*/ 243 w 502"/>
                <a:gd name="T9" fmla="*/ 574 h 709"/>
                <a:gd name="T10" fmla="*/ 275 w 502"/>
                <a:gd name="T11" fmla="*/ 573 h 709"/>
                <a:gd name="T12" fmla="*/ 313 w 502"/>
                <a:gd name="T13" fmla="*/ 560 h 709"/>
                <a:gd name="T14" fmla="*/ 330 w 502"/>
                <a:gd name="T15" fmla="*/ 548 h 709"/>
                <a:gd name="T16" fmla="*/ 340 w 502"/>
                <a:gd name="T17" fmla="*/ 531 h 709"/>
                <a:gd name="T18" fmla="*/ 344 w 502"/>
                <a:gd name="T19" fmla="*/ 511 h 709"/>
                <a:gd name="T20" fmla="*/ 343 w 502"/>
                <a:gd name="T21" fmla="*/ 497 h 709"/>
                <a:gd name="T22" fmla="*/ 335 w 502"/>
                <a:gd name="T23" fmla="*/ 478 h 709"/>
                <a:gd name="T24" fmla="*/ 321 w 502"/>
                <a:gd name="T25" fmla="*/ 462 h 709"/>
                <a:gd name="T26" fmla="*/ 274 w 502"/>
                <a:gd name="T27" fmla="*/ 433 h 709"/>
                <a:gd name="T28" fmla="*/ 204 w 502"/>
                <a:gd name="T29" fmla="*/ 406 h 709"/>
                <a:gd name="T30" fmla="*/ 144 w 502"/>
                <a:gd name="T31" fmla="*/ 377 h 709"/>
                <a:gd name="T32" fmla="*/ 99 w 502"/>
                <a:gd name="T33" fmla="*/ 343 h 709"/>
                <a:gd name="T34" fmla="*/ 66 w 502"/>
                <a:gd name="T35" fmla="*/ 304 h 709"/>
                <a:gd name="T36" fmla="*/ 46 w 502"/>
                <a:gd name="T37" fmla="*/ 260 h 709"/>
                <a:gd name="T38" fmla="*/ 37 w 502"/>
                <a:gd name="T39" fmla="*/ 211 h 709"/>
                <a:gd name="T40" fmla="*/ 37 w 502"/>
                <a:gd name="T41" fmla="*/ 173 h 709"/>
                <a:gd name="T42" fmla="*/ 53 w 502"/>
                <a:gd name="T43" fmla="*/ 117 h 709"/>
                <a:gd name="T44" fmla="*/ 85 w 502"/>
                <a:gd name="T45" fmla="*/ 69 h 709"/>
                <a:gd name="T46" fmla="*/ 131 w 502"/>
                <a:gd name="T47" fmla="*/ 32 h 709"/>
                <a:gd name="T48" fmla="*/ 189 w 502"/>
                <a:gd name="T49" fmla="*/ 8 h 709"/>
                <a:gd name="T50" fmla="*/ 257 w 502"/>
                <a:gd name="T51" fmla="*/ 0 h 709"/>
                <a:gd name="T52" fmla="*/ 290 w 502"/>
                <a:gd name="T53" fmla="*/ 1 h 709"/>
                <a:gd name="T54" fmla="*/ 336 w 502"/>
                <a:gd name="T55" fmla="*/ 10 h 709"/>
                <a:gd name="T56" fmla="*/ 378 w 502"/>
                <a:gd name="T57" fmla="*/ 28 h 709"/>
                <a:gd name="T58" fmla="*/ 417 w 502"/>
                <a:gd name="T59" fmla="*/ 54 h 709"/>
                <a:gd name="T60" fmla="*/ 451 w 502"/>
                <a:gd name="T61" fmla="*/ 89 h 709"/>
                <a:gd name="T62" fmla="*/ 360 w 502"/>
                <a:gd name="T63" fmla="*/ 196 h 709"/>
                <a:gd name="T64" fmla="*/ 340 w 502"/>
                <a:gd name="T65" fmla="*/ 169 h 709"/>
                <a:gd name="T66" fmla="*/ 305 w 502"/>
                <a:gd name="T67" fmla="*/ 143 h 709"/>
                <a:gd name="T68" fmla="*/ 260 w 502"/>
                <a:gd name="T69" fmla="*/ 134 h 709"/>
                <a:gd name="T70" fmla="*/ 231 w 502"/>
                <a:gd name="T71" fmla="*/ 139 h 709"/>
                <a:gd name="T72" fmla="*/ 197 w 502"/>
                <a:gd name="T73" fmla="*/ 157 h 709"/>
                <a:gd name="T74" fmla="*/ 188 w 502"/>
                <a:gd name="T75" fmla="*/ 172 h 709"/>
                <a:gd name="T76" fmla="*/ 184 w 502"/>
                <a:gd name="T77" fmla="*/ 189 h 709"/>
                <a:gd name="T78" fmla="*/ 189 w 502"/>
                <a:gd name="T79" fmla="*/ 214 h 709"/>
                <a:gd name="T80" fmla="*/ 204 w 502"/>
                <a:gd name="T81" fmla="*/ 235 h 709"/>
                <a:gd name="T82" fmla="*/ 250 w 502"/>
                <a:gd name="T83" fmla="*/ 264 h 709"/>
                <a:gd name="T84" fmla="*/ 322 w 502"/>
                <a:gd name="T85" fmla="*/ 291 h 709"/>
                <a:gd name="T86" fmla="*/ 381 w 502"/>
                <a:gd name="T87" fmla="*/ 319 h 709"/>
                <a:gd name="T88" fmla="*/ 430 w 502"/>
                <a:gd name="T89" fmla="*/ 351 h 709"/>
                <a:gd name="T90" fmla="*/ 465 w 502"/>
                <a:gd name="T91" fmla="*/ 387 h 709"/>
                <a:gd name="T92" fmla="*/ 489 w 502"/>
                <a:gd name="T93" fmla="*/ 432 h 709"/>
                <a:gd name="T94" fmla="*/ 501 w 502"/>
                <a:gd name="T95" fmla="*/ 485 h 709"/>
                <a:gd name="T96" fmla="*/ 501 w 502"/>
                <a:gd name="T97" fmla="*/ 526 h 709"/>
                <a:gd name="T98" fmla="*/ 483 w 502"/>
                <a:gd name="T99" fmla="*/ 587 h 709"/>
                <a:gd name="T100" fmla="*/ 449 w 502"/>
                <a:gd name="T101" fmla="*/ 638 h 709"/>
                <a:gd name="T102" fmla="*/ 398 w 502"/>
                <a:gd name="T103" fmla="*/ 676 h 709"/>
                <a:gd name="T104" fmla="*/ 332 w 502"/>
                <a:gd name="T105" fmla="*/ 700 h 709"/>
                <a:gd name="T106" fmla="*/ 255 w 502"/>
                <a:gd name="T107" fmla="*/ 709 h 709"/>
                <a:gd name="T108" fmla="*/ 215 w 502"/>
                <a:gd name="T109" fmla="*/ 707 h 709"/>
                <a:gd name="T110" fmla="*/ 159 w 502"/>
                <a:gd name="T111" fmla="*/ 696 h 709"/>
                <a:gd name="T112" fmla="*/ 108 w 502"/>
                <a:gd name="T113" fmla="*/ 675 h 709"/>
                <a:gd name="T114" fmla="*/ 62 w 502"/>
                <a:gd name="T115" fmla="*/ 644 h 709"/>
                <a:gd name="T116" fmla="*/ 23 w 502"/>
                <a:gd name="T117" fmla="*/ 6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709">
                  <a:moveTo>
                    <a:pt x="0" y="568"/>
                  </a:moveTo>
                  <a:lnTo>
                    <a:pt x="116" y="486"/>
                  </a:lnTo>
                  <a:lnTo>
                    <a:pt x="116" y="486"/>
                  </a:lnTo>
                  <a:lnTo>
                    <a:pt x="128" y="507"/>
                  </a:lnTo>
                  <a:lnTo>
                    <a:pt x="142" y="524"/>
                  </a:lnTo>
                  <a:lnTo>
                    <a:pt x="156" y="539"/>
                  </a:lnTo>
                  <a:lnTo>
                    <a:pt x="164" y="546"/>
                  </a:lnTo>
                  <a:lnTo>
                    <a:pt x="172" y="551"/>
                  </a:lnTo>
                  <a:lnTo>
                    <a:pt x="181" y="557"/>
                  </a:lnTo>
                  <a:lnTo>
                    <a:pt x="190" y="562"/>
                  </a:lnTo>
                  <a:lnTo>
                    <a:pt x="199" y="565"/>
                  </a:lnTo>
                  <a:lnTo>
                    <a:pt x="210" y="568"/>
                  </a:lnTo>
                  <a:lnTo>
                    <a:pt x="220" y="571"/>
                  </a:lnTo>
                  <a:lnTo>
                    <a:pt x="231" y="573"/>
                  </a:lnTo>
                  <a:lnTo>
                    <a:pt x="243" y="574"/>
                  </a:lnTo>
                  <a:lnTo>
                    <a:pt x="255" y="574"/>
                  </a:lnTo>
                  <a:lnTo>
                    <a:pt x="255" y="574"/>
                  </a:lnTo>
                  <a:lnTo>
                    <a:pt x="275" y="573"/>
                  </a:lnTo>
                  <a:lnTo>
                    <a:pt x="291" y="570"/>
                  </a:lnTo>
                  <a:lnTo>
                    <a:pt x="306" y="564"/>
                  </a:lnTo>
                  <a:lnTo>
                    <a:pt x="313" y="560"/>
                  </a:lnTo>
                  <a:lnTo>
                    <a:pt x="320" y="557"/>
                  </a:lnTo>
                  <a:lnTo>
                    <a:pt x="324" y="552"/>
                  </a:lnTo>
                  <a:lnTo>
                    <a:pt x="330" y="548"/>
                  </a:lnTo>
                  <a:lnTo>
                    <a:pt x="333" y="542"/>
                  </a:lnTo>
                  <a:lnTo>
                    <a:pt x="337" y="536"/>
                  </a:lnTo>
                  <a:lnTo>
                    <a:pt x="340" y="531"/>
                  </a:lnTo>
                  <a:lnTo>
                    <a:pt x="341" y="525"/>
                  </a:lnTo>
                  <a:lnTo>
                    <a:pt x="344" y="518"/>
                  </a:lnTo>
                  <a:lnTo>
                    <a:pt x="344" y="511"/>
                  </a:lnTo>
                  <a:lnTo>
                    <a:pt x="344" y="511"/>
                  </a:lnTo>
                  <a:lnTo>
                    <a:pt x="344" y="504"/>
                  </a:lnTo>
                  <a:lnTo>
                    <a:pt x="343" y="497"/>
                  </a:lnTo>
                  <a:lnTo>
                    <a:pt x="340" y="491"/>
                  </a:lnTo>
                  <a:lnTo>
                    <a:pt x="338" y="484"/>
                  </a:lnTo>
                  <a:lnTo>
                    <a:pt x="335" y="478"/>
                  </a:lnTo>
                  <a:lnTo>
                    <a:pt x="331" y="472"/>
                  </a:lnTo>
                  <a:lnTo>
                    <a:pt x="327" y="466"/>
                  </a:lnTo>
                  <a:lnTo>
                    <a:pt x="321" y="462"/>
                  </a:lnTo>
                  <a:lnTo>
                    <a:pt x="308" y="452"/>
                  </a:lnTo>
                  <a:lnTo>
                    <a:pt x="292" y="442"/>
                  </a:lnTo>
                  <a:lnTo>
                    <a:pt x="274" y="433"/>
                  </a:lnTo>
                  <a:lnTo>
                    <a:pt x="252" y="424"/>
                  </a:lnTo>
                  <a:lnTo>
                    <a:pt x="204" y="406"/>
                  </a:lnTo>
                  <a:lnTo>
                    <a:pt x="204" y="406"/>
                  </a:lnTo>
                  <a:lnTo>
                    <a:pt x="182" y="397"/>
                  </a:lnTo>
                  <a:lnTo>
                    <a:pt x="163" y="387"/>
                  </a:lnTo>
                  <a:lnTo>
                    <a:pt x="144" y="377"/>
                  </a:lnTo>
                  <a:lnTo>
                    <a:pt x="128" y="367"/>
                  </a:lnTo>
                  <a:lnTo>
                    <a:pt x="112" y="355"/>
                  </a:lnTo>
                  <a:lnTo>
                    <a:pt x="99" y="343"/>
                  </a:lnTo>
                  <a:lnTo>
                    <a:pt x="87" y="330"/>
                  </a:lnTo>
                  <a:lnTo>
                    <a:pt x="76" y="317"/>
                  </a:lnTo>
                  <a:lnTo>
                    <a:pt x="66" y="304"/>
                  </a:lnTo>
                  <a:lnTo>
                    <a:pt x="58" y="290"/>
                  </a:lnTo>
                  <a:lnTo>
                    <a:pt x="52" y="275"/>
                  </a:lnTo>
                  <a:lnTo>
                    <a:pt x="46" y="260"/>
                  </a:lnTo>
                  <a:lnTo>
                    <a:pt x="41" y="244"/>
                  </a:lnTo>
                  <a:lnTo>
                    <a:pt x="38" y="228"/>
                  </a:lnTo>
                  <a:lnTo>
                    <a:pt x="37" y="211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7" y="173"/>
                  </a:lnTo>
                  <a:lnTo>
                    <a:pt x="40" y="154"/>
                  </a:lnTo>
                  <a:lnTo>
                    <a:pt x="45" y="134"/>
                  </a:lnTo>
                  <a:lnTo>
                    <a:pt x="53" y="117"/>
                  </a:lnTo>
                  <a:lnTo>
                    <a:pt x="62" y="100"/>
                  </a:lnTo>
                  <a:lnTo>
                    <a:pt x="72" y="84"/>
                  </a:lnTo>
                  <a:lnTo>
                    <a:pt x="85" y="69"/>
                  </a:lnTo>
                  <a:lnTo>
                    <a:pt x="99" y="55"/>
                  </a:lnTo>
                  <a:lnTo>
                    <a:pt x="113" y="42"/>
                  </a:lnTo>
                  <a:lnTo>
                    <a:pt x="131" y="32"/>
                  </a:lnTo>
                  <a:lnTo>
                    <a:pt x="149" y="22"/>
                  </a:lnTo>
                  <a:lnTo>
                    <a:pt x="168" y="15"/>
                  </a:lnTo>
                  <a:lnTo>
                    <a:pt x="189" y="8"/>
                  </a:lnTo>
                  <a:lnTo>
                    <a:pt x="211" y="3"/>
                  </a:lnTo>
                  <a:lnTo>
                    <a:pt x="234" y="1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74" y="0"/>
                  </a:lnTo>
                  <a:lnTo>
                    <a:pt x="290" y="1"/>
                  </a:lnTo>
                  <a:lnTo>
                    <a:pt x="305" y="3"/>
                  </a:lnTo>
                  <a:lnTo>
                    <a:pt x="321" y="7"/>
                  </a:lnTo>
                  <a:lnTo>
                    <a:pt x="336" y="10"/>
                  </a:lnTo>
                  <a:lnTo>
                    <a:pt x="351" y="15"/>
                  </a:lnTo>
                  <a:lnTo>
                    <a:pt x="364" y="21"/>
                  </a:lnTo>
                  <a:lnTo>
                    <a:pt x="378" y="28"/>
                  </a:lnTo>
                  <a:lnTo>
                    <a:pt x="392" y="36"/>
                  </a:lnTo>
                  <a:lnTo>
                    <a:pt x="404" y="44"/>
                  </a:lnTo>
                  <a:lnTo>
                    <a:pt x="417" y="54"/>
                  </a:lnTo>
                  <a:lnTo>
                    <a:pt x="428" y="65"/>
                  </a:lnTo>
                  <a:lnTo>
                    <a:pt x="440" y="77"/>
                  </a:lnTo>
                  <a:lnTo>
                    <a:pt x="451" y="89"/>
                  </a:lnTo>
                  <a:lnTo>
                    <a:pt x="462" y="104"/>
                  </a:lnTo>
                  <a:lnTo>
                    <a:pt x="471" y="119"/>
                  </a:lnTo>
                  <a:lnTo>
                    <a:pt x="360" y="196"/>
                  </a:lnTo>
                  <a:lnTo>
                    <a:pt x="360" y="196"/>
                  </a:lnTo>
                  <a:lnTo>
                    <a:pt x="351" y="181"/>
                  </a:lnTo>
                  <a:lnTo>
                    <a:pt x="340" y="169"/>
                  </a:lnTo>
                  <a:lnTo>
                    <a:pt x="330" y="158"/>
                  </a:lnTo>
                  <a:lnTo>
                    <a:pt x="317" y="149"/>
                  </a:lnTo>
                  <a:lnTo>
                    <a:pt x="305" y="143"/>
                  </a:lnTo>
                  <a:lnTo>
                    <a:pt x="291" y="139"/>
                  </a:lnTo>
                  <a:lnTo>
                    <a:pt x="276" y="135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45" y="135"/>
                  </a:lnTo>
                  <a:lnTo>
                    <a:pt x="231" y="139"/>
                  </a:lnTo>
                  <a:lnTo>
                    <a:pt x="219" y="143"/>
                  </a:lnTo>
                  <a:lnTo>
                    <a:pt x="207" y="149"/>
                  </a:lnTo>
                  <a:lnTo>
                    <a:pt x="197" y="157"/>
                  </a:lnTo>
                  <a:lnTo>
                    <a:pt x="194" y="162"/>
                  </a:lnTo>
                  <a:lnTo>
                    <a:pt x="190" y="166"/>
                  </a:lnTo>
                  <a:lnTo>
                    <a:pt x="188" y="172"/>
                  </a:lnTo>
                  <a:lnTo>
                    <a:pt x="186" y="178"/>
                  </a:lnTo>
                  <a:lnTo>
                    <a:pt x="184" y="183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6" y="203"/>
                  </a:lnTo>
                  <a:lnTo>
                    <a:pt x="189" y="214"/>
                  </a:lnTo>
                  <a:lnTo>
                    <a:pt x="191" y="220"/>
                  </a:lnTo>
                  <a:lnTo>
                    <a:pt x="195" y="225"/>
                  </a:lnTo>
                  <a:lnTo>
                    <a:pt x="204" y="235"/>
                  </a:lnTo>
                  <a:lnTo>
                    <a:pt x="215" y="245"/>
                  </a:lnTo>
                  <a:lnTo>
                    <a:pt x="231" y="254"/>
                  </a:lnTo>
                  <a:lnTo>
                    <a:pt x="250" y="264"/>
                  </a:lnTo>
                  <a:lnTo>
                    <a:pt x="273" y="274"/>
                  </a:lnTo>
                  <a:lnTo>
                    <a:pt x="322" y="291"/>
                  </a:lnTo>
                  <a:lnTo>
                    <a:pt x="322" y="291"/>
                  </a:lnTo>
                  <a:lnTo>
                    <a:pt x="343" y="300"/>
                  </a:lnTo>
                  <a:lnTo>
                    <a:pt x="362" y="309"/>
                  </a:lnTo>
                  <a:lnTo>
                    <a:pt x="381" y="319"/>
                  </a:lnTo>
                  <a:lnTo>
                    <a:pt x="399" y="329"/>
                  </a:lnTo>
                  <a:lnTo>
                    <a:pt x="415" y="339"/>
                  </a:lnTo>
                  <a:lnTo>
                    <a:pt x="430" y="351"/>
                  </a:lnTo>
                  <a:lnTo>
                    <a:pt x="442" y="362"/>
                  </a:lnTo>
                  <a:lnTo>
                    <a:pt x="455" y="375"/>
                  </a:lnTo>
                  <a:lnTo>
                    <a:pt x="465" y="387"/>
                  </a:lnTo>
                  <a:lnTo>
                    <a:pt x="475" y="402"/>
                  </a:lnTo>
                  <a:lnTo>
                    <a:pt x="483" y="416"/>
                  </a:lnTo>
                  <a:lnTo>
                    <a:pt x="489" y="432"/>
                  </a:lnTo>
                  <a:lnTo>
                    <a:pt x="495" y="449"/>
                  </a:lnTo>
                  <a:lnTo>
                    <a:pt x="498" y="466"/>
                  </a:lnTo>
                  <a:lnTo>
                    <a:pt x="501" y="485"/>
                  </a:lnTo>
                  <a:lnTo>
                    <a:pt x="502" y="504"/>
                  </a:lnTo>
                  <a:lnTo>
                    <a:pt x="502" y="504"/>
                  </a:lnTo>
                  <a:lnTo>
                    <a:pt x="501" y="526"/>
                  </a:lnTo>
                  <a:lnTo>
                    <a:pt x="497" y="548"/>
                  </a:lnTo>
                  <a:lnTo>
                    <a:pt x="491" y="568"/>
                  </a:lnTo>
                  <a:lnTo>
                    <a:pt x="483" y="587"/>
                  </a:lnTo>
                  <a:lnTo>
                    <a:pt x="474" y="605"/>
                  </a:lnTo>
                  <a:lnTo>
                    <a:pt x="462" y="622"/>
                  </a:lnTo>
                  <a:lnTo>
                    <a:pt x="449" y="638"/>
                  </a:lnTo>
                  <a:lnTo>
                    <a:pt x="433" y="652"/>
                  </a:lnTo>
                  <a:lnTo>
                    <a:pt x="416" y="665"/>
                  </a:lnTo>
                  <a:lnTo>
                    <a:pt x="398" y="676"/>
                  </a:lnTo>
                  <a:lnTo>
                    <a:pt x="377" y="686"/>
                  </a:lnTo>
                  <a:lnTo>
                    <a:pt x="355" y="694"/>
                  </a:lnTo>
                  <a:lnTo>
                    <a:pt x="332" y="700"/>
                  </a:lnTo>
                  <a:lnTo>
                    <a:pt x="308" y="705"/>
                  </a:lnTo>
                  <a:lnTo>
                    <a:pt x="282" y="708"/>
                  </a:lnTo>
                  <a:lnTo>
                    <a:pt x="255" y="709"/>
                  </a:lnTo>
                  <a:lnTo>
                    <a:pt x="255" y="709"/>
                  </a:lnTo>
                  <a:lnTo>
                    <a:pt x="236" y="708"/>
                  </a:lnTo>
                  <a:lnTo>
                    <a:pt x="215" y="707"/>
                  </a:lnTo>
                  <a:lnTo>
                    <a:pt x="197" y="705"/>
                  </a:lnTo>
                  <a:lnTo>
                    <a:pt x="178" y="700"/>
                  </a:lnTo>
                  <a:lnTo>
                    <a:pt x="159" y="696"/>
                  </a:lnTo>
                  <a:lnTo>
                    <a:pt x="142" y="690"/>
                  </a:lnTo>
                  <a:lnTo>
                    <a:pt x="125" y="683"/>
                  </a:lnTo>
                  <a:lnTo>
                    <a:pt x="108" y="675"/>
                  </a:lnTo>
                  <a:lnTo>
                    <a:pt x="93" y="666"/>
                  </a:lnTo>
                  <a:lnTo>
                    <a:pt x="77" y="656"/>
                  </a:lnTo>
                  <a:lnTo>
                    <a:pt x="62" y="644"/>
                  </a:lnTo>
                  <a:lnTo>
                    <a:pt x="48" y="631"/>
                  </a:lnTo>
                  <a:lnTo>
                    <a:pt x="36" y="618"/>
                  </a:lnTo>
                  <a:lnTo>
                    <a:pt x="23" y="603"/>
                  </a:lnTo>
                  <a:lnTo>
                    <a:pt x="11" y="587"/>
                  </a:lnTo>
                  <a:lnTo>
                    <a:pt x="0" y="568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480" y="3418"/>
              <a:ext cx="167" cy="236"/>
            </a:xfrm>
            <a:custGeom>
              <a:avLst/>
              <a:gdLst>
                <a:gd name="T0" fmla="*/ 116 w 502"/>
                <a:gd name="T1" fmla="*/ 486 h 709"/>
                <a:gd name="T2" fmla="*/ 156 w 502"/>
                <a:gd name="T3" fmla="*/ 539 h 709"/>
                <a:gd name="T4" fmla="*/ 181 w 502"/>
                <a:gd name="T5" fmla="*/ 557 h 709"/>
                <a:gd name="T6" fmla="*/ 210 w 502"/>
                <a:gd name="T7" fmla="*/ 568 h 709"/>
                <a:gd name="T8" fmla="*/ 243 w 502"/>
                <a:gd name="T9" fmla="*/ 574 h 709"/>
                <a:gd name="T10" fmla="*/ 275 w 502"/>
                <a:gd name="T11" fmla="*/ 573 h 709"/>
                <a:gd name="T12" fmla="*/ 313 w 502"/>
                <a:gd name="T13" fmla="*/ 560 h 709"/>
                <a:gd name="T14" fmla="*/ 330 w 502"/>
                <a:gd name="T15" fmla="*/ 548 h 709"/>
                <a:gd name="T16" fmla="*/ 340 w 502"/>
                <a:gd name="T17" fmla="*/ 531 h 709"/>
                <a:gd name="T18" fmla="*/ 344 w 502"/>
                <a:gd name="T19" fmla="*/ 511 h 709"/>
                <a:gd name="T20" fmla="*/ 343 w 502"/>
                <a:gd name="T21" fmla="*/ 497 h 709"/>
                <a:gd name="T22" fmla="*/ 335 w 502"/>
                <a:gd name="T23" fmla="*/ 478 h 709"/>
                <a:gd name="T24" fmla="*/ 321 w 502"/>
                <a:gd name="T25" fmla="*/ 462 h 709"/>
                <a:gd name="T26" fmla="*/ 274 w 502"/>
                <a:gd name="T27" fmla="*/ 433 h 709"/>
                <a:gd name="T28" fmla="*/ 204 w 502"/>
                <a:gd name="T29" fmla="*/ 406 h 709"/>
                <a:gd name="T30" fmla="*/ 144 w 502"/>
                <a:gd name="T31" fmla="*/ 377 h 709"/>
                <a:gd name="T32" fmla="*/ 99 w 502"/>
                <a:gd name="T33" fmla="*/ 343 h 709"/>
                <a:gd name="T34" fmla="*/ 66 w 502"/>
                <a:gd name="T35" fmla="*/ 304 h 709"/>
                <a:gd name="T36" fmla="*/ 46 w 502"/>
                <a:gd name="T37" fmla="*/ 260 h 709"/>
                <a:gd name="T38" fmla="*/ 37 w 502"/>
                <a:gd name="T39" fmla="*/ 211 h 709"/>
                <a:gd name="T40" fmla="*/ 37 w 502"/>
                <a:gd name="T41" fmla="*/ 173 h 709"/>
                <a:gd name="T42" fmla="*/ 53 w 502"/>
                <a:gd name="T43" fmla="*/ 117 h 709"/>
                <a:gd name="T44" fmla="*/ 85 w 502"/>
                <a:gd name="T45" fmla="*/ 69 h 709"/>
                <a:gd name="T46" fmla="*/ 131 w 502"/>
                <a:gd name="T47" fmla="*/ 32 h 709"/>
                <a:gd name="T48" fmla="*/ 189 w 502"/>
                <a:gd name="T49" fmla="*/ 8 h 709"/>
                <a:gd name="T50" fmla="*/ 257 w 502"/>
                <a:gd name="T51" fmla="*/ 0 h 709"/>
                <a:gd name="T52" fmla="*/ 290 w 502"/>
                <a:gd name="T53" fmla="*/ 1 h 709"/>
                <a:gd name="T54" fmla="*/ 336 w 502"/>
                <a:gd name="T55" fmla="*/ 10 h 709"/>
                <a:gd name="T56" fmla="*/ 378 w 502"/>
                <a:gd name="T57" fmla="*/ 28 h 709"/>
                <a:gd name="T58" fmla="*/ 417 w 502"/>
                <a:gd name="T59" fmla="*/ 54 h 709"/>
                <a:gd name="T60" fmla="*/ 451 w 502"/>
                <a:gd name="T61" fmla="*/ 89 h 709"/>
                <a:gd name="T62" fmla="*/ 360 w 502"/>
                <a:gd name="T63" fmla="*/ 196 h 709"/>
                <a:gd name="T64" fmla="*/ 340 w 502"/>
                <a:gd name="T65" fmla="*/ 169 h 709"/>
                <a:gd name="T66" fmla="*/ 305 w 502"/>
                <a:gd name="T67" fmla="*/ 143 h 709"/>
                <a:gd name="T68" fmla="*/ 260 w 502"/>
                <a:gd name="T69" fmla="*/ 134 h 709"/>
                <a:gd name="T70" fmla="*/ 231 w 502"/>
                <a:gd name="T71" fmla="*/ 139 h 709"/>
                <a:gd name="T72" fmla="*/ 197 w 502"/>
                <a:gd name="T73" fmla="*/ 157 h 709"/>
                <a:gd name="T74" fmla="*/ 188 w 502"/>
                <a:gd name="T75" fmla="*/ 172 h 709"/>
                <a:gd name="T76" fmla="*/ 184 w 502"/>
                <a:gd name="T77" fmla="*/ 189 h 709"/>
                <a:gd name="T78" fmla="*/ 189 w 502"/>
                <a:gd name="T79" fmla="*/ 214 h 709"/>
                <a:gd name="T80" fmla="*/ 204 w 502"/>
                <a:gd name="T81" fmla="*/ 235 h 709"/>
                <a:gd name="T82" fmla="*/ 250 w 502"/>
                <a:gd name="T83" fmla="*/ 264 h 709"/>
                <a:gd name="T84" fmla="*/ 322 w 502"/>
                <a:gd name="T85" fmla="*/ 291 h 709"/>
                <a:gd name="T86" fmla="*/ 381 w 502"/>
                <a:gd name="T87" fmla="*/ 319 h 709"/>
                <a:gd name="T88" fmla="*/ 430 w 502"/>
                <a:gd name="T89" fmla="*/ 351 h 709"/>
                <a:gd name="T90" fmla="*/ 465 w 502"/>
                <a:gd name="T91" fmla="*/ 387 h 709"/>
                <a:gd name="T92" fmla="*/ 489 w 502"/>
                <a:gd name="T93" fmla="*/ 432 h 709"/>
                <a:gd name="T94" fmla="*/ 501 w 502"/>
                <a:gd name="T95" fmla="*/ 485 h 709"/>
                <a:gd name="T96" fmla="*/ 501 w 502"/>
                <a:gd name="T97" fmla="*/ 526 h 709"/>
                <a:gd name="T98" fmla="*/ 483 w 502"/>
                <a:gd name="T99" fmla="*/ 587 h 709"/>
                <a:gd name="T100" fmla="*/ 449 w 502"/>
                <a:gd name="T101" fmla="*/ 638 h 709"/>
                <a:gd name="T102" fmla="*/ 398 w 502"/>
                <a:gd name="T103" fmla="*/ 676 h 709"/>
                <a:gd name="T104" fmla="*/ 332 w 502"/>
                <a:gd name="T105" fmla="*/ 700 h 709"/>
                <a:gd name="T106" fmla="*/ 255 w 502"/>
                <a:gd name="T107" fmla="*/ 709 h 709"/>
                <a:gd name="T108" fmla="*/ 215 w 502"/>
                <a:gd name="T109" fmla="*/ 707 h 709"/>
                <a:gd name="T110" fmla="*/ 159 w 502"/>
                <a:gd name="T111" fmla="*/ 696 h 709"/>
                <a:gd name="T112" fmla="*/ 108 w 502"/>
                <a:gd name="T113" fmla="*/ 675 h 709"/>
                <a:gd name="T114" fmla="*/ 62 w 502"/>
                <a:gd name="T115" fmla="*/ 644 h 709"/>
                <a:gd name="T116" fmla="*/ 23 w 502"/>
                <a:gd name="T117" fmla="*/ 6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709">
                  <a:moveTo>
                    <a:pt x="0" y="568"/>
                  </a:moveTo>
                  <a:lnTo>
                    <a:pt x="116" y="486"/>
                  </a:lnTo>
                  <a:lnTo>
                    <a:pt x="116" y="486"/>
                  </a:lnTo>
                  <a:lnTo>
                    <a:pt x="128" y="507"/>
                  </a:lnTo>
                  <a:lnTo>
                    <a:pt x="142" y="524"/>
                  </a:lnTo>
                  <a:lnTo>
                    <a:pt x="156" y="539"/>
                  </a:lnTo>
                  <a:lnTo>
                    <a:pt x="164" y="546"/>
                  </a:lnTo>
                  <a:lnTo>
                    <a:pt x="172" y="551"/>
                  </a:lnTo>
                  <a:lnTo>
                    <a:pt x="181" y="557"/>
                  </a:lnTo>
                  <a:lnTo>
                    <a:pt x="190" y="562"/>
                  </a:lnTo>
                  <a:lnTo>
                    <a:pt x="199" y="565"/>
                  </a:lnTo>
                  <a:lnTo>
                    <a:pt x="210" y="568"/>
                  </a:lnTo>
                  <a:lnTo>
                    <a:pt x="220" y="571"/>
                  </a:lnTo>
                  <a:lnTo>
                    <a:pt x="231" y="573"/>
                  </a:lnTo>
                  <a:lnTo>
                    <a:pt x="243" y="574"/>
                  </a:lnTo>
                  <a:lnTo>
                    <a:pt x="255" y="574"/>
                  </a:lnTo>
                  <a:lnTo>
                    <a:pt x="255" y="574"/>
                  </a:lnTo>
                  <a:lnTo>
                    <a:pt x="275" y="573"/>
                  </a:lnTo>
                  <a:lnTo>
                    <a:pt x="291" y="570"/>
                  </a:lnTo>
                  <a:lnTo>
                    <a:pt x="306" y="564"/>
                  </a:lnTo>
                  <a:lnTo>
                    <a:pt x="313" y="560"/>
                  </a:lnTo>
                  <a:lnTo>
                    <a:pt x="320" y="557"/>
                  </a:lnTo>
                  <a:lnTo>
                    <a:pt x="324" y="552"/>
                  </a:lnTo>
                  <a:lnTo>
                    <a:pt x="330" y="548"/>
                  </a:lnTo>
                  <a:lnTo>
                    <a:pt x="333" y="542"/>
                  </a:lnTo>
                  <a:lnTo>
                    <a:pt x="337" y="536"/>
                  </a:lnTo>
                  <a:lnTo>
                    <a:pt x="340" y="531"/>
                  </a:lnTo>
                  <a:lnTo>
                    <a:pt x="341" y="525"/>
                  </a:lnTo>
                  <a:lnTo>
                    <a:pt x="344" y="518"/>
                  </a:lnTo>
                  <a:lnTo>
                    <a:pt x="344" y="511"/>
                  </a:lnTo>
                  <a:lnTo>
                    <a:pt x="344" y="511"/>
                  </a:lnTo>
                  <a:lnTo>
                    <a:pt x="344" y="504"/>
                  </a:lnTo>
                  <a:lnTo>
                    <a:pt x="343" y="497"/>
                  </a:lnTo>
                  <a:lnTo>
                    <a:pt x="340" y="491"/>
                  </a:lnTo>
                  <a:lnTo>
                    <a:pt x="338" y="484"/>
                  </a:lnTo>
                  <a:lnTo>
                    <a:pt x="335" y="478"/>
                  </a:lnTo>
                  <a:lnTo>
                    <a:pt x="331" y="472"/>
                  </a:lnTo>
                  <a:lnTo>
                    <a:pt x="327" y="466"/>
                  </a:lnTo>
                  <a:lnTo>
                    <a:pt x="321" y="462"/>
                  </a:lnTo>
                  <a:lnTo>
                    <a:pt x="308" y="452"/>
                  </a:lnTo>
                  <a:lnTo>
                    <a:pt x="292" y="442"/>
                  </a:lnTo>
                  <a:lnTo>
                    <a:pt x="274" y="433"/>
                  </a:lnTo>
                  <a:lnTo>
                    <a:pt x="252" y="424"/>
                  </a:lnTo>
                  <a:lnTo>
                    <a:pt x="204" y="406"/>
                  </a:lnTo>
                  <a:lnTo>
                    <a:pt x="204" y="406"/>
                  </a:lnTo>
                  <a:lnTo>
                    <a:pt x="182" y="397"/>
                  </a:lnTo>
                  <a:lnTo>
                    <a:pt x="163" y="387"/>
                  </a:lnTo>
                  <a:lnTo>
                    <a:pt x="144" y="377"/>
                  </a:lnTo>
                  <a:lnTo>
                    <a:pt x="128" y="367"/>
                  </a:lnTo>
                  <a:lnTo>
                    <a:pt x="112" y="355"/>
                  </a:lnTo>
                  <a:lnTo>
                    <a:pt x="99" y="343"/>
                  </a:lnTo>
                  <a:lnTo>
                    <a:pt x="87" y="330"/>
                  </a:lnTo>
                  <a:lnTo>
                    <a:pt x="76" y="317"/>
                  </a:lnTo>
                  <a:lnTo>
                    <a:pt x="66" y="304"/>
                  </a:lnTo>
                  <a:lnTo>
                    <a:pt x="58" y="290"/>
                  </a:lnTo>
                  <a:lnTo>
                    <a:pt x="52" y="275"/>
                  </a:lnTo>
                  <a:lnTo>
                    <a:pt x="46" y="260"/>
                  </a:lnTo>
                  <a:lnTo>
                    <a:pt x="41" y="244"/>
                  </a:lnTo>
                  <a:lnTo>
                    <a:pt x="38" y="228"/>
                  </a:lnTo>
                  <a:lnTo>
                    <a:pt x="37" y="211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7" y="173"/>
                  </a:lnTo>
                  <a:lnTo>
                    <a:pt x="40" y="154"/>
                  </a:lnTo>
                  <a:lnTo>
                    <a:pt x="45" y="134"/>
                  </a:lnTo>
                  <a:lnTo>
                    <a:pt x="53" y="117"/>
                  </a:lnTo>
                  <a:lnTo>
                    <a:pt x="62" y="100"/>
                  </a:lnTo>
                  <a:lnTo>
                    <a:pt x="72" y="84"/>
                  </a:lnTo>
                  <a:lnTo>
                    <a:pt x="85" y="69"/>
                  </a:lnTo>
                  <a:lnTo>
                    <a:pt x="99" y="55"/>
                  </a:lnTo>
                  <a:lnTo>
                    <a:pt x="113" y="42"/>
                  </a:lnTo>
                  <a:lnTo>
                    <a:pt x="131" y="32"/>
                  </a:lnTo>
                  <a:lnTo>
                    <a:pt x="149" y="22"/>
                  </a:lnTo>
                  <a:lnTo>
                    <a:pt x="168" y="15"/>
                  </a:lnTo>
                  <a:lnTo>
                    <a:pt x="189" y="8"/>
                  </a:lnTo>
                  <a:lnTo>
                    <a:pt x="211" y="3"/>
                  </a:lnTo>
                  <a:lnTo>
                    <a:pt x="234" y="1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74" y="0"/>
                  </a:lnTo>
                  <a:lnTo>
                    <a:pt x="290" y="1"/>
                  </a:lnTo>
                  <a:lnTo>
                    <a:pt x="305" y="3"/>
                  </a:lnTo>
                  <a:lnTo>
                    <a:pt x="321" y="7"/>
                  </a:lnTo>
                  <a:lnTo>
                    <a:pt x="336" y="10"/>
                  </a:lnTo>
                  <a:lnTo>
                    <a:pt x="351" y="15"/>
                  </a:lnTo>
                  <a:lnTo>
                    <a:pt x="364" y="21"/>
                  </a:lnTo>
                  <a:lnTo>
                    <a:pt x="378" y="28"/>
                  </a:lnTo>
                  <a:lnTo>
                    <a:pt x="392" y="36"/>
                  </a:lnTo>
                  <a:lnTo>
                    <a:pt x="404" y="44"/>
                  </a:lnTo>
                  <a:lnTo>
                    <a:pt x="417" y="54"/>
                  </a:lnTo>
                  <a:lnTo>
                    <a:pt x="428" y="65"/>
                  </a:lnTo>
                  <a:lnTo>
                    <a:pt x="440" y="77"/>
                  </a:lnTo>
                  <a:lnTo>
                    <a:pt x="451" y="89"/>
                  </a:lnTo>
                  <a:lnTo>
                    <a:pt x="462" y="104"/>
                  </a:lnTo>
                  <a:lnTo>
                    <a:pt x="471" y="119"/>
                  </a:lnTo>
                  <a:lnTo>
                    <a:pt x="360" y="196"/>
                  </a:lnTo>
                  <a:lnTo>
                    <a:pt x="360" y="196"/>
                  </a:lnTo>
                  <a:lnTo>
                    <a:pt x="351" y="181"/>
                  </a:lnTo>
                  <a:lnTo>
                    <a:pt x="340" y="169"/>
                  </a:lnTo>
                  <a:lnTo>
                    <a:pt x="330" y="158"/>
                  </a:lnTo>
                  <a:lnTo>
                    <a:pt x="317" y="149"/>
                  </a:lnTo>
                  <a:lnTo>
                    <a:pt x="305" y="143"/>
                  </a:lnTo>
                  <a:lnTo>
                    <a:pt x="291" y="139"/>
                  </a:lnTo>
                  <a:lnTo>
                    <a:pt x="276" y="135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45" y="135"/>
                  </a:lnTo>
                  <a:lnTo>
                    <a:pt x="231" y="139"/>
                  </a:lnTo>
                  <a:lnTo>
                    <a:pt x="219" y="143"/>
                  </a:lnTo>
                  <a:lnTo>
                    <a:pt x="207" y="149"/>
                  </a:lnTo>
                  <a:lnTo>
                    <a:pt x="197" y="157"/>
                  </a:lnTo>
                  <a:lnTo>
                    <a:pt x="194" y="162"/>
                  </a:lnTo>
                  <a:lnTo>
                    <a:pt x="190" y="166"/>
                  </a:lnTo>
                  <a:lnTo>
                    <a:pt x="188" y="172"/>
                  </a:lnTo>
                  <a:lnTo>
                    <a:pt x="186" y="178"/>
                  </a:lnTo>
                  <a:lnTo>
                    <a:pt x="184" y="183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6" y="203"/>
                  </a:lnTo>
                  <a:lnTo>
                    <a:pt x="189" y="214"/>
                  </a:lnTo>
                  <a:lnTo>
                    <a:pt x="191" y="220"/>
                  </a:lnTo>
                  <a:lnTo>
                    <a:pt x="195" y="225"/>
                  </a:lnTo>
                  <a:lnTo>
                    <a:pt x="204" y="235"/>
                  </a:lnTo>
                  <a:lnTo>
                    <a:pt x="215" y="245"/>
                  </a:lnTo>
                  <a:lnTo>
                    <a:pt x="231" y="254"/>
                  </a:lnTo>
                  <a:lnTo>
                    <a:pt x="250" y="264"/>
                  </a:lnTo>
                  <a:lnTo>
                    <a:pt x="273" y="274"/>
                  </a:lnTo>
                  <a:lnTo>
                    <a:pt x="322" y="291"/>
                  </a:lnTo>
                  <a:lnTo>
                    <a:pt x="322" y="291"/>
                  </a:lnTo>
                  <a:lnTo>
                    <a:pt x="343" y="300"/>
                  </a:lnTo>
                  <a:lnTo>
                    <a:pt x="362" y="309"/>
                  </a:lnTo>
                  <a:lnTo>
                    <a:pt x="381" y="319"/>
                  </a:lnTo>
                  <a:lnTo>
                    <a:pt x="399" y="329"/>
                  </a:lnTo>
                  <a:lnTo>
                    <a:pt x="415" y="339"/>
                  </a:lnTo>
                  <a:lnTo>
                    <a:pt x="430" y="351"/>
                  </a:lnTo>
                  <a:lnTo>
                    <a:pt x="442" y="362"/>
                  </a:lnTo>
                  <a:lnTo>
                    <a:pt x="455" y="375"/>
                  </a:lnTo>
                  <a:lnTo>
                    <a:pt x="465" y="387"/>
                  </a:lnTo>
                  <a:lnTo>
                    <a:pt x="475" y="402"/>
                  </a:lnTo>
                  <a:lnTo>
                    <a:pt x="483" y="416"/>
                  </a:lnTo>
                  <a:lnTo>
                    <a:pt x="489" y="432"/>
                  </a:lnTo>
                  <a:lnTo>
                    <a:pt x="495" y="449"/>
                  </a:lnTo>
                  <a:lnTo>
                    <a:pt x="498" y="466"/>
                  </a:lnTo>
                  <a:lnTo>
                    <a:pt x="501" y="485"/>
                  </a:lnTo>
                  <a:lnTo>
                    <a:pt x="502" y="504"/>
                  </a:lnTo>
                  <a:lnTo>
                    <a:pt x="502" y="504"/>
                  </a:lnTo>
                  <a:lnTo>
                    <a:pt x="501" y="526"/>
                  </a:lnTo>
                  <a:lnTo>
                    <a:pt x="497" y="548"/>
                  </a:lnTo>
                  <a:lnTo>
                    <a:pt x="491" y="568"/>
                  </a:lnTo>
                  <a:lnTo>
                    <a:pt x="483" y="587"/>
                  </a:lnTo>
                  <a:lnTo>
                    <a:pt x="474" y="605"/>
                  </a:lnTo>
                  <a:lnTo>
                    <a:pt x="462" y="622"/>
                  </a:lnTo>
                  <a:lnTo>
                    <a:pt x="449" y="638"/>
                  </a:lnTo>
                  <a:lnTo>
                    <a:pt x="433" y="652"/>
                  </a:lnTo>
                  <a:lnTo>
                    <a:pt x="416" y="665"/>
                  </a:lnTo>
                  <a:lnTo>
                    <a:pt x="398" y="676"/>
                  </a:lnTo>
                  <a:lnTo>
                    <a:pt x="377" y="686"/>
                  </a:lnTo>
                  <a:lnTo>
                    <a:pt x="355" y="694"/>
                  </a:lnTo>
                  <a:lnTo>
                    <a:pt x="332" y="700"/>
                  </a:lnTo>
                  <a:lnTo>
                    <a:pt x="308" y="705"/>
                  </a:lnTo>
                  <a:lnTo>
                    <a:pt x="282" y="708"/>
                  </a:lnTo>
                  <a:lnTo>
                    <a:pt x="255" y="709"/>
                  </a:lnTo>
                  <a:lnTo>
                    <a:pt x="255" y="709"/>
                  </a:lnTo>
                  <a:lnTo>
                    <a:pt x="236" y="708"/>
                  </a:lnTo>
                  <a:lnTo>
                    <a:pt x="215" y="707"/>
                  </a:lnTo>
                  <a:lnTo>
                    <a:pt x="197" y="705"/>
                  </a:lnTo>
                  <a:lnTo>
                    <a:pt x="178" y="700"/>
                  </a:lnTo>
                  <a:lnTo>
                    <a:pt x="159" y="696"/>
                  </a:lnTo>
                  <a:lnTo>
                    <a:pt x="142" y="690"/>
                  </a:lnTo>
                  <a:lnTo>
                    <a:pt x="125" y="683"/>
                  </a:lnTo>
                  <a:lnTo>
                    <a:pt x="108" y="675"/>
                  </a:lnTo>
                  <a:lnTo>
                    <a:pt x="93" y="666"/>
                  </a:lnTo>
                  <a:lnTo>
                    <a:pt x="77" y="656"/>
                  </a:lnTo>
                  <a:lnTo>
                    <a:pt x="62" y="644"/>
                  </a:lnTo>
                  <a:lnTo>
                    <a:pt x="48" y="631"/>
                  </a:lnTo>
                  <a:lnTo>
                    <a:pt x="36" y="618"/>
                  </a:lnTo>
                  <a:lnTo>
                    <a:pt x="23" y="603"/>
                  </a:lnTo>
                  <a:lnTo>
                    <a:pt x="11" y="587"/>
                  </a:lnTo>
                  <a:lnTo>
                    <a:pt x="0" y="56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662" y="3418"/>
              <a:ext cx="206" cy="236"/>
            </a:xfrm>
            <a:custGeom>
              <a:avLst/>
              <a:gdLst>
                <a:gd name="T0" fmla="*/ 1 w 618"/>
                <a:gd name="T1" fmla="*/ 336 h 709"/>
                <a:gd name="T2" fmla="*/ 7 w 618"/>
                <a:gd name="T3" fmla="*/ 282 h 709"/>
                <a:gd name="T4" fmla="*/ 21 w 618"/>
                <a:gd name="T5" fmla="*/ 230 h 709"/>
                <a:gd name="T6" fmla="*/ 42 w 618"/>
                <a:gd name="T7" fmla="*/ 183 h 709"/>
                <a:gd name="T8" fmla="*/ 69 w 618"/>
                <a:gd name="T9" fmla="*/ 140 h 709"/>
                <a:gd name="T10" fmla="*/ 101 w 618"/>
                <a:gd name="T11" fmla="*/ 102 h 709"/>
                <a:gd name="T12" fmla="*/ 140 w 618"/>
                <a:gd name="T13" fmla="*/ 69 h 709"/>
                <a:gd name="T14" fmla="*/ 182 w 618"/>
                <a:gd name="T15" fmla="*/ 41 h 709"/>
                <a:gd name="T16" fmla="*/ 231 w 618"/>
                <a:gd name="T17" fmla="*/ 21 h 709"/>
                <a:gd name="T18" fmla="*/ 282 w 618"/>
                <a:gd name="T19" fmla="*/ 7 h 709"/>
                <a:gd name="T20" fmla="*/ 336 w 618"/>
                <a:gd name="T21" fmla="*/ 0 h 709"/>
                <a:gd name="T22" fmla="*/ 376 w 618"/>
                <a:gd name="T23" fmla="*/ 0 h 709"/>
                <a:gd name="T24" fmla="*/ 433 w 618"/>
                <a:gd name="T25" fmla="*/ 8 h 709"/>
                <a:gd name="T26" fmla="*/ 487 w 618"/>
                <a:gd name="T27" fmla="*/ 24 h 709"/>
                <a:gd name="T28" fmla="*/ 535 w 618"/>
                <a:gd name="T29" fmla="*/ 48 h 709"/>
                <a:gd name="T30" fmla="*/ 579 w 618"/>
                <a:gd name="T31" fmla="*/ 78 h 709"/>
                <a:gd name="T32" fmla="*/ 618 w 618"/>
                <a:gd name="T33" fmla="*/ 114 h 709"/>
                <a:gd name="T34" fmla="*/ 501 w 618"/>
                <a:gd name="T35" fmla="*/ 205 h 709"/>
                <a:gd name="T36" fmla="*/ 448 w 618"/>
                <a:gd name="T37" fmla="*/ 167 h 709"/>
                <a:gd name="T38" fmla="*/ 405 w 618"/>
                <a:gd name="T39" fmla="*/ 152 h 709"/>
                <a:gd name="T40" fmla="*/ 368 w 618"/>
                <a:gd name="T41" fmla="*/ 147 h 709"/>
                <a:gd name="T42" fmla="*/ 334 w 618"/>
                <a:gd name="T43" fmla="*/ 148 h 709"/>
                <a:gd name="T44" fmla="*/ 275 w 618"/>
                <a:gd name="T45" fmla="*/ 163 h 709"/>
                <a:gd name="T46" fmla="*/ 226 w 618"/>
                <a:gd name="T47" fmla="*/ 193 h 709"/>
                <a:gd name="T48" fmla="*/ 188 w 618"/>
                <a:gd name="T49" fmla="*/ 236 h 709"/>
                <a:gd name="T50" fmla="*/ 164 w 618"/>
                <a:gd name="T51" fmla="*/ 291 h 709"/>
                <a:gd name="T52" fmla="*/ 156 w 618"/>
                <a:gd name="T53" fmla="*/ 354 h 709"/>
                <a:gd name="T54" fmla="*/ 160 w 618"/>
                <a:gd name="T55" fmla="*/ 398 h 709"/>
                <a:gd name="T56" fmla="*/ 179 w 618"/>
                <a:gd name="T57" fmla="*/ 456 h 709"/>
                <a:gd name="T58" fmla="*/ 212 w 618"/>
                <a:gd name="T59" fmla="*/ 503 h 709"/>
                <a:gd name="T60" fmla="*/ 257 w 618"/>
                <a:gd name="T61" fmla="*/ 537 h 709"/>
                <a:gd name="T62" fmla="*/ 313 w 618"/>
                <a:gd name="T63" fmla="*/ 558 h 709"/>
                <a:gd name="T64" fmla="*/ 355 w 618"/>
                <a:gd name="T65" fmla="*/ 562 h 709"/>
                <a:gd name="T66" fmla="*/ 393 w 618"/>
                <a:gd name="T67" fmla="*/ 559 h 709"/>
                <a:gd name="T68" fmla="*/ 428 w 618"/>
                <a:gd name="T69" fmla="*/ 550 h 709"/>
                <a:gd name="T70" fmla="*/ 485 w 618"/>
                <a:gd name="T71" fmla="*/ 518 h 709"/>
                <a:gd name="T72" fmla="*/ 618 w 618"/>
                <a:gd name="T73" fmla="*/ 595 h 709"/>
                <a:gd name="T74" fmla="*/ 593 w 618"/>
                <a:gd name="T75" fmla="*/ 620 h 709"/>
                <a:gd name="T76" fmla="*/ 551 w 618"/>
                <a:gd name="T77" fmla="*/ 652 h 709"/>
                <a:gd name="T78" fmla="*/ 504 w 618"/>
                <a:gd name="T79" fmla="*/ 677 h 709"/>
                <a:gd name="T80" fmla="*/ 452 w 618"/>
                <a:gd name="T81" fmla="*/ 697 h 709"/>
                <a:gd name="T82" fmla="*/ 396 w 618"/>
                <a:gd name="T83" fmla="*/ 707 h 709"/>
                <a:gd name="T84" fmla="*/ 355 w 618"/>
                <a:gd name="T85" fmla="*/ 709 h 709"/>
                <a:gd name="T86" fmla="*/ 299 w 618"/>
                <a:gd name="T87" fmla="*/ 705 h 709"/>
                <a:gd name="T88" fmla="*/ 247 w 618"/>
                <a:gd name="T89" fmla="*/ 693 h 709"/>
                <a:gd name="T90" fmla="*/ 199 w 618"/>
                <a:gd name="T91" fmla="*/ 675 h 709"/>
                <a:gd name="T92" fmla="*/ 154 w 618"/>
                <a:gd name="T93" fmla="*/ 650 h 709"/>
                <a:gd name="T94" fmla="*/ 114 w 618"/>
                <a:gd name="T95" fmla="*/ 619 h 709"/>
                <a:gd name="T96" fmla="*/ 79 w 618"/>
                <a:gd name="T97" fmla="*/ 582 h 709"/>
                <a:gd name="T98" fmla="*/ 51 w 618"/>
                <a:gd name="T99" fmla="*/ 541 h 709"/>
                <a:gd name="T100" fmla="*/ 28 w 618"/>
                <a:gd name="T101" fmla="*/ 495 h 709"/>
                <a:gd name="T102" fmla="*/ 12 w 618"/>
                <a:gd name="T103" fmla="*/ 445 h 709"/>
                <a:gd name="T104" fmla="*/ 3 w 618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8" h="709">
                  <a:moveTo>
                    <a:pt x="0" y="354"/>
                  </a:moveTo>
                  <a:lnTo>
                    <a:pt x="0" y="354"/>
                  </a:lnTo>
                  <a:lnTo>
                    <a:pt x="1" y="336"/>
                  </a:lnTo>
                  <a:lnTo>
                    <a:pt x="3" y="317"/>
                  </a:lnTo>
                  <a:lnTo>
                    <a:pt x="5" y="299"/>
                  </a:lnTo>
                  <a:lnTo>
                    <a:pt x="7" y="282"/>
                  </a:lnTo>
                  <a:lnTo>
                    <a:pt x="12" y="265"/>
                  </a:lnTo>
                  <a:lnTo>
                    <a:pt x="16" y="248"/>
                  </a:lnTo>
                  <a:lnTo>
                    <a:pt x="21" y="230"/>
                  </a:lnTo>
                  <a:lnTo>
                    <a:pt x="28" y="214"/>
                  </a:lnTo>
                  <a:lnTo>
                    <a:pt x="35" y="198"/>
                  </a:lnTo>
                  <a:lnTo>
                    <a:pt x="42" y="183"/>
                  </a:lnTo>
                  <a:lnTo>
                    <a:pt x="51" y="169"/>
                  </a:lnTo>
                  <a:lnTo>
                    <a:pt x="59" y="154"/>
                  </a:lnTo>
                  <a:lnTo>
                    <a:pt x="69" y="140"/>
                  </a:lnTo>
                  <a:lnTo>
                    <a:pt x="79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40" y="69"/>
                  </a:lnTo>
                  <a:lnTo>
                    <a:pt x="154" y="60"/>
                  </a:lnTo>
                  <a:lnTo>
                    <a:pt x="168" y="50"/>
                  </a:lnTo>
                  <a:lnTo>
                    <a:pt x="182" y="41"/>
                  </a:lnTo>
                  <a:lnTo>
                    <a:pt x="199" y="34"/>
                  </a:lnTo>
                  <a:lnTo>
                    <a:pt x="215" y="28"/>
                  </a:lnTo>
                  <a:lnTo>
                    <a:pt x="231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2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76" y="0"/>
                  </a:lnTo>
                  <a:lnTo>
                    <a:pt x="396" y="2"/>
                  </a:lnTo>
                  <a:lnTo>
                    <a:pt x="415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70" y="18"/>
                  </a:lnTo>
                  <a:lnTo>
                    <a:pt x="487" y="24"/>
                  </a:lnTo>
                  <a:lnTo>
                    <a:pt x="504" y="31"/>
                  </a:lnTo>
                  <a:lnTo>
                    <a:pt x="520" y="39"/>
                  </a:lnTo>
                  <a:lnTo>
                    <a:pt x="535" y="48"/>
                  </a:lnTo>
                  <a:lnTo>
                    <a:pt x="551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8" y="114"/>
                  </a:lnTo>
                  <a:lnTo>
                    <a:pt x="515" y="220"/>
                  </a:lnTo>
                  <a:lnTo>
                    <a:pt x="515" y="220"/>
                  </a:lnTo>
                  <a:lnTo>
                    <a:pt x="501" y="205"/>
                  </a:lnTo>
                  <a:lnTo>
                    <a:pt x="485" y="191"/>
                  </a:lnTo>
                  <a:lnTo>
                    <a:pt x="468" y="179"/>
                  </a:lnTo>
                  <a:lnTo>
                    <a:pt x="448" y="167"/>
                  </a:lnTo>
                  <a:lnTo>
                    <a:pt x="428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4" y="156"/>
                  </a:lnTo>
                  <a:lnTo>
                    <a:pt x="275" y="163"/>
                  </a:lnTo>
                  <a:lnTo>
                    <a:pt x="257" y="171"/>
                  </a:lnTo>
                  <a:lnTo>
                    <a:pt x="241" y="181"/>
                  </a:lnTo>
                  <a:lnTo>
                    <a:pt x="226" y="193"/>
                  </a:lnTo>
                  <a:lnTo>
                    <a:pt x="212" y="206"/>
                  </a:lnTo>
                  <a:lnTo>
                    <a:pt x="200" y="220"/>
                  </a:lnTo>
                  <a:lnTo>
                    <a:pt x="188" y="236"/>
                  </a:lnTo>
                  <a:lnTo>
                    <a:pt x="179" y="253"/>
                  </a:lnTo>
                  <a:lnTo>
                    <a:pt x="171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7" y="332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57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1" y="438"/>
                  </a:lnTo>
                  <a:lnTo>
                    <a:pt x="179" y="456"/>
                  </a:lnTo>
                  <a:lnTo>
                    <a:pt x="188" y="472"/>
                  </a:lnTo>
                  <a:lnTo>
                    <a:pt x="200" y="488"/>
                  </a:lnTo>
                  <a:lnTo>
                    <a:pt x="212" y="503"/>
                  </a:lnTo>
                  <a:lnTo>
                    <a:pt x="226" y="516"/>
                  </a:lnTo>
                  <a:lnTo>
                    <a:pt x="241" y="528"/>
                  </a:lnTo>
                  <a:lnTo>
                    <a:pt x="257" y="537"/>
                  </a:lnTo>
                  <a:lnTo>
                    <a:pt x="275" y="547"/>
                  </a:lnTo>
                  <a:lnTo>
                    <a:pt x="294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5" y="562"/>
                  </a:lnTo>
                  <a:lnTo>
                    <a:pt x="355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8" y="550"/>
                  </a:lnTo>
                  <a:lnTo>
                    <a:pt x="448" y="541"/>
                  </a:lnTo>
                  <a:lnTo>
                    <a:pt x="468" y="531"/>
                  </a:lnTo>
                  <a:lnTo>
                    <a:pt x="485" y="518"/>
                  </a:lnTo>
                  <a:lnTo>
                    <a:pt x="501" y="504"/>
                  </a:lnTo>
                  <a:lnTo>
                    <a:pt x="515" y="489"/>
                  </a:lnTo>
                  <a:lnTo>
                    <a:pt x="618" y="595"/>
                  </a:lnTo>
                  <a:lnTo>
                    <a:pt x="618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1" y="652"/>
                  </a:lnTo>
                  <a:lnTo>
                    <a:pt x="535" y="661"/>
                  </a:lnTo>
                  <a:lnTo>
                    <a:pt x="520" y="670"/>
                  </a:lnTo>
                  <a:lnTo>
                    <a:pt x="504" y="677"/>
                  </a:lnTo>
                  <a:lnTo>
                    <a:pt x="487" y="685"/>
                  </a:lnTo>
                  <a:lnTo>
                    <a:pt x="470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5" y="705"/>
                  </a:lnTo>
                  <a:lnTo>
                    <a:pt x="396" y="707"/>
                  </a:lnTo>
                  <a:lnTo>
                    <a:pt x="376" y="708"/>
                  </a:lnTo>
                  <a:lnTo>
                    <a:pt x="355" y="709"/>
                  </a:lnTo>
                  <a:lnTo>
                    <a:pt x="355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2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31" y="688"/>
                  </a:lnTo>
                  <a:lnTo>
                    <a:pt x="215" y="682"/>
                  </a:lnTo>
                  <a:lnTo>
                    <a:pt x="199" y="675"/>
                  </a:lnTo>
                  <a:lnTo>
                    <a:pt x="182" y="667"/>
                  </a:lnTo>
                  <a:lnTo>
                    <a:pt x="168" y="659"/>
                  </a:lnTo>
                  <a:lnTo>
                    <a:pt x="154" y="650"/>
                  </a:lnTo>
                  <a:lnTo>
                    <a:pt x="140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9" y="582"/>
                  </a:lnTo>
                  <a:lnTo>
                    <a:pt x="69" y="568"/>
                  </a:lnTo>
                  <a:lnTo>
                    <a:pt x="59" y="555"/>
                  </a:lnTo>
                  <a:lnTo>
                    <a:pt x="51" y="541"/>
                  </a:lnTo>
                  <a:lnTo>
                    <a:pt x="42" y="526"/>
                  </a:lnTo>
                  <a:lnTo>
                    <a:pt x="35" y="510"/>
                  </a:lnTo>
                  <a:lnTo>
                    <a:pt x="28" y="495"/>
                  </a:lnTo>
                  <a:lnTo>
                    <a:pt x="21" y="478"/>
                  </a:lnTo>
                  <a:lnTo>
                    <a:pt x="16" y="462"/>
                  </a:lnTo>
                  <a:lnTo>
                    <a:pt x="12" y="445"/>
                  </a:lnTo>
                  <a:lnTo>
                    <a:pt x="7" y="427"/>
                  </a:lnTo>
                  <a:lnTo>
                    <a:pt x="5" y="409"/>
                  </a:lnTo>
                  <a:lnTo>
                    <a:pt x="3" y="392"/>
                  </a:lnTo>
                  <a:lnTo>
                    <a:pt x="1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662" y="3418"/>
              <a:ext cx="206" cy="236"/>
            </a:xfrm>
            <a:custGeom>
              <a:avLst/>
              <a:gdLst>
                <a:gd name="T0" fmla="*/ 1 w 618"/>
                <a:gd name="T1" fmla="*/ 336 h 709"/>
                <a:gd name="T2" fmla="*/ 7 w 618"/>
                <a:gd name="T3" fmla="*/ 282 h 709"/>
                <a:gd name="T4" fmla="*/ 21 w 618"/>
                <a:gd name="T5" fmla="*/ 230 h 709"/>
                <a:gd name="T6" fmla="*/ 42 w 618"/>
                <a:gd name="T7" fmla="*/ 183 h 709"/>
                <a:gd name="T8" fmla="*/ 69 w 618"/>
                <a:gd name="T9" fmla="*/ 140 h 709"/>
                <a:gd name="T10" fmla="*/ 101 w 618"/>
                <a:gd name="T11" fmla="*/ 102 h 709"/>
                <a:gd name="T12" fmla="*/ 140 w 618"/>
                <a:gd name="T13" fmla="*/ 69 h 709"/>
                <a:gd name="T14" fmla="*/ 182 w 618"/>
                <a:gd name="T15" fmla="*/ 41 h 709"/>
                <a:gd name="T16" fmla="*/ 231 w 618"/>
                <a:gd name="T17" fmla="*/ 21 h 709"/>
                <a:gd name="T18" fmla="*/ 282 w 618"/>
                <a:gd name="T19" fmla="*/ 7 h 709"/>
                <a:gd name="T20" fmla="*/ 336 w 618"/>
                <a:gd name="T21" fmla="*/ 0 h 709"/>
                <a:gd name="T22" fmla="*/ 376 w 618"/>
                <a:gd name="T23" fmla="*/ 0 h 709"/>
                <a:gd name="T24" fmla="*/ 433 w 618"/>
                <a:gd name="T25" fmla="*/ 8 h 709"/>
                <a:gd name="T26" fmla="*/ 487 w 618"/>
                <a:gd name="T27" fmla="*/ 24 h 709"/>
                <a:gd name="T28" fmla="*/ 535 w 618"/>
                <a:gd name="T29" fmla="*/ 48 h 709"/>
                <a:gd name="T30" fmla="*/ 579 w 618"/>
                <a:gd name="T31" fmla="*/ 78 h 709"/>
                <a:gd name="T32" fmla="*/ 618 w 618"/>
                <a:gd name="T33" fmla="*/ 114 h 709"/>
                <a:gd name="T34" fmla="*/ 501 w 618"/>
                <a:gd name="T35" fmla="*/ 205 h 709"/>
                <a:gd name="T36" fmla="*/ 448 w 618"/>
                <a:gd name="T37" fmla="*/ 167 h 709"/>
                <a:gd name="T38" fmla="*/ 405 w 618"/>
                <a:gd name="T39" fmla="*/ 152 h 709"/>
                <a:gd name="T40" fmla="*/ 368 w 618"/>
                <a:gd name="T41" fmla="*/ 147 h 709"/>
                <a:gd name="T42" fmla="*/ 334 w 618"/>
                <a:gd name="T43" fmla="*/ 148 h 709"/>
                <a:gd name="T44" fmla="*/ 275 w 618"/>
                <a:gd name="T45" fmla="*/ 163 h 709"/>
                <a:gd name="T46" fmla="*/ 226 w 618"/>
                <a:gd name="T47" fmla="*/ 193 h 709"/>
                <a:gd name="T48" fmla="*/ 188 w 618"/>
                <a:gd name="T49" fmla="*/ 236 h 709"/>
                <a:gd name="T50" fmla="*/ 164 w 618"/>
                <a:gd name="T51" fmla="*/ 291 h 709"/>
                <a:gd name="T52" fmla="*/ 156 w 618"/>
                <a:gd name="T53" fmla="*/ 354 h 709"/>
                <a:gd name="T54" fmla="*/ 160 w 618"/>
                <a:gd name="T55" fmla="*/ 398 h 709"/>
                <a:gd name="T56" fmla="*/ 179 w 618"/>
                <a:gd name="T57" fmla="*/ 456 h 709"/>
                <a:gd name="T58" fmla="*/ 212 w 618"/>
                <a:gd name="T59" fmla="*/ 503 h 709"/>
                <a:gd name="T60" fmla="*/ 257 w 618"/>
                <a:gd name="T61" fmla="*/ 537 h 709"/>
                <a:gd name="T62" fmla="*/ 313 w 618"/>
                <a:gd name="T63" fmla="*/ 558 h 709"/>
                <a:gd name="T64" fmla="*/ 355 w 618"/>
                <a:gd name="T65" fmla="*/ 562 h 709"/>
                <a:gd name="T66" fmla="*/ 393 w 618"/>
                <a:gd name="T67" fmla="*/ 559 h 709"/>
                <a:gd name="T68" fmla="*/ 428 w 618"/>
                <a:gd name="T69" fmla="*/ 550 h 709"/>
                <a:gd name="T70" fmla="*/ 485 w 618"/>
                <a:gd name="T71" fmla="*/ 518 h 709"/>
                <a:gd name="T72" fmla="*/ 618 w 618"/>
                <a:gd name="T73" fmla="*/ 595 h 709"/>
                <a:gd name="T74" fmla="*/ 593 w 618"/>
                <a:gd name="T75" fmla="*/ 620 h 709"/>
                <a:gd name="T76" fmla="*/ 551 w 618"/>
                <a:gd name="T77" fmla="*/ 652 h 709"/>
                <a:gd name="T78" fmla="*/ 504 w 618"/>
                <a:gd name="T79" fmla="*/ 677 h 709"/>
                <a:gd name="T80" fmla="*/ 452 w 618"/>
                <a:gd name="T81" fmla="*/ 697 h 709"/>
                <a:gd name="T82" fmla="*/ 396 w 618"/>
                <a:gd name="T83" fmla="*/ 707 h 709"/>
                <a:gd name="T84" fmla="*/ 355 w 618"/>
                <a:gd name="T85" fmla="*/ 709 h 709"/>
                <a:gd name="T86" fmla="*/ 299 w 618"/>
                <a:gd name="T87" fmla="*/ 705 h 709"/>
                <a:gd name="T88" fmla="*/ 247 w 618"/>
                <a:gd name="T89" fmla="*/ 693 h 709"/>
                <a:gd name="T90" fmla="*/ 199 w 618"/>
                <a:gd name="T91" fmla="*/ 675 h 709"/>
                <a:gd name="T92" fmla="*/ 154 w 618"/>
                <a:gd name="T93" fmla="*/ 650 h 709"/>
                <a:gd name="T94" fmla="*/ 114 w 618"/>
                <a:gd name="T95" fmla="*/ 619 h 709"/>
                <a:gd name="T96" fmla="*/ 79 w 618"/>
                <a:gd name="T97" fmla="*/ 582 h 709"/>
                <a:gd name="T98" fmla="*/ 51 w 618"/>
                <a:gd name="T99" fmla="*/ 541 h 709"/>
                <a:gd name="T100" fmla="*/ 28 w 618"/>
                <a:gd name="T101" fmla="*/ 495 h 709"/>
                <a:gd name="T102" fmla="*/ 12 w 618"/>
                <a:gd name="T103" fmla="*/ 445 h 709"/>
                <a:gd name="T104" fmla="*/ 3 w 618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8" h="709">
                  <a:moveTo>
                    <a:pt x="0" y="354"/>
                  </a:moveTo>
                  <a:lnTo>
                    <a:pt x="0" y="354"/>
                  </a:lnTo>
                  <a:lnTo>
                    <a:pt x="1" y="336"/>
                  </a:lnTo>
                  <a:lnTo>
                    <a:pt x="3" y="317"/>
                  </a:lnTo>
                  <a:lnTo>
                    <a:pt x="5" y="299"/>
                  </a:lnTo>
                  <a:lnTo>
                    <a:pt x="7" y="282"/>
                  </a:lnTo>
                  <a:lnTo>
                    <a:pt x="12" y="265"/>
                  </a:lnTo>
                  <a:lnTo>
                    <a:pt x="16" y="248"/>
                  </a:lnTo>
                  <a:lnTo>
                    <a:pt x="21" y="230"/>
                  </a:lnTo>
                  <a:lnTo>
                    <a:pt x="28" y="214"/>
                  </a:lnTo>
                  <a:lnTo>
                    <a:pt x="35" y="198"/>
                  </a:lnTo>
                  <a:lnTo>
                    <a:pt x="42" y="183"/>
                  </a:lnTo>
                  <a:lnTo>
                    <a:pt x="51" y="169"/>
                  </a:lnTo>
                  <a:lnTo>
                    <a:pt x="59" y="154"/>
                  </a:lnTo>
                  <a:lnTo>
                    <a:pt x="69" y="140"/>
                  </a:lnTo>
                  <a:lnTo>
                    <a:pt x="79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40" y="69"/>
                  </a:lnTo>
                  <a:lnTo>
                    <a:pt x="154" y="60"/>
                  </a:lnTo>
                  <a:lnTo>
                    <a:pt x="168" y="50"/>
                  </a:lnTo>
                  <a:lnTo>
                    <a:pt x="182" y="41"/>
                  </a:lnTo>
                  <a:lnTo>
                    <a:pt x="199" y="34"/>
                  </a:lnTo>
                  <a:lnTo>
                    <a:pt x="215" y="28"/>
                  </a:lnTo>
                  <a:lnTo>
                    <a:pt x="231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2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76" y="0"/>
                  </a:lnTo>
                  <a:lnTo>
                    <a:pt x="396" y="2"/>
                  </a:lnTo>
                  <a:lnTo>
                    <a:pt x="415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70" y="18"/>
                  </a:lnTo>
                  <a:lnTo>
                    <a:pt x="487" y="24"/>
                  </a:lnTo>
                  <a:lnTo>
                    <a:pt x="504" y="31"/>
                  </a:lnTo>
                  <a:lnTo>
                    <a:pt x="520" y="39"/>
                  </a:lnTo>
                  <a:lnTo>
                    <a:pt x="535" y="48"/>
                  </a:lnTo>
                  <a:lnTo>
                    <a:pt x="551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8" y="114"/>
                  </a:lnTo>
                  <a:lnTo>
                    <a:pt x="515" y="220"/>
                  </a:lnTo>
                  <a:lnTo>
                    <a:pt x="515" y="220"/>
                  </a:lnTo>
                  <a:lnTo>
                    <a:pt x="501" y="205"/>
                  </a:lnTo>
                  <a:lnTo>
                    <a:pt x="485" y="191"/>
                  </a:lnTo>
                  <a:lnTo>
                    <a:pt x="468" y="179"/>
                  </a:lnTo>
                  <a:lnTo>
                    <a:pt x="448" y="167"/>
                  </a:lnTo>
                  <a:lnTo>
                    <a:pt x="428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4" y="156"/>
                  </a:lnTo>
                  <a:lnTo>
                    <a:pt x="275" y="163"/>
                  </a:lnTo>
                  <a:lnTo>
                    <a:pt x="257" y="171"/>
                  </a:lnTo>
                  <a:lnTo>
                    <a:pt x="241" y="181"/>
                  </a:lnTo>
                  <a:lnTo>
                    <a:pt x="226" y="193"/>
                  </a:lnTo>
                  <a:lnTo>
                    <a:pt x="212" y="206"/>
                  </a:lnTo>
                  <a:lnTo>
                    <a:pt x="200" y="220"/>
                  </a:lnTo>
                  <a:lnTo>
                    <a:pt x="188" y="236"/>
                  </a:lnTo>
                  <a:lnTo>
                    <a:pt x="179" y="253"/>
                  </a:lnTo>
                  <a:lnTo>
                    <a:pt x="171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7" y="332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57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1" y="438"/>
                  </a:lnTo>
                  <a:lnTo>
                    <a:pt x="179" y="456"/>
                  </a:lnTo>
                  <a:lnTo>
                    <a:pt x="188" y="472"/>
                  </a:lnTo>
                  <a:lnTo>
                    <a:pt x="200" y="488"/>
                  </a:lnTo>
                  <a:lnTo>
                    <a:pt x="212" y="503"/>
                  </a:lnTo>
                  <a:lnTo>
                    <a:pt x="226" y="516"/>
                  </a:lnTo>
                  <a:lnTo>
                    <a:pt x="241" y="528"/>
                  </a:lnTo>
                  <a:lnTo>
                    <a:pt x="257" y="537"/>
                  </a:lnTo>
                  <a:lnTo>
                    <a:pt x="275" y="547"/>
                  </a:lnTo>
                  <a:lnTo>
                    <a:pt x="294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5" y="562"/>
                  </a:lnTo>
                  <a:lnTo>
                    <a:pt x="355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8" y="550"/>
                  </a:lnTo>
                  <a:lnTo>
                    <a:pt x="448" y="541"/>
                  </a:lnTo>
                  <a:lnTo>
                    <a:pt x="468" y="531"/>
                  </a:lnTo>
                  <a:lnTo>
                    <a:pt x="485" y="518"/>
                  </a:lnTo>
                  <a:lnTo>
                    <a:pt x="501" y="504"/>
                  </a:lnTo>
                  <a:lnTo>
                    <a:pt x="515" y="489"/>
                  </a:lnTo>
                  <a:lnTo>
                    <a:pt x="618" y="595"/>
                  </a:lnTo>
                  <a:lnTo>
                    <a:pt x="618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1" y="652"/>
                  </a:lnTo>
                  <a:lnTo>
                    <a:pt x="535" y="661"/>
                  </a:lnTo>
                  <a:lnTo>
                    <a:pt x="520" y="670"/>
                  </a:lnTo>
                  <a:lnTo>
                    <a:pt x="504" y="677"/>
                  </a:lnTo>
                  <a:lnTo>
                    <a:pt x="487" y="685"/>
                  </a:lnTo>
                  <a:lnTo>
                    <a:pt x="470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5" y="705"/>
                  </a:lnTo>
                  <a:lnTo>
                    <a:pt x="396" y="707"/>
                  </a:lnTo>
                  <a:lnTo>
                    <a:pt x="376" y="708"/>
                  </a:lnTo>
                  <a:lnTo>
                    <a:pt x="355" y="709"/>
                  </a:lnTo>
                  <a:lnTo>
                    <a:pt x="355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2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31" y="688"/>
                  </a:lnTo>
                  <a:lnTo>
                    <a:pt x="215" y="682"/>
                  </a:lnTo>
                  <a:lnTo>
                    <a:pt x="199" y="675"/>
                  </a:lnTo>
                  <a:lnTo>
                    <a:pt x="182" y="667"/>
                  </a:lnTo>
                  <a:lnTo>
                    <a:pt x="168" y="659"/>
                  </a:lnTo>
                  <a:lnTo>
                    <a:pt x="154" y="650"/>
                  </a:lnTo>
                  <a:lnTo>
                    <a:pt x="140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9" y="582"/>
                  </a:lnTo>
                  <a:lnTo>
                    <a:pt x="69" y="568"/>
                  </a:lnTo>
                  <a:lnTo>
                    <a:pt x="59" y="555"/>
                  </a:lnTo>
                  <a:lnTo>
                    <a:pt x="51" y="541"/>
                  </a:lnTo>
                  <a:lnTo>
                    <a:pt x="42" y="526"/>
                  </a:lnTo>
                  <a:lnTo>
                    <a:pt x="35" y="510"/>
                  </a:lnTo>
                  <a:lnTo>
                    <a:pt x="28" y="495"/>
                  </a:lnTo>
                  <a:lnTo>
                    <a:pt x="21" y="478"/>
                  </a:lnTo>
                  <a:lnTo>
                    <a:pt x="16" y="462"/>
                  </a:lnTo>
                  <a:lnTo>
                    <a:pt x="12" y="445"/>
                  </a:lnTo>
                  <a:lnTo>
                    <a:pt x="7" y="427"/>
                  </a:lnTo>
                  <a:lnTo>
                    <a:pt x="5" y="409"/>
                  </a:lnTo>
                  <a:lnTo>
                    <a:pt x="3" y="392"/>
                  </a:lnTo>
                  <a:lnTo>
                    <a:pt x="1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956" y="3530"/>
              <a:ext cx="176" cy="123"/>
            </a:xfrm>
            <a:custGeom>
              <a:avLst/>
              <a:gdLst>
                <a:gd name="T0" fmla="*/ 529 w 529"/>
                <a:gd name="T1" fmla="*/ 370 h 370"/>
                <a:gd name="T2" fmla="*/ 203 w 529"/>
                <a:gd name="T3" fmla="*/ 0 h 370"/>
                <a:gd name="T4" fmla="*/ 0 w 529"/>
                <a:gd name="T5" fmla="*/ 0 h 370"/>
                <a:gd name="T6" fmla="*/ 322 w 529"/>
                <a:gd name="T7" fmla="*/ 370 h 370"/>
                <a:gd name="T8" fmla="*/ 529 w 529"/>
                <a:gd name="T9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0">
                  <a:moveTo>
                    <a:pt x="529" y="370"/>
                  </a:moveTo>
                  <a:lnTo>
                    <a:pt x="203" y="0"/>
                  </a:lnTo>
                  <a:lnTo>
                    <a:pt x="0" y="0"/>
                  </a:lnTo>
                  <a:lnTo>
                    <a:pt x="322" y="370"/>
                  </a:lnTo>
                  <a:lnTo>
                    <a:pt x="529" y="37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893" y="3339"/>
              <a:ext cx="50" cy="314"/>
            </a:xfrm>
            <a:custGeom>
              <a:avLst/>
              <a:gdLst>
                <a:gd name="T0" fmla="*/ 0 w 152"/>
                <a:gd name="T1" fmla="*/ 0 h 943"/>
                <a:gd name="T2" fmla="*/ 0 w 152"/>
                <a:gd name="T3" fmla="*/ 943 h 943"/>
                <a:gd name="T4" fmla="*/ 152 w 152"/>
                <a:gd name="T5" fmla="*/ 943 h 943"/>
                <a:gd name="T6" fmla="*/ 152 w 152"/>
                <a:gd name="T7" fmla="*/ 599 h 943"/>
                <a:gd name="T8" fmla="*/ 152 w 152"/>
                <a:gd name="T9" fmla="*/ 600 h 943"/>
                <a:gd name="T10" fmla="*/ 152 w 152"/>
                <a:gd name="T11" fmla="*/ 565 h 943"/>
                <a:gd name="T12" fmla="*/ 152 w 152"/>
                <a:gd name="T13" fmla="*/ 565 h 943"/>
                <a:gd name="T14" fmla="*/ 152 w 152"/>
                <a:gd name="T15" fmla="*/ 0 h 943"/>
                <a:gd name="T16" fmla="*/ 0 w 152"/>
                <a:gd name="T1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943">
                  <a:moveTo>
                    <a:pt x="0" y="0"/>
                  </a:moveTo>
                  <a:lnTo>
                    <a:pt x="0" y="943"/>
                  </a:lnTo>
                  <a:lnTo>
                    <a:pt x="152" y="943"/>
                  </a:lnTo>
                  <a:lnTo>
                    <a:pt x="152" y="599"/>
                  </a:lnTo>
                  <a:lnTo>
                    <a:pt x="152" y="600"/>
                  </a:lnTo>
                  <a:lnTo>
                    <a:pt x="152" y="565"/>
                  </a:lnTo>
                  <a:lnTo>
                    <a:pt x="152" y="565"/>
                  </a:lnTo>
                  <a:lnTo>
                    <a:pt x="15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1202" y="3418"/>
              <a:ext cx="206" cy="236"/>
            </a:xfrm>
            <a:custGeom>
              <a:avLst/>
              <a:gdLst>
                <a:gd name="T0" fmla="*/ 0 w 617"/>
                <a:gd name="T1" fmla="*/ 336 h 709"/>
                <a:gd name="T2" fmla="*/ 7 w 617"/>
                <a:gd name="T3" fmla="*/ 282 h 709"/>
                <a:gd name="T4" fmla="*/ 21 w 617"/>
                <a:gd name="T5" fmla="*/ 230 h 709"/>
                <a:gd name="T6" fmla="*/ 42 w 617"/>
                <a:gd name="T7" fmla="*/ 183 h 709"/>
                <a:gd name="T8" fmla="*/ 68 w 617"/>
                <a:gd name="T9" fmla="*/ 140 h 709"/>
                <a:gd name="T10" fmla="*/ 101 w 617"/>
                <a:gd name="T11" fmla="*/ 102 h 709"/>
                <a:gd name="T12" fmla="*/ 139 w 617"/>
                <a:gd name="T13" fmla="*/ 69 h 709"/>
                <a:gd name="T14" fmla="*/ 183 w 617"/>
                <a:gd name="T15" fmla="*/ 41 h 709"/>
                <a:gd name="T16" fmla="*/ 229 w 617"/>
                <a:gd name="T17" fmla="*/ 21 h 709"/>
                <a:gd name="T18" fmla="*/ 281 w 617"/>
                <a:gd name="T19" fmla="*/ 7 h 709"/>
                <a:gd name="T20" fmla="*/ 336 w 617"/>
                <a:gd name="T21" fmla="*/ 0 h 709"/>
                <a:gd name="T22" fmla="*/ 375 w 617"/>
                <a:gd name="T23" fmla="*/ 0 h 709"/>
                <a:gd name="T24" fmla="*/ 433 w 617"/>
                <a:gd name="T25" fmla="*/ 8 h 709"/>
                <a:gd name="T26" fmla="*/ 486 w 617"/>
                <a:gd name="T27" fmla="*/ 24 h 709"/>
                <a:gd name="T28" fmla="*/ 535 w 617"/>
                <a:gd name="T29" fmla="*/ 48 h 709"/>
                <a:gd name="T30" fmla="*/ 579 w 617"/>
                <a:gd name="T31" fmla="*/ 78 h 709"/>
                <a:gd name="T32" fmla="*/ 617 w 617"/>
                <a:gd name="T33" fmla="*/ 114 h 709"/>
                <a:gd name="T34" fmla="*/ 500 w 617"/>
                <a:gd name="T35" fmla="*/ 205 h 709"/>
                <a:gd name="T36" fmla="*/ 448 w 617"/>
                <a:gd name="T37" fmla="*/ 167 h 709"/>
                <a:gd name="T38" fmla="*/ 405 w 617"/>
                <a:gd name="T39" fmla="*/ 152 h 709"/>
                <a:gd name="T40" fmla="*/ 368 w 617"/>
                <a:gd name="T41" fmla="*/ 147 h 709"/>
                <a:gd name="T42" fmla="*/ 334 w 617"/>
                <a:gd name="T43" fmla="*/ 148 h 709"/>
                <a:gd name="T44" fmla="*/ 274 w 617"/>
                <a:gd name="T45" fmla="*/ 163 h 709"/>
                <a:gd name="T46" fmla="*/ 225 w 617"/>
                <a:gd name="T47" fmla="*/ 193 h 709"/>
                <a:gd name="T48" fmla="*/ 187 w 617"/>
                <a:gd name="T49" fmla="*/ 236 h 709"/>
                <a:gd name="T50" fmla="*/ 164 w 617"/>
                <a:gd name="T51" fmla="*/ 291 h 709"/>
                <a:gd name="T52" fmla="*/ 155 w 617"/>
                <a:gd name="T53" fmla="*/ 354 h 709"/>
                <a:gd name="T54" fmla="*/ 160 w 617"/>
                <a:gd name="T55" fmla="*/ 398 h 709"/>
                <a:gd name="T56" fmla="*/ 178 w 617"/>
                <a:gd name="T57" fmla="*/ 456 h 709"/>
                <a:gd name="T58" fmla="*/ 211 w 617"/>
                <a:gd name="T59" fmla="*/ 503 h 709"/>
                <a:gd name="T60" fmla="*/ 257 w 617"/>
                <a:gd name="T61" fmla="*/ 537 h 709"/>
                <a:gd name="T62" fmla="*/ 313 w 617"/>
                <a:gd name="T63" fmla="*/ 558 h 709"/>
                <a:gd name="T64" fmla="*/ 354 w 617"/>
                <a:gd name="T65" fmla="*/ 562 h 709"/>
                <a:gd name="T66" fmla="*/ 393 w 617"/>
                <a:gd name="T67" fmla="*/ 559 h 709"/>
                <a:gd name="T68" fmla="*/ 427 w 617"/>
                <a:gd name="T69" fmla="*/ 550 h 709"/>
                <a:gd name="T70" fmla="*/ 484 w 617"/>
                <a:gd name="T71" fmla="*/ 518 h 709"/>
                <a:gd name="T72" fmla="*/ 617 w 617"/>
                <a:gd name="T73" fmla="*/ 595 h 709"/>
                <a:gd name="T74" fmla="*/ 593 w 617"/>
                <a:gd name="T75" fmla="*/ 620 h 709"/>
                <a:gd name="T76" fmla="*/ 550 w 617"/>
                <a:gd name="T77" fmla="*/ 652 h 709"/>
                <a:gd name="T78" fmla="*/ 503 w 617"/>
                <a:gd name="T79" fmla="*/ 677 h 709"/>
                <a:gd name="T80" fmla="*/ 452 w 617"/>
                <a:gd name="T81" fmla="*/ 697 h 709"/>
                <a:gd name="T82" fmla="*/ 394 w 617"/>
                <a:gd name="T83" fmla="*/ 707 h 709"/>
                <a:gd name="T84" fmla="*/ 354 w 617"/>
                <a:gd name="T85" fmla="*/ 709 h 709"/>
                <a:gd name="T86" fmla="*/ 299 w 617"/>
                <a:gd name="T87" fmla="*/ 705 h 709"/>
                <a:gd name="T88" fmla="*/ 247 w 617"/>
                <a:gd name="T89" fmla="*/ 693 h 709"/>
                <a:gd name="T90" fmla="*/ 197 w 617"/>
                <a:gd name="T91" fmla="*/ 675 h 709"/>
                <a:gd name="T92" fmla="*/ 153 w 617"/>
                <a:gd name="T93" fmla="*/ 650 h 709"/>
                <a:gd name="T94" fmla="*/ 114 w 617"/>
                <a:gd name="T95" fmla="*/ 619 h 709"/>
                <a:gd name="T96" fmla="*/ 78 w 617"/>
                <a:gd name="T97" fmla="*/ 582 h 709"/>
                <a:gd name="T98" fmla="*/ 50 w 617"/>
                <a:gd name="T99" fmla="*/ 541 h 709"/>
                <a:gd name="T100" fmla="*/ 27 w 617"/>
                <a:gd name="T101" fmla="*/ 495 h 709"/>
                <a:gd name="T102" fmla="*/ 11 w 617"/>
                <a:gd name="T103" fmla="*/ 445 h 709"/>
                <a:gd name="T104" fmla="*/ 2 w 617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7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2" y="317"/>
                  </a:lnTo>
                  <a:lnTo>
                    <a:pt x="4" y="299"/>
                  </a:lnTo>
                  <a:lnTo>
                    <a:pt x="7" y="282"/>
                  </a:lnTo>
                  <a:lnTo>
                    <a:pt x="11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7" y="214"/>
                  </a:lnTo>
                  <a:lnTo>
                    <a:pt x="34" y="198"/>
                  </a:lnTo>
                  <a:lnTo>
                    <a:pt x="42" y="183"/>
                  </a:lnTo>
                  <a:lnTo>
                    <a:pt x="50" y="169"/>
                  </a:lnTo>
                  <a:lnTo>
                    <a:pt x="59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39" y="69"/>
                  </a:lnTo>
                  <a:lnTo>
                    <a:pt x="153" y="60"/>
                  </a:lnTo>
                  <a:lnTo>
                    <a:pt x="168" y="50"/>
                  </a:lnTo>
                  <a:lnTo>
                    <a:pt x="183" y="41"/>
                  </a:lnTo>
                  <a:lnTo>
                    <a:pt x="197" y="34"/>
                  </a:lnTo>
                  <a:lnTo>
                    <a:pt x="213" y="28"/>
                  </a:lnTo>
                  <a:lnTo>
                    <a:pt x="229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1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75" y="0"/>
                  </a:lnTo>
                  <a:lnTo>
                    <a:pt x="394" y="2"/>
                  </a:lnTo>
                  <a:lnTo>
                    <a:pt x="414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69" y="18"/>
                  </a:lnTo>
                  <a:lnTo>
                    <a:pt x="486" y="24"/>
                  </a:lnTo>
                  <a:lnTo>
                    <a:pt x="503" y="31"/>
                  </a:lnTo>
                  <a:lnTo>
                    <a:pt x="519" y="39"/>
                  </a:lnTo>
                  <a:lnTo>
                    <a:pt x="535" y="48"/>
                  </a:lnTo>
                  <a:lnTo>
                    <a:pt x="550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7" y="114"/>
                  </a:lnTo>
                  <a:lnTo>
                    <a:pt x="514" y="220"/>
                  </a:lnTo>
                  <a:lnTo>
                    <a:pt x="514" y="220"/>
                  </a:lnTo>
                  <a:lnTo>
                    <a:pt x="500" y="205"/>
                  </a:lnTo>
                  <a:lnTo>
                    <a:pt x="484" y="191"/>
                  </a:lnTo>
                  <a:lnTo>
                    <a:pt x="467" y="179"/>
                  </a:lnTo>
                  <a:lnTo>
                    <a:pt x="448" y="167"/>
                  </a:lnTo>
                  <a:lnTo>
                    <a:pt x="427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4" y="147"/>
                  </a:lnTo>
                  <a:lnTo>
                    <a:pt x="354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3" y="156"/>
                  </a:lnTo>
                  <a:lnTo>
                    <a:pt x="274" y="163"/>
                  </a:lnTo>
                  <a:lnTo>
                    <a:pt x="257" y="171"/>
                  </a:lnTo>
                  <a:lnTo>
                    <a:pt x="240" y="181"/>
                  </a:lnTo>
                  <a:lnTo>
                    <a:pt x="225" y="193"/>
                  </a:lnTo>
                  <a:lnTo>
                    <a:pt x="211" y="206"/>
                  </a:lnTo>
                  <a:lnTo>
                    <a:pt x="199" y="220"/>
                  </a:lnTo>
                  <a:lnTo>
                    <a:pt x="187" y="236"/>
                  </a:lnTo>
                  <a:lnTo>
                    <a:pt x="178" y="253"/>
                  </a:lnTo>
                  <a:lnTo>
                    <a:pt x="170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6" y="332"/>
                  </a:lnTo>
                  <a:lnTo>
                    <a:pt x="155" y="354"/>
                  </a:lnTo>
                  <a:lnTo>
                    <a:pt x="155" y="354"/>
                  </a:lnTo>
                  <a:lnTo>
                    <a:pt x="156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0" y="438"/>
                  </a:lnTo>
                  <a:lnTo>
                    <a:pt x="178" y="456"/>
                  </a:lnTo>
                  <a:lnTo>
                    <a:pt x="187" y="472"/>
                  </a:lnTo>
                  <a:lnTo>
                    <a:pt x="199" y="488"/>
                  </a:lnTo>
                  <a:lnTo>
                    <a:pt x="211" y="503"/>
                  </a:lnTo>
                  <a:lnTo>
                    <a:pt x="225" y="516"/>
                  </a:lnTo>
                  <a:lnTo>
                    <a:pt x="240" y="528"/>
                  </a:lnTo>
                  <a:lnTo>
                    <a:pt x="257" y="537"/>
                  </a:lnTo>
                  <a:lnTo>
                    <a:pt x="274" y="547"/>
                  </a:lnTo>
                  <a:lnTo>
                    <a:pt x="293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4" y="562"/>
                  </a:lnTo>
                  <a:lnTo>
                    <a:pt x="354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7" y="550"/>
                  </a:lnTo>
                  <a:lnTo>
                    <a:pt x="448" y="541"/>
                  </a:lnTo>
                  <a:lnTo>
                    <a:pt x="467" y="531"/>
                  </a:lnTo>
                  <a:lnTo>
                    <a:pt x="484" y="518"/>
                  </a:lnTo>
                  <a:lnTo>
                    <a:pt x="500" y="504"/>
                  </a:lnTo>
                  <a:lnTo>
                    <a:pt x="514" y="489"/>
                  </a:lnTo>
                  <a:lnTo>
                    <a:pt x="617" y="595"/>
                  </a:lnTo>
                  <a:lnTo>
                    <a:pt x="617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0" y="652"/>
                  </a:lnTo>
                  <a:lnTo>
                    <a:pt x="535" y="661"/>
                  </a:lnTo>
                  <a:lnTo>
                    <a:pt x="519" y="670"/>
                  </a:lnTo>
                  <a:lnTo>
                    <a:pt x="503" y="677"/>
                  </a:lnTo>
                  <a:lnTo>
                    <a:pt x="486" y="685"/>
                  </a:lnTo>
                  <a:lnTo>
                    <a:pt x="469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4" y="705"/>
                  </a:lnTo>
                  <a:lnTo>
                    <a:pt x="394" y="707"/>
                  </a:lnTo>
                  <a:lnTo>
                    <a:pt x="375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3" y="667"/>
                  </a:lnTo>
                  <a:lnTo>
                    <a:pt x="168" y="659"/>
                  </a:lnTo>
                  <a:lnTo>
                    <a:pt x="153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9" y="555"/>
                  </a:lnTo>
                  <a:lnTo>
                    <a:pt x="50" y="541"/>
                  </a:lnTo>
                  <a:lnTo>
                    <a:pt x="42" y="526"/>
                  </a:lnTo>
                  <a:lnTo>
                    <a:pt x="34" y="510"/>
                  </a:lnTo>
                  <a:lnTo>
                    <a:pt x="27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1" y="445"/>
                  </a:lnTo>
                  <a:lnTo>
                    <a:pt x="7" y="427"/>
                  </a:lnTo>
                  <a:lnTo>
                    <a:pt x="4" y="409"/>
                  </a:lnTo>
                  <a:lnTo>
                    <a:pt x="2" y="392"/>
                  </a:lnTo>
                  <a:lnTo>
                    <a:pt x="0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1202" y="3418"/>
              <a:ext cx="206" cy="236"/>
            </a:xfrm>
            <a:custGeom>
              <a:avLst/>
              <a:gdLst>
                <a:gd name="T0" fmla="*/ 0 w 617"/>
                <a:gd name="T1" fmla="*/ 336 h 709"/>
                <a:gd name="T2" fmla="*/ 7 w 617"/>
                <a:gd name="T3" fmla="*/ 282 h 709"/>
                <a:gd name="T4" fmla="*/ 21 w 617"/>
                <a:gd name="T5" fmla="*/ 230 h 709"/>
                <a:gd name="T6" fmla="*/ 42 w 617"/>
                <a:gd name="T7" fmla="*/ 183 h 709"/>
                <a:gd name="T8" fmla="*/ 68 w 617"/>
                <a:gd name="T9" fmla="*/ 140 h 709"/>
                <a:gd name="T10" fmla="*/ 101 w 617"/>
                <a:gd name="T11" fmla="*/ 102 h 709"/>
                <a:gd name="T12" fmla="*/ 139 w 617"/>
                <a:gd name="T13" fmla="*/ 69 h 709"/>
                <a:gd name="T14" fmla="*/ 183 w 617"/>
                <a:gd name="T15" fmla="*/ 41 h 709"/>
                <a:gd name="T16" fmla="*/ 229 w 617"/>
                <a:gd name="T17" fmla="*/ 21 h 709"/>
                <a:gd name="T18" fmla="*/ 281 w 617"/>
                <a:gd name="T19" fmla="*/ 7 h 709"/>
                <a:gd name="T20" fmla="*/ 336 w 617"/>
                <a:gd name="T21" fmla="*/ 0 h 709"/>
                <a:gd name="T22" fmla="*/ 375 w 617"/>
                <a:gd name="T23" fmla="*/ 0 h 709"/>
                <a:gd name="T24" fmla="*/ 433 w 617"/>
                <a:gd name="T25" fmla="*/ 8 h 709"/>
                <a:gd name="T26" fmla="*/ 486 w 617"/>
                <a:gd name="T27" fmla="*/ 24 h 709"/>
                <a:gd name="T28" fmla="*/ 535 w 617"/>
                <a:gd name="T29" fmla="*/ 48 h 709"/>
                <a:gd name="T30" fmla="*/ 579 w 617"/>
                <a:gd name="T31" fmla="*/ 78 h 709"/>
                <a:gd name="T32" fmla="*/ 617 w 617"/>
                <a:gd name="T33" fmla="*/ 114 h 709"/>
                <a:gd name="T34" fmla="*/ 500 w 617"/>
                <a:gd name="T35" fmla="*/ 205 h 709"/>
                <a:gd name="T36" fmla="*/ 448 w 617"/>
                <a:gd name="T37" fmla="*/ 167 h 709"/>
                <a:gd name="T38" fmla="*/ 405 w 617"/>
                <a:gd name="T39" fmla="*/ 152 h 709"/>
                <a:gd name="T40" fmla="*/ 368 w 617"/>
                <a:gd name="T41" fmla="*/ 147 h 709"/>
                <a:gd name="T42" fmla="*/ 334 w 617"/>
                <a:gd name="T43" fmla="*/ 148 h 709"/>
                <a:gd name="T44" fmla="*/ 274 w 617"/>
                <a:gd name="T45" fmla="*/ 163 h 709"/>
                <a:gd name="T46" fmla="*/ 225 w 617"/>
                <a:gd name="T47" fmla="*/ 193 h 709"/>
                <a:gd name="T48" fmla="*/ 187 w 617"/>
                <a:gd name="T49" fmla="*/ 236 h 709"/>
                <a:gd name="T50" fmla="*/ 164 w 617"/>
                <a:gd name="T51" fmla="*/ 291 h 709"/>
                <a:gd name="T52" fmla="*/ 155 w 617"/>
                <a:gd name="T53" fmla="*/ 354 h 709"/>
                <a:gd name="T54" fmla="*/ 160 w 617"/>
                <a:gd name="T55" fmla="*/ 398 h 709"/>
                <a:gd name="T56" fmla="*/ 178 w 617"/>
                <a:gd name="T57" fmla="*/ 456 h 709"/>
                <a:gd name="T58" fmla="*/ 211 w 617"/>
                <a:gd name="T59" fmla="*/ 503 h 709"/>
                <a:gd name="T60" fmla="*/ 257 w 617"/>
                <a:gd name="T61" fmla="*/ 537 h 709"/>
                <a:gd name="T62" fmla="*/ 313 w 617"/>
                <a:gd name="T63" fmla="*/ 558 h 709"/>
                <a:gd name="T64" fmla="*/ 354 w 617"/>
                <a:gd name="T65" fmla="*/ 562 h 709"/>
                <a:gd name="T66" fmla="*/ 393 w 617"/>
                <a:gd name="T67" fmla="*/ 559 h 709"/>
                <a:gd name="T68" fmla="*/ 427 w 617"/>
                <a:gd name="T69" fmla="*/ 550 h 709"/>
                <a:gd name="T70" fmla="*/ 484 w 617"/>
                <a:gd name="T71" fmla="*/ 518 h 709"/>
                <a:gd name="T72" fmla="*/ 617 w 617"/>
                <a:gd name="T73" fmla="*/ 595 h 709"/>
                <a:gd name="T74" fmla="*/ 593 w 617"/>
                <a:gd name="T75" fmla="*/ 620 h 709"/>
                <a:gd name="T76" fmla="*/ 550 w 617"/>
                <a:gd name="T77" fmla="*/ 652 h 709"/>
                <a:gd name="T78" fmla="*/ 503 w 617"/>
                <a:gd name="T79" fmla="*/ 677 h 709"/>
                <a:gd name="T80" fmla="*/ 452 w 617"/>
                <a:gd name="T81" fmla="*/ 697 h 709"/>
                <a:gd name="T82" fmla="*/ 394 w 617"/>
                <a:gd name="T83" fmla="*/ 707 h 709"/>
                <a:gd name="T84" fmla="*/ 354 w 617"/>
                <a:gd name="T85" fmla="*/ 709 h 709"/>
                <a:gd name="T86" fmla="*/ 299 w 617"/>
                <a:gd name="T87" fmla="*/ 705 h 709"/>
                <a:gd name="T88" fmla="*/ 247 w 617"/>
                <a:gd name="T89" fmla="*/ 693 h 709"/>
                <a:gd name="T90" fmla="*/ 197 w 617"/>
                <a:gd name="T91" fmla="*/ 675 h 709"/>
                <a:gd name="T92" fmla="*/ 153 w 617"/>
                <a:gd name="T93" fmla="*/ 650 h 709"/>
                <a:gd name="T94" fmla="*/ 114 w 617"/>
                <a:gd name="T95" fmla="*/ 619 h 709"/>
                <a:gd name="T96" fmla="*/ 78 w 617"/>
                <a:gd name="T97" fmla="*/ 582 h 709"/>
                <a:gd name="T98" fmla="*/ 50 w 617"/>
                <a:gd name="T99" fmla="*/ 541 h 709"/>
                <a:gd name="T100" fmla="*/ 27 w 617"/>
                <a:gd name="T101" fmla="*/ 495 h 709"/>
                <a:gd name="T102" fmla="*/ 11 w 617"/>
                <a:gd name="T103" fmla="*/ 445 h 709"/>
                <a:gd name="T104" fmla="*/ 2 w 617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7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2" y="317"/>
                  </a:lnTo>
                  <a:lnTo>
                    <a:pt x="4" y="299"/>
                  </a:lnTo>
                  <a:lnTo>
                    <a:pt x="7" y="282"/>
                  </a:lnTo>
                  <a:lnTo>
                    <a:pt x="11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7" y="214"/>
                  </a:lnTo>
                  <a:lnTo>
                    <a:pt x="34" y="198"/>
                  </a:lnTo>
                  <a:lnTo>
                    <a:pt x="42" y="183"/>
                  </a:lnTo>
                  <a:lnTo>
                    <a:pt x="50" y="169"/>
                  </a:lnTo>
                  <a:lnTo>
                    <a:pt x="59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39" y="69"/>
                  </a:lnTo>
                  <a:lnTo>
                    <a:pt x="153" y="60"/>
                  </a:lnTo>
                  <a:lnTo>
                    <a:pt x="168" y="50"/>
                  </a:lnTo>
                  <a:lnTo>
                    <a:pt x="183" y="41"/>
                  </a:lnTo>
                  <a:lnTo>
                    <a:pt x="197" y="34"/>
                  </a:lnTo>
                  <a:lnTo>
                    <a:pt x="213" y="28"/>
                  </a:lnTo>
                  <a:lnTo>
                    <a:pt x="229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1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75" y="0"/>
                  </a:lnTo>
                  <a:lnTo>
                    <a:pt x="394" y="2"/>
                  </a:lnTo>
                  <a:lnTo>
                    <a:pt x="414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69" y="18"/>
                  </a:lnTo>
                  <a:lnTo>
                    <a:pt x="486" y="24"/>
                  </a:lnTo>
                  <a:lnTo>
                    <a:pt x="503" y="31"/>
                  </a:lnTo>
                  <a:lnTo>
                    <a:pt x="519" y="39"/>
                  </a:lnTo>
                  <a:lnTo>
                    <a:pt x="535" y="48"/>
                  </a:lnTo>
                  <a:lnTo>
                    <a:pt x="550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7" y="114"/>
                  </a:lnTo>
                  <a:lnTo>
                    <a:pt x="514" y="220"/>
                  </a:lnTo>
                  <a:lnTo>
                    <a:pt x="514" y="220"/>
                  </a:lnTo>
                  <a:lnTo>
                    <a:pt x="500" y="205"/>
                  </a:lnTo>
                  <a:lnTo>
                    <a:pt x="484" y="191"/>
                  </a:lnTo>
                  <a:lnTo>
                    <a:pt x="467" y="179"/>
                  </a:lnTo>
                  <a:lnTo>
                    <a:pt x="448" y="167"/>
                  </a:lnTo>
                  <a:lnTo>
                    <a:pt x="427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4" y="147"/>
                  </a:lnTo>
                  <a:lnTo>
                    <a:pt x="354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3" y="156"/>
                  </a:lnTo>
                  <a:lnTo>
                    <a:pt x="274" y="163"/>
                  </a:lnTo>
                  <a:lnTo>
                    <a:pt x="257" y="171"/>
                  </a:lnTo>
                  <a:lnTo>
                    <a:pt x="240" y="181"/>
                  </a:lnTo>
                  <a:lnTo>
                    <a:pt x="225" y="193"/>
                  </a:lnTo>
                  <a:lnTo>
                    <a:pt x="211" y="206"/>
                  </a:lnTo>
                  <a:lnTo>
                    <a:pt x="199" y="220"/>
                  </a:lnTo>
                  <a:lnTo>
                    <a:pt x="187" y="236"/>
                  </a:lnTo>
                  <a:lnTo>
                    <a:pt x="178" y="253"/>
                  </a:lnTo>
                  <a:lnTo>
                    <a:pt x="170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6" y="332"/>
                  </a:lnTo>
                  <a:lnTo>
                    <a:pt x="155" y="354"/>
                  </a:lnTo>
                  <a:lnTo>
                    <a:pt x="155" y="354"/>
                  </a:lnTo>
                  <a:lnTo>
                    <a:pt x="156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0" y="438"/>
                  </a:lnTo>
                  <a:lnTo>
                    <a:pt x="178" y="456"/>
                  </a:lnTo>
                  <a:lnTo>
                    <a:pt x="187" y="472"/>
                  </a:lnTo>
                  <a:lnTo>
                    <a:pt x="199" y="488"/>
                  </a:lnTo>
                  <a:lnTo>
                    <a:pt x="211" y="503"/>
                  </a:lnTo>
                  <a:lnTo>
                    <a:pt x="225" y="516"/>
                  </a:lnTo>
                  <a:lnTo>
                    <a:pt x="240" y="528"/>
                  </a:lnTo>
                  <a:lnTo>
                    <a:pt x="257" y="537"/>
                  </a:lnTo>
                  <a:lnTo>
                    <a:pt x="274" y="547"/>
                  </a:lnTo>
                  <a:lnTo>
                    <a:pt x="293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4" y="562"/>
                  </a:lnTo>
                  <a:lnTo>
                    <a:pt x="354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7" y="550"/>
                  </a:lnTo>
                  <a:lnTo>
                    <a:pt x="448" y="541"/>
                  </a:lnTo>
                  <a:lnTo>
                    <a:pt x="467" y="531"/>
                  </a:lnTo>
                  <a:lnTo>
                    <a:pt x="484" y="518"/>
                  </a:lnTo>
                  <a:lnTo>
                    <a:pt x="500" y="504"/>
                  </a:lnTo>
                  <a:lnTo>
                    <a:pt x="514" y="489"/>
                  </a:lnTo>
                  <a:lnTo>
                    <a:pt x="617" y="595"/>
                  </a:lnTo>
                  <a:lnTo>
                    <a:pt x="617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0" y="652"/>
                  </a:lnTo>
                  <a:lnTo>
                    <a:pt x="535" y="661"/>
                  </a:lnTo>
                  <a:lnTo>
                    <a:pt x="519" y="670"/>
                  </a:lnTo>
                  <a:lnTo>
                    <a:pt x="503" y="677"/>
                  </a:lnTo>
                  <a:lnTo>
                    <a:pt x="486" y="685"/>
                  </a:lnTo>
                  <a:lnTo>
                    <a:pt x="469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4" y="705"/>
                  </a:lnTo>
                  <a:lnTo>
                    <a:pt x="394" y="707"/>
                  </a:lnTo>
                  <a:lnTo>
                    <a:pt x="375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3" y="667"/>
                  </a:lnTo>
                  <a:lnTo>
                    <a:pt x="168" y="659"/>
                  </a:lnTo>
                  <a:lnTo>
                    <a:pt x="153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9" y="555"/>
                  </a:lnTo>
                  <a:lnTo>
                    <a:pt x="50" y="541"/>
                  </a:lnTo>
                  <a:lnTo>
                    <a:pt x="42" y="526"/>
                  </a:lnTo>
                  <a:lnTo>
                    <a:pt x="34" y="510"/>
                  </a:lnTo>
                  <a:lnTo>
                    <a:pt x="27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1" y="445"/>
                  </a:lnTo>
                  <a:lnTo>
                    <a:pt x="7" y="427"/>
                  </a:lnTo>
                  <a:lnTo>
                    <a:pt x="4" y="409"/>
                  </a:lnTo>
                  <a:lnTo>
                    <a:pt x="2" y="392"/>
                  </a:lnTo>
                  <a:lnTo>
                    <a:pt x="0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3"/>
            <p:cNvSpPr>
              <a:spLocks noEditPoints="1"/>
            </p:cNvSpPr>
            <p:nvPr userDrawn="1"/>
          </p:nvSpPr>
          <p:spPr bwMode="auto">
            <a:xfrm>
              <a:off x="1411" y="3418"/>
              <a:ext cx="227" cy="236"/>
            </a:xfrm>
            <a:custGeom>
              <a:avLst/>
              <a:gdLst>
                <a:gd name="T0" fmla="*/ 513 w 681"/>
                <a:gd name="T1" fmla="*/ 279 h 709"/>
                <a:gd name="T2" fmla="*/ 500 w 681"/>
                <a:gd name="T3" fmla="*/ 232 h 709"/>
                <a:gd name="T4" fmla="*/ 475 w 681"/>
                <a:gd name="T5" fmla="*/ 194 h 709"/>
                <a:gd name="T6" fmla="*/ 443 w 681"/>
                <a:gd name="T7" fmla="*/ 165 h 709"/>
                <a:gd name="T8" fmla="*/ 403 w 681"/>
                <a:gd name="T9" fmla="*/ 148 h 709"/>
                <a:gd name="T10" fmla="*/ 357 w 681"/>
                <a:gd name="T11" fmla="*/ 139 h 709"/>
                <a:gd name="T12" fmla="*/ 325 w 681"/>
                <a:gd name="T13" fmla="*/ 140 h 709"/>
                <a:gd name="T14" fmla="*/ 282 w 681"/>
                <a:gd name="T15" fmla="*/ 148 h 709"/>
                <a:gd name="T16" fmla="*/ 242 w 681"/>
                <a:gd name="T17" fmla="*/ 167 h 709"/>
                <a:gd name="T18" fmla="*/ 207 w 681"/>
                <a:gd name="T19" fmla="*/ 196 h 709"/>
                <a:gd name="T20" fmla="*/ 180 w 681"/>
                <a:gd name="T21" fmla="*/ 234 h 709"/>
                <a:gd name="T22" fmla="*/ 160 w 681"/>
                <a:gd name="T23" fmla="*/ 279 h 709"/>
                <a:gd name="T24" fmla="*/ 0 w 681"/>
                <a:gd name="T25" fmla="*/ 336 h 709"/>
                <a:gd name="T26" fmla="*/ 7 w 681"/>
                <a:gd name="T27" fmla="*/ 282 h 709"/>
                <a:gd name="T28" fmla="*/ 21 w 681"/>
                <a:gd name="T29" fmla="*/ 230 h 709"/>
                <a:gd name="T30" fmla="*/ 41 w 681"/>
                <a:gd name="T31" fmla="*/ 183 h 709"/>
                <a:gd name="T32" fmla="*/ 68 w 681"/>
                <a:gd name="T33" fmla="*/ 140 h 709"/>
                <a:gd name="T34" fmla="*/ 101 w 681"/>
                <a:gd name="T35" fmla="*/ 102 h 709"/>
                <a:gd name="T36" fmla="*/ 139 w 681"/>
                <a:gd name="T37" fmla="*/ 69 h 709"/>
                <a:gd name="T38" fmla="*/ 181 w 681"/>
                <a:gd name="T39" fmla="*/ 41 h 709"/>
                <a:gd name="T40" fmla="*/ 228 w 681"/>
                <a:gd name="T41" fmla="*/ 21 h 709"/>
                <a:gd name="T42" fmla="*/ 278 w 681"/>
                <a:gd name="T43" fmla="*/ 7 h 709"/>
                <a:gd name="T44" fmla="*/ 333 w 681"/>
                <a:gd name="T45" fmla="*/ 0 h 709"/>
                <a:gd name="T46" fmla="*/ 369 w 681"/>
                <a:gd name="T47" fmla="*/ 0 h 709"/>
                <a:gd name="T48" fmla="*/ 420 w 681"/>
                <a:gd name="T49" fmla="*/ 6 h 709"/>
                <a:gd name="T50" fmla="*/ 467 w 681"/>
                <a:gd name="T51" fmla="*/ 18 h 709"/>
                <a:gd name="T52" fmla="*/ 511 w 681"/>
                <a:gd name="T53" fmla="*/ 38 h 709"/>
                <a:gd name="T54" fmla="*/ 550 w 681"/>
                <a:gd name="T55" fmla="*/ 63 h 709"/>
                <a:gd name="T56" fmla="*/ 584 w 681"/>
                <a:gd name="T57" fmla="*/ 95 h 709"/>
                <a:gd name="T58" fmla="*/ 614 w 681"/>
                <a:gd name="T59" fmla="*/ 132 h 709"/>
                <a:gd name="T60" fmla="*/ 638 w 681"/>
                <a:gd name="T61" fmla="*/ 174 h 709"/>
                <a:gd name="T62" fmla="*/ 658 w 681"/>
                <a:gd name="T63" fmla="*/ 222 h 709"/>
                <a:gd name="T64" fmla="*/ 671 w 681"/>
                <a:gd name="T65" fmla="*/ 276 h 709"/>
                <a:gd name="T66" fmla="*/ 679 w 681"/>
                <a:gd name="T67" fmla="*/ 335 h 709"/>
                <a:gd name="T68" fmla="*/ 157 w 681"/>
                <a:gd name="T69" fmla="*/ 395 h 709"/>
                <a:gd name="T70" fmla="*/ 165 w 681"/>
                <a:gd name="T71" fmla="*/ 431 h 709"/>
                <a:gd name="T72" fmla="*/ 188 w 681"/>
                <a:gd name="T73" fmla="*/ 477 h 709"/>
                <a:gd name="T74" fmla="*/ 222 w 681"/>
                <a:gd name="T75" fmla="*/ 515 h 709"/>
                <a:gd name="T76" fmla="*/ 266 w 681"/>
                <a:gd name="T77" fmla="*/ 541 h 709"/>
                <a:gd name="T78" fmla="*/ 317 w 681"/>
                <a:gd name="T79" fmla="*/ 556 h 709"/>
                <a:gd name="T80" fmla="*/ 354 w 681"/>
                <a:gd name="T81" fmla="*/ 559 h 709"/>
                <a:gd name="T82" fmla="*/ 399 w 681"/>
                <a:gd name="T83" fmla="*/ 556 h 709"/>
                <a:gd name="T84" fmla="*/ 438 w 681"/>
                <a:gd name="T85" fmla="*/ 546 h 709"/>
                <a:gd name="T86" fmla="*/ 482 w 681"/>
                <a:gd name="T87" fmla="*/ 524 h 709"/>
                <a:gd name="T88" fmla="*/ 533 w 681"/>
                <a:gd name="T89" fmla="*/ 481 h 709"/>
                <a:gd name="T90" fmla="*/ 623 w 681"/>
                <a:gd name="T91" fmla="*/ 602 h 709"/>
                <a:gd name="T92" fmla="*/ 583 w 681"/>
                <a:gd name="T93" fmla="*/ 637 h 709"/>
                <a:gd name="T94" fmla="*/ 535 w 681"/>
                <a:gd name="T95" fmla="*/ 667 h 709"/>
                <a:gd name="T96" fmla="*/ 481 w 681"/>
                <a:gd name="T97" fmla="*/ 690 h 709"/>
                <a:gd name="T98" fmla="*/ 420 w 681"/>
                <a:gd name="T99" fmla="*/ 704 h 709"/>
                <a:gd name="T100" fmla="*/ 354 w 681"/>
                <a:gd name="T101" fmla="*/ 709 h 709"/>
                <a:gd name="T102" fmla="*/ 317 w 681"/>
                <a:gd name="T103" fmla="*/ 707 h 709"/>
                <a:gd name="T104" fmla="*/ 264 w 681"/>
                <a:gd name="T105" fmla="*/ 698 h 709"/>
                <a:gd name="T106" fmla="*/ 213 w 681"/>
                <a:gd name="T107" fmla="*/ 682 h 709"/>
                <a:gd name="T108" fmla="*/ 167 w 681"/>
                <a:gd name="T109" fmla="*/ 659 h 709"/>
                <a:gd name="T110" fmla="*/ 126 w 681"/>
                <a:gd name="T111" fmla="*/ 629 h 709"/>
                <a:gd name="T112" fmla="*/ 89 w 681"/>
                <a:gd name="T113" fmla="*/ 595 h 709"/>
                <a:gd name="T114" fmla="*/ 58 w 681"/>
                <a:gd name="T115" fmla="*/ 555 h 709"/>
                <a:gd name="T116" fmla="*/ 33 w 681"/>
                <a:gd name="T117" fmla="*/ 510 h 709"/>
                <a:gd name="T118" fmla="*/ 15 w 681"/>
                <a:gd name="T119" fmla="*/ 462 h 709"/>
                <a:gd name="T120" fmla="*/ 3 w 681"/>
                <a:gd name="T121" fmla="*/ 409 h 709"/>
                <a:gd name="T122" fmla="*/ 0 w 681"/>
                <a:gd name="T123" fmla="*/ 35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81" h="709">
                  <a:moveTo>
                    <a:pt x="160" y="279"/>
                  </a:moveTo>
                  <a:lnTo>
                    <a:pt x="513" y="279"/>
                  </a:lnTo>
                  <a:lnTo>
                    <a:pt x="513" y="279"/>
                  </a:lnTo>
                  <a:lnTo>
                    <a:pt x="510" y="262"/>
                  </a:lnTo>
                  <a:lnTo>
                    <a:pt x="505" y="246"/>
                  </a:lnTo>
                  <a:lnTo>
                    <a:pt x="500" y="232"/>
                  </a:lnTo>
                  <a:lnTo>
                    <a:pt x="491" y="218"/>
                  </a:lnTo>
                  <a:lnTo>
                    <a:pt x="483" y="205"/>
                  </a:lnTo>
                  <a:lnTo>
                    <a:pt x="475" y="194"/>
                  </a:lnTo>
                  <a:lnTo>
                    <a:pt x="465" y="183"/>
                  </a:lnTo>
                  <a:lnTo>
                    <a:pt x="455" y="174"/>
                  </a:lnTo>
                  <a:lnTo>
                    <a:pt x="443" y="165"/>
                  </a:lnTo>
                  <a:lnTo>
                    <a:pt x="431" y="158"/>
                  </a:lnTo>
                  <a:lnTo>
                    <a:pt x="417" y="152"/>
                  </a:lnTo>
                  <a:lnTo>
                    <a:pt x="403" y="148"/>
                  </a:lnTo>
                  <a:lnTo>
                    <a:pt x="388" y="143"/>
                  </a:lnTo>
                  <a:lnTo>
                    <a:pt x="373" y="141"/>
                  </a:lnTo>
                  <a:lnTo>
                    <a:pt x="357" y="139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25" y="140"/>
                  </a:lnTo>
                  <a:lnTo>
                    <a:pt x="310" y="141"/>
                  </a:lnTo>
                  <a:lnTo>
                    <a:pt x="296" y="144"/>
                  </a:lnTo>
                  <a:lnTo>
                    <a:pt x="282" y="148"/>
                  </a:lnTo>
                  <a:lnTo>
                    <a:pt x="268" y="154"/>
                  </a:lnTo>
                  <a:lnTo>
                    <a:pt x="254" y="160"/>
                  </a:lnTo>
                  <a:lnTo>
                    <a:pt x="242" y="167"/>
                  </a:lnTo>
                  <a:lnTo>
                    <a:pt x="229" y="177"/>
                  </a:lnTo>
                  <a:lnTo>
                    <a:pt x="218" y="186"/>
                  </a:lnTo>
                  <a:lnTo>
                    <a:pt x="207" y="196"/>
                  </a:lnTo>
                  <a:lnTo>
                    <a:pt x="197" y="207"/>
                  </a:lnTo>
                  <a:lnTo>
                    <a:pt x="188" y="220"/>
                  </a:lnTo>
                  <a:lnTo>
                    <a:pt x="180" y="234"/>
                  </a:lnTo>
                  <a:lnTo>
                    <a:pt x="172" y="248"/>
                  </a:lnTo>
                  <a:lnTo>
                    <a:pt x="166" y="264"/>
                  </a:lnTo>
                  <a:lnTo>
                    <a:pt x="160" y="279"/>
                  </a:lnTo>
                  <a:close/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1" y="317"/>
                  </a:lnTo>
                  <a:lnTo>
                    <a:pt x="3" y="299"/>
                  </a:lnTo>
                  <a:lnTo>
                    <a:pt x="7" y="282"/>
                  </a:lnTo>
                  <a:lnTo>
                    <a:pt x="10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6" y="214"/>
                  </a:lnTo>
                  <a:lnTo>
                    <a:pt x="33" y="198"/>
                  </a:lnTo>
                  <a:lnTo>
                    <a:pt x="41" y="183"/>
                  </a:lnTo>
                  <a:lnTo>
                    <a:pt x="49" y="169"/>
                  </a:lnTo>
                  <a:lnTo>
                    <a:pt x="58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89" y="115"/>
                  </a:lnTo>
                  <a:lnTo>
                    <a:pt x="101" y="102"/>
                  </a:lnTo>
                  <a:lnTo>
                    <a:pt x="112" y="91"/>
                  </a:lnTo>
                  <a:lnTo>
                    <a:pt x="125" y="79"/>
                  </a:lnTo>
                  <a:lnTo>
                    <a:pt x="139" y="69"/>
                  </a:lnTo>
                  <a:lnTo>
                    <a:pt x="152" y="60"/>
                  </a:lnTo>
                  <a:lnTo>
                    <a:pt x="166" y="50"/>
                  </a:lnTo>
                  <a:lnTo>
                    <a:pt x="181" y="41"/>
                  </a:lnTo>
                  <a:lnTo>
                    <a:pt x="196" y="34"/>
                  </a:lnTo>
                  <a:lnTo>
                    <a:pt x="212" y="28"/>
                  </a:lnTo>
                  <a:lnTo>
                    <a:pt x="228" y="21"/>
                  </a:lnTo>
                  <a:lnTo>
                    <a:pt x="245" y="15"/>
                  </a:lnTo>
                  <a:lnTo>
                    <a:pt x="261" y="10"/>
                  </a:lnTo>
                  <a:lnTo>
                    <a:pt x="278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69" y="0"/>
                  </a:lnTo>
                  <a:lnTo>
                    <a:pt x="387" y="1"/>
                  </a:lnTo>
                  <a:lnTo>
                    <a:pt x="403" y="3"/>
                  </a:lnTo>
                  <a:lnTo>
                    <a:pt x="420" y="6"/>
                  </a:lnTo>
                  <a:lnTo>
                    <a:pt x="437" y="9"/>
                  </a:lnTo>
                  <a:lnTo>
                    <a:pt x="453" y="14"/>
                  </a:lnTo>
                  <a:lnTo>
                    <a:pt x="467" y="18"/>
                  </a:lnTo>
                  <a:lnTo>
                    <a:pt x="482" y="24"/>
                  </a:lnTo>
                  <a:lnTo>
                    <a:pt x="496" y="31"/>
                  </a:lnTo>
                  <a:lnTo>
                    <a:pt x="511" y="38"/>
                  </a:lnTo>
                  <a:lnTo>
                    <a:pt x="524" y="46"/>
                  </a:lnTo>
                  <a:lnTo>
                    <a:pt x="537" y="54"/>
                  </a:lnTo>
                  <a:lnTo>
                    <a:pt x="550" y="63"/>
                  </a:lnTo>
                  <a:lnTo>
                    <a:pt x="561" y="73"/>
                  </a:lnTo>
                  <a:lnTo>
                    <a:pt x="573" y="84"/>
                  </a:lnTo>
                  <a:lnTo>
                    <a:pt x="584" y="95"/>
                  </a:lnTo>
                  <a:lnTo>
                    <a:pt x="595" y="107"/>
                  </a:lnTo>
                  <a:lnTo>
                    <a:pt x="604" y="119"/>
                  </a:lnTo>
                  <a:lnTo>
                    <a:pt x="614" y="132"/>
                  </a:lnTo>
                  <a:lnTo>
                    <a:pt x="622" y="146"/>
                  </a:lnTo>
                  <a:lnTo>
                    <a:pt x="630" y="160"/>
                  </a:lnTo>
                  <a:lnTo>
                    <a:pt x="638" y="174"/>
                  </a:lnTo>
                  <a:lnTo>
                    <a:pt x="645" y="190"/>
                  </a:lnTo>
                  <a:lnTo>
                    <a:pt x="652" y="206"/>
                  </a:lnTo>
                  <a:lnTo>
                    <a:pt x="658" y="222"/>
                  </a:lnTo>
                  <a:lnTo>
                    <a:pt x="662" y="240"/>
                  </a:lnTo>
                  <a:lnTo>
                    <a:pt x="667" y="258"/>
                  </a:lnTo>
                  <a:lnTo>
                    <a:pt x="671" y="276"/>
                  </a:lnTo>
                  <a:lnTo>
                    <a:pt x="675" y="295"/>
                  </a:lnTo>
                  <a:lnTo>
                    <a:pt x="677" y="314"/>
                  </a:lnTo>
                  <a:lnTo>
                    <a:pt x="679" y="335"/>
                  </a:lnTo>
                  <a:lnTo>
                    <a:pt x="681" y="354"/>
                  </a:lnTo>
                  <a:lnTo>
                    <a:pt x="681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60" y="414"/>
                  </a:lnTo>
                  <a:lnTo>
                    <a:pt x="165" y="431"/>
                  </a:lnTo>
                  <a:lnTo>
                    <a:pt x="172" y="447"/>
                  </a:lnTo>
                  <a:lnTo>
                    <a:pt x="180" y="463"/>
                  </a:lnTo>
                  <a:lnTo>
                    <a:pt x="188" y="477"/>
                  </a:lnTo>
                  <a:lnTo>
                    <a:pt x="198" y="491"/>
                  </a:lnTo>
                  <a:lnTo>
                    <a:pt x="210" y="503"/>
                  </a:lnTo>
                  <a:lnTo>
                    <a:pt x="222" y="515"/>
                  </a:lnTo>
                  <a:lnTo>
                    <a:pt x="236" y="524"/>
                  </a:lnTo>
                  <a:lnTo>
                    <a:pt x="251" y="533"/>
                  </a:lnTo>
                  <a:lnTo>
                    <a:pt x="266" y="541"/>
                  </a:lnTo>
                  <a:lnTo>
                    <a:pt x="282" y="548"/>
                  </a:lnTo>
                  <a:lnTo>
                    <a:pt x="299" y="552"/>
                  </a:lnTo>
                  <a:lnTo>
                    <a:pt x="317" y="556"/>
                  </a:lnTo>
                  <a:lnTo>
                    <a:pt x="336" y="558"/>
                  </a:lnTo>
                  <a:lnTo>
                    <a:pt x="354" y="559"/>
                  </a:lnTo>
                  <a:lnTo>
                    <a:pt x="354" y="559"/>
                  </a:lnTo>
                  <a:lnTo>
                    <a:pt x="370" y="559"/>
                  </a:lnTo>
                  <a:lnTo>
                    <a:pt x="384" y="558"/>
                  </a:lnTo>
                  <a:lnTo>
                    <a:pt x="399" y="556"/>
                  </a:lnTo>
                  <a:lnTo>
                    <a:pt x="412" y="552"/>
                  </a:lnTo>
                  <a:lnTo>
                    <a:pt x="425" y="549"/>
                  </a:lnTo>
                  <a:lnTo>
                    <a:pt x="438" y="546"/>
                  </a:lnTo>
                  <a:lnTo>
                    <a:pt x="450" y="540"/>
                  </a:lnTo>
                  <a:lnTo>
                    <a:pt x="462" y="535"/>
                  </a:lnTo>
                  <a:lnTo>
                    <a:pt x="482" y="524"/>
                  </a:lnTo>
                  <a:lnTo>
                    <a:pt x="502" y="510"/>
                  </a:lnTo>
                  <a:lnTo>
                    <a:pt x="519" y="496"/>
                  </a:lnTo>
                  <a:lnTo>
                    <a:pt x="533" y="481"/>
                  </a:lnTo>
                  <a:lnTo>
                    <a:pt x="635" y="589"/>
                  </a:lnTo>
                  <a:lnTo>
                    <a:pt x="635" y="589"/>
                  </a:lnTo>
                  <a:lnTo>
                    <a:pt x="623" y="602"/>
                  </a:lnTo>
                  <a:lnTo>
                    <a:pt x="611" y="614"/>
                  </a:lnTo>
                  <a:lnTo>
                    <a:pt x="597" y="626"/>
                  </a:lnTo>
                  <a:lnTo>
                    <a:pt x="583" y="637"/>
                  </a:lnTo>
                  <a:lnTo>
                    <a:pt x="568" y="647"/>
                  </a:lnTo>
                  <a:lnTo>
                    <a:pt x="552" y="658"/>
                  </a:lnTo>
                  <a:lnTo>
                    <a:pt x="535" y="667"/>
                  </a:lnTo>
                  <a:lnTo>
                    <a:pt x="518" y="675"/>
                  </a:lnTo>
                  <a:lnTo>
                    <a:pt x="500" y="683"/>
                  </a:lnTo>
                  <a:lnTo>
                    <a:pt x="481" y="690"/>
                  </a:lnTo>
                  <a:lnTo>
                    <a:pt x="461" y="696"/>
                  </a:lnTo>
                  <a:lnTo>
                    <a:pt x="441" y="700"/>
                  </a:lnTo>
                  <a:lnTo>
                    <a:pt x="420" y="704"/>
                  </a:lnTo>
                  <a:lnTo>
                    <a:pt x="399" y="707"/>
                  </a:lnTo>
                  <a:lnTo>
                    <a:pt x="377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7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6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2" y="667"/>
                  </a:lnTo>
                  <a:lnTo>
                    <a:pt x="167" y="659"/>
                  </a:lnTo>
                  <a:lnTo>
                    <a:pt x="152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3" y="619"/>
                  </a:lnTo>
                  <a:lnTo>
                    <a:pt x="101" y="607"/>
                  </a:lnTo>
                  <a:lnTo>
                    <a:pt x="89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8" y="555"/>
                  </a:lnTo>
                  <a:lnTo>
                    <a:pt x="49" y="541"/>
                  </a:lnTo>
                  <a:lnTo>
                    <a:pt x="41" y="526"/>
                  </a:lnTo>
                  <a:lnTo>
                    <a:pt x="33" y="510"/>
                  </a:lnTo>
                  <a:lnTo>
                    <a:pt x="26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0" y="445"/>
                  </a:lnTo>
                  <a:lnTo>
                    <a:pt x="7" y="427"/>
                  </a:lnTo>
                  <a:lnTo>
                    <a:pt x="3" y="409"/>
                  </a:lnTo>
                  <a:lnTo>
                    <a:pt x="1" y="392"/>
                  </a:lnTo>
                  <a:lnTo>
                    <a:pt x="0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1464" y="3464"/>
              <a:ext cx="118" cy="47"/>
            </a:xfrm>
            <a:custGeom>
              <a:avLst/>
              <a:gdLst>
                <a:gd name="T0" fmla="*/ 0 w 353"/>
                <a:gd name="T1" fmla="*/ 140 h 140"/>
                <a:gd name="T2" fmla="*/ 353 w 353"/>
                <a:gd name="T3" fmla="*/ 140 h 140"/>
                <a:gd name="T4" fmla="*/ 353 w 353"/>
                <a:gd name="T5" fmla="*/ 140 h 140"/>
                <a:gd name="T6" fmla="*/ 350 w 353"/>
                <a:gd name="T7" fmla="*/ 123 h 140"/>
                <a:gd name="T8" fmla="*/ 345 w 353"/>
                <a:gd name="T9" fmla="*/ 107 h 140"/>
                <a:gd name="T10" fmla="*/ 340 w 353"/>
                <a:gd name="T11" fmla="*/ 93 h 140"/>
                <a:gd name="T12" fmla="*/ 331 w 353"/>
                <a:gd name="T13" fmla="*/ 79 h 140"/>
                <a:gd name="T14" fmla="*/ 323 w 353"/>
                <a:gd name="T15" fmla="*/ 66 h 140"/>
                <a:gd name="T16" fmla="*/ 315 w 353"/>
                <a:gd name="T17" fmla="*/ 55 h 140"/>
                <a:gd name="T18" fmla="*/ 305 w 353"/>
                <a:gd name="T19" fmla="*/ 44 h 140"/>
                <a:gd name="T20" fmla="*/ 295 w 353"/>
                <a:gd name="T21" fmla="*/ 35 h 140"/>
                <a:gd name="T22" fmla="*/ 283 w 353"/>
                <a:gd name="T23" fmla="*/ 26 h 140"/>
                <a:gd name="T24" fmla="*/ 271 w 353"/>
                <a:gd name="T25" fmla="*/ 19 h 140"/>
                <a:gd name="T26" fmla="*/ 257 w 353"/>
                <a:gd name="T27" fmla="*/ 13 h 140"/>
                <a:gd name="T28" fmla="*/ 243 w 353"/>
                <a:gd name="T29" fmla="*/ 9 h 140"/>
                <a:gd name="T30" fmla="*/ 228 w 353"/>
                <a:gd name="T31" fmla="*/ 4 h 140"/>
                <a:gd name="T32" fmla="*/ 213 w 353"/>
                <a:gd name="T33" fmla="*/ 2 h 140"/>
                <a:gd name="T34" fmla="*/ 197 w 353"/>
                <a:gd name="T35" fmla="*/ 0 h 140"/>
                <a:gd name="T36" fmla="*/ 180 w 353"/>
                <a:gd name="T37" fmla="*/ 0 h 140"/>
                <a:gd name="T38" fmla="*/ 180 w 353"/>
                <a:gd name="T39" fmla="*/ 0 h 140"/>
                <a:gd name="T40" fmla="*/ 165 w 353"/>
                <a:gd name="T41" fmla="*/ 1 h 140"/>
                <a:gd name="T42" fmla="*/ 150 w 353"/>
                <a:gd name="T43" fmla="*/ 2 h 140"/>
                <a:gd name="T44" fmla="*/ 136 w 353"/>
                <a:gd name="T45" fmla="*/ 5 h 140"/>
                <a:gd name="T46" fmla="*/ 122 w 353"/>
                <a:gd name="T47" fmla="*/ 9 h 140"/>
                <a:gd name="T48" fmla="*/ 108 w 353"/>
                <a:gd name="T49" fmla="*/ 15 h 140"/>
                <a:gd name="T50" fmla="*/ 94 w 353"/>
                <a:gd name="T51" fmla="*/ 21 h 140"/>
                <a:gd name="T52" fmla="*/ 82 w 353"/>
                <a:gd name="T53" fmla="*/ 28 h 140"/>
                <a:gd name="T54" fmla="*/ 69 w 353"/>
                <a:gd name="T55" fmla="*/ 38 h 140"/>
                <a:gd name="T56" fmla="*/ 58 w 353"/>
                <a:gd name="T57" fmla="*/ 47 h 140"/>
                <a:gd name="T58" fmla="*/ 47 w 353"/>
                <a:gd name="T59" fmla="*/ 57 h 140"/>
                <a:gd name="T60" fmla="*/ 37 w 353"/>
                <a:gd name="T61" fmla="*/ 68 h 140"/>
                <a:gd name="T62" fmla="*/ 28 w 353"/>
                <a:gd name="T63" fmla="*/ 81 h 140"/>
                <a:gd name="T64" fmla="*/ 20 w 353"/>
                <a:gd name="T65" fmla="*/ 95 h 140"/>
                <a:gd name="T66" fmla="*/ 12 w 353"/>
                <a:gd name="T67" fmla="*/ 109 h 140"/>
                <a:gd name="T68" fmla="*/ 6 w 353"/>
                <a:gd name="T69" fmla="*/ 125 h 140"/>
                <a:gd name="T70" fmla="*/ 0 w 353"/>
                <a:gd name="T71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140">
                  <a:moveTo>
                    <a:pt x="0" y="140"/>
                  </a:moveTo>
                  <a:lnTo>
                    <a:pt x="353" y="140"/>
                  </a:lnTo>
                  <a:lnTo>
                    <a:pt x="353" y="140"/>
                  </a:lnTo>
                  <a:lnTo>
                    <a:pt x="350" y="123"/>
                  </a:lnTo>
                  <a:lnTo>
                    <a:pt x="345" y="107"/>
                  </a:lnTo>
                  <a:lnTo>
                    <a:pt x="340" y="93"/>
                  </a:lnTo>
                  <a:lnTo>
                    <a:pt x="331" y="79"/>
                  </a:lnTo>
                  <a:lnTo>
                    <a:pt x="323" y="66"/>
                  </a:lnTo>
                  <a:lnTo>
                    <a:pt x="315" y="55"/>
                  </a:lnTo>
                  <a:lnTo>
                    <a:pt x="305" y="44"/>
                  </a:lnTo>
                  <a:lnTo>
                    <a:pt x="295" y="35"/>
                  </a:lnTo>
                  <a:lnTo>
                    <a:pt x="283" y="26"/>
                  </a:lnTo>
                  <a:lnTo>
                    <a:pt x="271" y="19"/>
                  </a:lnTo>
                  <a:lnTo>
                    <a:pt x="257" y="13"/>
                  </a:lnTo>
                  <a:lnTo>
                    <a:pt x="243" y="9"/>
                  </a:lnTo>
                  <a:lnTo>
                    <a:pt x="228" y="4"/>
                  </a:lnTo>
                  <a:lnTo>
                    <a:pt x="213" y="2"/>
                  </a:lnTo>
                  <a:lnTo>
                    <a:pt x="197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65" y="1"/>
                  </a:lnTo>
                  <a:lnTo>
                    <a:pt x="150" y="2"/>
                  </a:lnTo>
                  <a:lnTo>
                    <a:pt x="136" y="5"/>
                  </a:lnTo>
                  <a:lnTo>
                    <a:pt x="122" y="9"/>
                  </a:lnTo>
                  <a:lnTo>
                    <a:pt x="108" y="15"/>
                  </a:lnTo>
                  <a:lnTo>
                    <a:pt x="94" y="21"/>
                  </a:lnTo>
                  <a:lnTo>
                    <a:pt x="82" y="28"/>
                  </a:lnTo>
                  <a:lnTo>
                    <a:pt x="69" y="38"/>
                  </a:lnTo>
                  <a:lnTo>
                    <a:pt x="58" y="47"/>
                  </a:lnTo>
                  <a:lnTo>
                    <a:pt x="47" y="57"/>
                  </a:lnTo>
                  <a:lnTo>
                    <a:pt x="37" y="68"/>
                  </a:lnTo>
                  <a:lnTo>
                    <a:pt x="28" y="81"/>
                  </a:lnTo>
                  <a:lnTo>
                    <a:pt x="20" y="95"/>
                  </a:lnTo>
                  <a:lnTo>
                    <a:pt x="12" y="109"/>
                  </a:lnTo>
                  <a:lnTo>
                    <a:pt x="6" y="125"/>
                  </a:lnTo>
                  <a:lnTo>
                    <a:pt x="0" y="1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1411" y="3418"/>
              <a:ext cx="227" cy="236"/>
            </a:xfrm>
            <a:custGeom>
              <a:avLst/>
              <a:gdLst>
                <a:gd name="T0" fmla="*/ 0 w 681"/>
                <a:gd name="T1" fmla="*/ 336 h 709"/>
                <a:gd name="T2" fmla="*/ 7 w 681"/>
                <a:gd name="T3" fmla="*/ 282 h 709"/>
                <a:gd name="T4" fmla="*/ 21 w 681"/>
                <a:gd name="T5" fmla="*/ 230 h 709"/>
                <a:gd name="T6" fmla="*/ 41 w 681"/>
                <a:gd name="T7" fmla="*/ 183 h 709"/>
                <a:gd name="T8" fmla="*/ 68 w 681"/>
                <a:gd name="T9" fmla="*/ 140 h 709"/>
                <a:gd name="T10" fmla="*/ 101 w 681"/>
                <a:gd name="T11" fmla="*/ 102 h 709"/>
                <a:gd name="T12" fmla="*/ 139 w 681"/>
                <a:gd name="T13" fmla="*/ 69 h 709"/>
                <a:gd name="T14" fmla="*/ 181 w 681"/>
                <a:gd name="T15" fmla="*/ 41 h 709"/>
                <a:gd name="T16" fmla="*/ 228 w 681"/>
                <a:gd name="T17" fmla="*/ 21 h 709"/>
                <a:gd name="T18" fmla="*/ 278 w 681"/>
                <a:gd name="T19" fmla="*/ 7 h 709"/>
                <a:gd name="T20" fmla="*/ 333 w 681"/>
                <a:gd name="T21" fmla="*/ 0 h 709"/>
                <a:gd name="T22" fmla="*/ 369 w 681"/>
                <a:gd name="T23" fmla="*/ 0 h 709"/>
                <a:gd name="T24" fmla="*/ 420 w 681"/>
                <a:gd name="T25" fmla="*/ 6 h 709"/>
                <a:gd name="T26" fmla="*/ 467 w 681"/>
                <a:gd name="T27" fmla="*/ 18 h 709"/>
                <a:gd name="T28" fmla="*/ 511 w 681"/>
                <a:gd name="T29" fmla="*/ 38 h 709"/>
                <a:gd name="T30" fmla="*/ 550 w 681"/>
                <a:gd name="T31" fmla="*/ 63 h 709"/>
                <a:gd name="T32" fmla="*/ 584 w 681"/>
                <a:gd name="T33" fmla="*/ 95 h 709"/>
                <a:gd name="T34" fmla="*/ 614 w 681"/>
                <a:gd name="T35" fmla="*/ 132 h 709"/>
                <a:gd name="T36" fmla="*/ 638 w 681"/>
                <a:gd name="T37" fmla="*/ 174 h 709"/>
                <a:gd name="T38" fmla="*/ 658 w 681"/>
                <a:gd name="T39" fmla="*/ 222 h 709"/>
                <a:gd name="T40" fmla="*/ 671 w 681"/>
                <a:gd name="T41" fmla="*/ 276 h 709"/>
                <a:gd name="T42" fmla="*/ 679 w 681"/>
                <a:gd name="T43" fmla="*/ 335 h 709"/>
                <a:gd name="T44" fmla="*/ 157 w 681"/>
                <a:gd name="T45" fmla="*/ 395 h 709"/>
                <a:gd name="T46" fmla="*/ 165 w 681"/>
                <a:gd name="T47" fmla="*/ 431 h 709"/>
                <a:gd name="T48" fmla="*/ 188 w 681"/>
                <a:gd name="T49" fmla="*/ 477 h 709"/>
                <a:gd name="T50" fmla="*/ 222 w 681"/>
                <a:gd name="T51" fmla="*/ 515 h 709"/>
                <a:gd name="T52" fmla="*/ 266 w 681"/>
                <a:gd name="T53" fmla="*/ 541 h 709"/>
                <a:gd name="T54" fmla="*/ 317 w 681"/>
                <a:gd name="T55" fmla="*/ 556 h 709"/>
                <a:gd name="T56" fmla="*/ 354 w 681"/>
                <a:gd name="T57" fmla="*/ 559 h 709"/>
                <a:gd name="T58" fmla="*/ 399 w 681"/>
                <a:gd name="T59" fmla="*/ 556 h 709"/>
                <a:gd name="T60" fmla="*/ 438 w 681"/>
                <a:gd name="T61" fmla="*/ 546 h 709"/>
                <a:gd name="T62" fmla="*/ 482 w 681"/>
                <a:gd name="T63" fmla="*/ 524 h 709"/>
                <a:gd name="T64" fmla="*/ 533 w 681"/>
                <a:gd name="T65" fmla="*/ 481 h 709"/>
                <a:gd name="T66" fmla="*/ 623 w 681"/>
                <a:gd name="T67" fmla="*/ 602 h 709"/>
                <a:gd name="T68" fmla="*/ 583 w 681"/>
                <a:gd name="T69" fmla="*/ 637 h 709"/>
                <a:gd name="T70" fmla="*/ 535 w 681"/>
                <a:gd name="T71" fmla="*/ 667 h 709"/>
                <a:gd name="T72" fmla="*/ 481 w 681"/>
                <a:gd name="T73" fmla="*/ 690 h 709"/>
                <a:gd name="T74" fmla="*/ 420 w 681"/>
                <a:gd name="T75" fmla="*/ 704 h 709"/>
                <a:gd name="T76" fmla="*/ 354 w 681"/>
                <a:gd name="T77" fmla="*/ 709 h 709"/>
                <a:gd name="T78" fmla="*/ 317 w 681"/>
                <a:gd name="T79" fmla="*/ 707 h 709"/>
                <a:gd name="T80" fmla="*/ 264 w 681"/>
                <a:gd name="T81" fmla="*/ 698 h 709"/>
                <a:gd name="T82" fmla="*/ 213 w 681"/>
                <a:gd name="T83" fmla="*/ 682 h 709"/>
                <a:gd name="T84" fmla="*/ 167 w 681"/>
                <a:gd name="T85" fmla="*/ 659 h 709"/>
                <a:gd name="T86" fmla="*/ 126 w 681"/>
                <a:gd name="T87" fmla="*/ 629 h 709"/>
                <a:gd name="T88" fmla="*/ 89 w 681"/>
                <a:gd name="T89" fmla="*/ 595 h 709"/>
                <a:gd name="T90" fmla="*/ 58 w 681"/>
                <a:gd name="T91" fmla="*/ 555 h 709"/>
                <a:gd name="T92" fmla="*/ 33 w 681"/>
                <a:gd name="T93" fmla="*/ 510 h 709"/>
                <a:gd name="T94" fmla="*/ 15 w 681"/>
                <a:gd name="T95" fmla="*/ 462 h 709"/>
                <a:gd name="T96" fmla="*/ 3 w 681"/>
                <a:gd name="T97" fmla="*/ 409 h 709"/>
                <a:gd name="T98" fmla="*/ 0 w 681"/>
                <a:gd name="T99" fmla="*/ 35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1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1" y="317"/>
                  </a:lnTo>
                  <a:lnTo>
                    <a:pt x="3" y="299"/>
                  </a:lnTo>
                  <a:lnTo>
                    <a:pt x="7" y="282"/>
                  </a:lnTo>
                  <a:lnTo>
                    <a:pt x="10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6" y="214"/>
                  </a:lnTo>
                  <a:lnTo>
                    <a:pt x="33" y="198"/>
                  </a:lnTo>
                  <a:lnTo>
                    <a:pt x="41" y="183"/>
                  </a:lnTo>
                  <a:lnTo>
                    <a:pt x="49" y="169"/>
                  </a:lnTo>
                  <a:lnTo>
                    <a:pt x="58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89" y="115"/>
                  </a:lnTo>
                  <a:lnTo>
                    <a:pt x="101" y="102"/>
                  </a:lnTo>
                  <a:lnTo>
                    <a:pt x="112" y="91"/>
                  </a:lnTo>
                  <a:lnTo>
                    <a:pt x="125" y="79"/>
                  </a:lnTo>
                  <a:lnTo>
                    <a:pt x="139" y="69"/>
                  </a:lnTo>
                  <a:lnTo>
                    <a:pt x="152" y="60"/>
                  </a:lnTo>
                  <a:lnTo>
                    <a:pt x="166" y="50"/>
                  </a:lnTo>
                  <a:lnTo>
                    <a:pt x="181" y="41"/>
                  </a:lnTo>
                  <a:lnTo>
                    <a:pt x="196" y="34"/>
                  </a:lnTo>
                  <a:lnTo>
                    <a:pt x="212" y="28"/>
                  </a:lnTo>
                  <a:lnTo>
                    <a:pt x="228" y="21"/>
                  </a:lnTo>
                  <a:lnTo>
                    <a:pt x="245" y="15"/>
                  </a:lnTo>
                  <a:lnTo>
                    <a:pt x="261" y="10"/>
                  </a:lnTo>
                  <a:lnTo>
                    <a:pt x="278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69" y="0"/>
                  </a:lnTo>
                  <a:lnTo>
                    <a:pt x="387" y="1"/>
                  </a:lnTo>
                  <a:lnTo>
                    <a:pt x="403" y="3"/>
                  </a:lnTo>
                  <a:lnTo>
                    <a:pt x="420" y="6"/>
                  </a:lnTo>
                  <a:lnTo>
                    <a:pt x="437" y="9"/>
                  </a:lnTo>
                  <a:lnTo>
                    <a:pt x="453" y="14"/>
                  </a:lnTo>
                  <a:lnTo>
                    <a:pt x="467" y="18"/>
                  </a:lnTo>
                  <a:lnTo>
                    <a:pt x="482" y="24"/>
                  </a:lnTo>
                  <a:lnTo>
                    <a:pt x="496" y="31"/>
                  </a:lnTo>
                  <a:lnTo>
                    <a:pt x="511" y="38"/>
                  </a:lnTo>
                  <a:lnTo>
                    <a:pt x="524" y="46"/>
                  </a:lnTo>
                  <a:lnTo>
                    <a:pt x="537" y="54"/>
                  </a:lnTo>
                  <a:lnTo>
                    <a:pt x="550" y="63"/>
                  </a:lnTo>
                  <a:lnTo>
                    <a:pt x="561" y="73"/>
                  </a:lnTo>
                  <a:lnTo>
                    <a:pt x="573" y="84"/>
                  </a:lnTo>
                  <a:lnTo>
                    <a:pt x="584" y="95"/>
                  </a:lnTo>
                  <a:lnTo>
                    <a:pt x="595" y="107"/>
                  </a:lnTo>
                  <a:lnTo>
                    <a:pt x="604" y="119"/>
                  </a:lnTo>
                  <a:lnTo>
                    <a:pt x="614" y="132"/>
                  </a:lnTo>
                  <a:lnTo>
                    <a:pt x="622" y="146"/>
                  </a:lnTo>
                  <a:lnTo>
                    <a:pt x="630" y="160"/>
                  </a:lnTo>
                  <a:lnTo>
                    <a:pt x="638" y="174"/>
                  </a:lnTo>
                  <a:lnTo>
                    <a:pt x="645" y="190"/>
                  </a:lnTo>
                  <a:lnTo>
                    <a:pt x="652" y="206"/>
                  </a:lnTo>
                  <a:lnTo>
                    <a:pt x="658" y="222"/>
                  </a:lnTo>
                  <a:lnTo>
                    <a:pt x="662" y="240"/>
                  </a:lnTo>
                  <a:lnTo>
                    <a:pt x="667" y="258"/>
                  </a:lnTo>
                  <a:lnTo>
                    <a:pt x="671" y="276"/>
                  </a:lnTo>
                  <a:lnTo>
                    <a:pt x="675" y="295"/>
                  </a:lnTo>
                  <a:lnTo>
                    <a:pt x="677" y="314"/>
                  </a:lnTo>
                  <a:lnTo>
                    <a:pt x="679" y="335"/>
                  </a:lnTo>
                  <a:lnTo>
                    <a:pt x="681" y="354"/>
                  </a:lnTo>
                  <a:lnTo>
                    <a:pt x="681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60" y="414"/>
                  </a:lnTo>
                  <a:lnTo>
                    <a:pt x="165" y="431"/>
                  </a:lnTo>
                  <a:lnTo>
                    <a:pt x="172" y="447"/>
                  </a:lnTo>
                  <a:lnTo>
                    <a:pt x="180" y="463"/>
                  </a:lnTo>
                  <a:lnTo>
                    <a:pt x="188" y="477"/>
                  </a:lnTo>
                  <a:lnTo>
                    <a:pt x="198" y="491"/>
                  </a:lnTo>
                  <a:lnTo>
                    <a:pt x="210" y="503"/>
                  </a:lnTo>
                  <a:lnTo>
                    <a:pt x="222" y="515"/>
                  </a:lnTo>
                  <a:lnTo>
                    <a:pt x="236" y="524"/>
                  </a:lnTo>
                  <a:lnTo>
                    <a:pt x="251" y="533"/>
                  </a:lnTo>
                  <a:lnTo>
                    <a:pt x="266" y="541"/>
                  </a:lnTo>
                  <a:lnTo>
                    <a:pt x="282" y="548"/>
                  </a:lnTo>
                  <a:lnTo>
                    <a:pt x="299" y="552"/>
                  </a:lnTo>
                  <a:lnTo>
                    <a:pt x="317" y="556"/>
                  </a:lnTo>
                  <a:lnTo>
                    <a:pt x="336" y="558"/>
                  </a:lnTo>
                  <a:lnTo>
                    <a:pt x="354" y="559"/>
                  </a:lnTo>
                  <a:lnTo>
                    <a:pt x="354" y="559"/>
                  </a:lnTo>
                  <a:lnTo>
                    <a:pt x="370" y="559"/>
                  </a:lnTo>
                  <a:lnTo>
                    <a:pt x="384" y="558"/>
                  </a:lnTo>
                  <a:lnTo>
                    <a:pt x="399" y="556"/>
                  </a:lnTo>
                  <a:lnTo>
                    <a:pt x="412" y="552"/>
                  </a:lnTo>
                  <a:lnTo>
                    <a:pt x="425" y="549"/>
                  </a:lnTo>
                  <a:lnTo>
                    <a:pt x="438" y="546"/>
                  </a:lnTo>
                  <a:lnTo>
                    <a:pt x="450" y="540"/>
                  </a:lnTo>
                  <a:lnTo>
                    <a:pt x="462" y="535"/>
                  </a:lnTo>
                  <a:lnTo>
                    <a:pt x="482" y="524"/>
                  </a:lnTo>
                  <a:lnTo>
                    <a:pt x="502" y="510"/>
                  </a:lnTo>
                  <a:lnTo>
                    <a:pt x="519" y="496"/>
                  </a:lnTo>
                  <a:lnTo>
                    <a:pt x="533" y="481"/>
                  </a:lnTo>
                  <a:lnTo>
                    <a:pt x="635" y="589"/>
                  </a:lnTo>
                  <a:lnTo>
                    <a:pt x="635" y="589"/>
                  </a:lnTo>
                  <a:lnTo>
                    <a:pt x="623" y="602"/>
                  </a:lnTo>
                  <a:lnTo>
                    <a:pt x="611" y="614"/>
                  </a:lnTo>
                  <a:lnTo>
                    <a:pt x="597" y="626"/>
                  </a:lnTo>
                  <a:lnTo>
                    <a:pt x="583" y="637"/>
                  </a:lnTo>
                  <a:lnTo>
                    <a:pt x="568" y="647"/>
                  </a:lnTo>
                  <a:lnTo>
                    <a:pt x="552" y="658"/>
                  </a:lnTo>
                  <a:lnTo>
                    <a:pt x="535" y="667"/>
                  </a:lnTo>
                  <a:lnTo>
                    <a:pt x="518" y="675"/>
                  </a:lnTo>
                  <a:lnTo>
                    <a:pt x="500" y="683"/>
                  </a:lnTo>
                  <a:lnTo>
                    <a:pt x="481" y="690"/>
                  </a:lnTo>
                  <a:lnTo>
                    <a:pt x="461" y="696"/>
                  </a:lnTo>
                  <a:lnTo>
                    <a:pt x="441" y="700"/>
                  </a:lnTo>
                  <a:lnTo>
                    <a:pt x="420" y="704"/>
                  </a:lnTo>
                  <a:lnTo>
                    <a:pt x="399" y="707"/>
                  </a:lnTo>
                  <a:lnTo>
                    <a:pt x="377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7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6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2" y="667"/>
                  </a:lnTo>
                  <a:lnTo>
                    <a:pt x="167" y="659"/>
                  </a:lnTo>
                  <a:lnTo>
                    <a:pt x="152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3" y="619"/>
                  </a:lnTo>
                  <a:lnTo>
                    <a:pt x="101" y="607"/>
                  </a:lnTo>
                  <a:lnTo>
                    <a:pt x="89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8" y="555"/>
                  </a:lnTo>
                  <a:lnTo>
                    <a:pt x="49" y="541"/>
                  </a:lnTo>
                  <a:lnTo>
                    <a:pt x="41" y="526"/>
                  </a:lnTo>
                  <a:lnTo>
                    <a:pt x="33" y="510"/>
                  </a:lnTo>
                  <a:lnTo>
                    <a:pt x="26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0" y="445"/>
                  </a:lnTo>
                  <a:lnTo>
                    <a:pt x="7" y="427"/>
                  </a:lnTo>
                  <a:lnTo>
                    <a:pt x="3" y="409"/>
                  </a:lnTo>
                  <a:lnTo>
                    <a:pt x="1" y="392"/>
                  </a:lnTo>
                  <a:lnTo>
                    <a:pt x="0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1665" y="3418"/>
              <a:ext cx="197" cy="235"/>
            </a:xfrm>
            <a:custGeom>
              <a:avLst/>
              <a:gdLst>
                <a:gd name="T0" fmla="*/ 431 w 591"/>
                <a:gd name="T1" fmla="*/ 707 h 707"/>
                <a:gd name="T2" fmla="*/ 431 w 591"/>
                <a:gd name="T3" fmla="*/ 296 h 707"/>
                <a:gd name="T4" fmla="*/ 427 w 591"/>
                <a:gd name="T5" fmla="*/ 268 h 707"/>
                <a:gd name="T6" fmla="*/ 419 w 591"/>
                <a:gd name="T7" fmla="*/ 243 h 707"/>
                <a:gd name="T8" fmla="*/ 407 w 591"/>
                <a:gd name="T9" fmla="*/ 220 h 707"/>
                <a:gd name="T10" fmla="*/ 391 w 591"/>
                <a:gd name="T11" fmla="*/ 199 h 707"/>
                <a:gd name="T12" fmla="*/ 371 w 591"/>
                <a:gd name="T13" fmla="*/ 183 h 707"/>
                <a:gd name="T14" fmla="*/ 348 w 591"/>
                <a:gd name="T15" fmla="*/ 171 h 707"/>
                <a:gd name="T16" fmla="*/ 322 w 591"/>
                <a:gd name="T17" fmla="*/ 163 h 707"/>
                <a:gd name="T18" fmla="*/ 295 w 591"/>
                <a:gd name="T19" fmla="*/ 160 h 707"/>
                <a:gd name="T20" fmla="*/ 282 w 591"/>
                <a:gd name="T21" fmla="*/ 160 h 707"/>
                <a:gd name="T22" fmla="*/ 255 w 591"/>
                <a:gd name="T23" fmla="*/ 166 h 707"/>
                <a:gd name="T24" fmla="*/ 230 w 591"/>
                <a:gd name="T25" fmla="*/ 177 h 707"/>
                <a:gd name="T26" fmla="*/ 210 w 591"/>
                <a:gd name="T27" fmla="*/ 191 h 707"/>
                <a:gd name="T28" fmla="*/ 191 w 591"/>
                <a:gd name="T29" fmla="*/ 210 h 707"/>
                <a:gd name="T30" fmla="*/ 176 w 591"/>
                <a:gd name="T31" fmla="*/ 230 h 707"/>
                <a:gd name="T32" fmla="*/ 166 w 591"/>
                <a:gd name="T33" fmla="*/ 256 h 707"/>
                <a:gd name="T34" fmla="*/ 160 w 591"/>
                <a:gd name="T35" fmla="*/ 282 h 707"/>
                <a:gd name="T36" fmla="*/ 160 w 591"/>
                <a:gd name="T37" fmla="*/ 707 h 707"/>
                <a:gd name="T38" fmla="*/ 0 w 591"/>
                <a:gd name="T39" fmla="*/ 296 h 707"/>
                <a:gd name="T40" fmla="*/ 0 w 591"/>
                <a:gd name="T41" fmla="*/ 280 h 707"/>
                <a:gd name="T42" fmla="*/ 3 w 591"/>
                <a:gd name="T43" fmla="*/ 250 h 707"/>
                <a:gd name="T44" fmla="*/ 9 w 591"/>
                <a:gd name="T45" fmla="*/ 221 h 707"/>
                <a:gd name="T46" fmla="*/ 17 w 591"/>
                <a:gd name="T47" fmla="*/ 194 h 707"/>
                <a:gd name="T48" fmla="*/ 29 w 591"/>
                <a:gd name="T49" fmla="*/ 167 h 707"/>
                <a:gd name="T50" fmla="*/ 42 w 591"/>
                <a:gd name="T51" fmla="*/ 142 h 707"/>
                <a:gd name="T52" fmla="*/ 67 w 591"/>
                <a:gd name="T53" fmla="*/ 108 h 707"/>
                <a:gd name="T54" fmla="*/ 108 w 591"/>
                <a:gd name="T55" fmla="*/ 68 h 707"/>
                <a:gd name="T56" fmla="*/ 142 w 591"/>
                <a:gd name="T57" fmla="*/ 42 h 707"/>
                <a:gd name="T58" fmla="*/ 167 w 591"/>
                <a:gd name="T59" fmla="*/ 29 h 707"/>
                <a:gd name="T60" fmla="*/ 193 w 591"/>
                <a:gd name="T61" fmla="*/ 17 h 707"/>
                <a:gd name="T62" fmla="*/ 221 w 591"/>
                <a:gd name="T63" fmla="*/ 9 h 707"/>
                <a:gd name="T64" fmla="*/ 250 w 591"/>
                <a:gd name="T65" fmla="*/ 3 h 707"/>
                <a:gd name="T66" fmla="*/ 279 w 591"/>
                <a:gd name="T67" fmla="*/ 0 h 707"/>
                <a:gd name="T68" fmla="*/ 295 w 591"/>
                <a:gd name="T69" fmla="*/ 0 h 707"/>
                <a:gd name="T70" fmla="*/ 325 w 591"/>
                <a:gd name="T71" fmla="*/ 1 h 707"/>
                <a:gd name="T72" fmla="*/ 355 w 591"/>
                <a:gd name="T73" fmla="*/ 6 h 707"/>
                <a:gd name="T74" fmla="*/ 382 w 591"/>
                <a:gd name="T75" fmla="*/ 13 h 707"/>
                <a:gd name="T76" fmla="*/ 410 w 591"/>
                <a:gd name="T77" fmla="*/ 23 h 707"/>
                <a:gd name="T78" fmla="*/ 436 w 591"/>
                <a:gd name="T79" fmla="*/ 36 h 707"/>
                <a:gd name="T80" fmla="*/ 460 w 591"/>
                <a:gd name="T81" fmla="*/ 50 h 707"/>
                <a:gd name="T82" fmla="*/ 504 w 591"/>
                <a:gd name="T83" fmla="*/ 86 h 707"/>
                <a:gd name="T84" fmla="*/ 541 w 591"/>
                <a:gd name="T85" fmla="*/ 131 h 707"/>
                <a:gd name="T86" fmla="*/ 555 w 591"/>
                <a:gd name="T87" fmla="*/ 155 h 707"/>
                <a:gd name="T88" fmla="*/ 567 w 591"/>
                <a:gd name="T89" fmla="*/ 180 h 707"/>
                <a:gd name="T90" fmla="*/ 577 w 591"/>
                <a:gd name="T91" fmla="*/ 207 h 707"/>
                <a:gd name="T92" fmla="*/ 584 w 591"/>
                <a:gd name="T93" fmla="*/ 236 h 707"/>
                <a:gd name="T94" fmla="*/ 589 w 591"/>
                <a:gd name="T95" fmla="*/ 265 h 707"/>
                <a:gd name="T96" fmla="*/ 591 w 591"/>
                <a:gd name="T97" fmla="*/ 29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91" h="707">
                  <a:moveTo>
                    <a:pt x="591" y="707"/>
                  </a:moveTo>
                  <a:lnTo>
                    <a:pt x="431" y="707"/>
                  </a:lnTo>
                  <a:lnTo>
                    <a:pt x="431" y="296"/>
                  </a:lnTo>
                  <a:lnTo>
                    <a:pt x="431" y="296"/>
                  </a:lnTo>
                  <a:lnTo>
                    <a:pt x="429" y="282"/>
                  </a:lnTo>
                  <a:lnTo>
                    <a:pt x="427" y="268"/>
                  </a:lnTo>
                  <a:lnTo>
                    <a:pt x="424" y="256"/>
                  </a:lnTo>
                  <a:lnTo>
                    <a:pt x="419" y="243"/>
                  </a:lnTo>
                  <a:lnTo>
                    <a:pt x="413" y="230"/>
                  </a:lnTo>
                  <a:lnTo>
                    <a:pt x="407" y="220"/>
                  </a:lnTo>
                  <a:lnTo>
                    <a:pt x="400" y="210"/>
                  </a:lnTo>
                  <a:lnTo>
                    <a:pt x="391" y="199"/>
                  </a:lnTo>
                  <a:lnTo>
                    <a:pt x="381" y="191"/>
                  </a:lnTo>
                  <a:lnTo>
                    <a:pt x="371" y="183"/>
                  </a:lnTo>
                  <a:lnTo>
                    <a:pt x="360" y="177"/>
                  </a:lnTo>
                  <a:lnTo>
                    <a:pt x="348" y="171"/>
                  </a:lnTo>
                  <a:lnTo>
                    <a:pt x="336" y="166"/>
                  </a:lnTo>
                  <a:lnTo>
                    <a:pt x="322" y="163"/>
                  </a:lnTo>
                  <a:lnTo>
                    <a:pt x="309" y="160"/>
                  </a:lnTo>
                  <a:lnTo>
                    <a:pt x="295" y="160"/>
                  </a:lnTo>
                  <a:lnTo>
                    <a:pt x="295" y="160"/>
                  </a:lnTo>
                  <a:lnTo>
                    <a:pt x="282" y="160"/>
                  </a:lnTo>
                  <a:lnTo>
                    <a:pt x="268" y="163"/>
                  </a:lnTo>
                  <a:lnTo>
                    <a:pt x="255" y="166"/>
                  </a:lnTo>
                  <a:lnTo>
                    <a:pt x="243" y="171"/>
                  </a:lnTo>
                  <a:lnTo>
                    <a:pt x="230" y="177"/>
                  </a:lnTo>
                  <a:lnTo>
                    <a:pt x="220" y="183"/>
                  </a:lnTo>
                  <a:lnTo>
                    <a:pt x="210" y="191"/>
                  </a:lnTo>
                  <a:lnTo>
                    <a:pt x="199" y="199"/>
                  </a:lnTo>
                  <a:lnTo>
                    <a:pt x="191" y="210"/>
                  </a:lnTo>
                  <a:lnTo>
                    <a:pt x="183" y="220"/>
                  </a:lnTo>
                  <a:lnTo>
                    <a:pt x="176" y="230"/>
                  </a:lnTo>
                  <a:lnTo>
                    <a:pt x="171" y="243"/>
                  </a:lnTo>
                  <a:lnTo>
                    <a:pt x="166" y="256"/>
                  </a:lnTo>
                  <a:lnTo>
                    <a:pt x="163" y="268"/>
                  </a:lnTo>
                  <a:lnTo>
                    <a:pt x="160" y="282"/>
                  </a:lnTo>
                  <a:lnTo>
                    <a:pt x="160" y="296"/>
                  </a:lnTo>
                  <a:lnTo>
                    <a:pt x="160" y="707"/>
                  </a:lnTo>
                  <a:lnTo>
                    <a:pt x="0" y="707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0" y="280"/>
                  </a:lnTo>
                  <a:lnTo>
                    <a:pt x="1" y="265"/>
                  </a:lnTo>
                  <a:lnTo>
                    <a:pt x="3" y="250"/>
                  </a:lnTo>
                  <a:lnTo>
                    <a:pt x="6" y="236"/>
                  </a:lnTo>
                  <a:lnTo>
                    <a:pt x="9" y="221"/>
                  </a:lnTo>
                  <a:lnTo>
                    <a:pt x="12" y="207"/>
                  </a:lnTo>
                  <a:lnTo>
                    <a:pt x="17" y="194"/>
                  </a:lnTo>
                  <a:lnTo>
                    <a:pt x="23" y="180"/>
                  </a:lnTo>
                  <a:lnTo>
                    <a:pt x="29" y="167"/>
                  </a:lnTo>
                  <a:lnTo>
                    <a:pt x="35" y="155"/>
                  </a:lnTo>
                  <a:lnTo>
                    <a:pt x="42" y="142"/>
                  </a:lnTo>
                  <a:lnTo>
                    <a:pt x="50" y="131"/>
                  </a:lnTo>
                  <a:lnTo>
                    <a:pt x="67" y="108"/>
                  </a:lnTo>
                  <a:lnTo>
                    <a:pt x="86" y="86"/>
                  </a:lnTo>
                  <a:lnTo>
                    <a:pt x="108" y="68"/>
                  </a:lnTo>
                  <a:lnTo>
                    <a:pt x="129" y="50"/>
                  </a:lnTo>
                  <a:lnTo>
                    <a:pt x="142" y="42"/>
                  </a:lnTo>
                  <a:lnTo>
                    <a:pt x="155" y="36"/>
                  </a:lnTo>
                  <a:lnTo>
                    <a:pt x="167" y="29"/>
                  </a:lnTo>
                  <a:lnTo>
                    <a:pt x="180" y="23"/>
                  </a:lnTo>
                  <a:lnTo>
                    <a:pt x="193" y="17"/>
                  </a:lnTo>
                  <a:lnTo>
                    <a:pt x="207" y="13"/>
                  </a:lnTo>
                  <a:lnTo>
                    <a:pt x="221" y="9"/>
                  </a:lnTo>
                  <a:lnTo>
                    <a:pt x="236" y="6"/>
                  </a:lnTo>
                  <a:lnTo>
                    <a:pt x="250" y="3"/>
                  </a:lnTo>
                  <a:lnTo>
                    <a:pt x="264" y="1"/>
                  </a:lnTo>
                  <a:lnTo>
                    <a:pt x="279" y="0"/>
                  </a:lnTo>
                  <a:lnTo>
                    <a:pt x="295" y="0"/>
                  </a:lnTo>
                  <a:lnTo>
                    <a:pt x="295" y="0"/>
                  </a:lnTo>
                  <a:lnTo>
                    <a:pt x="310" y="0"/>
                  </a:lnTo>
                  <a:lnTo>
                    <a:pt x="325" y="1"/>
                  </a:lnTo>
                  <a:lnTo>
                    <a:pt x="340" y="3"/>
                  </a:lnTo>
                  <a:lnTo>
                    <a:pt x="355" y="6"/>
                  </a:lnTo>
                  <a:lnTo>
                    <a:pt x="369" y="9"/>
                  </a:lnTo>
                  <a:lnTo>
                    <a:pt x="382" y="13"/>
                  </a:lnTo>
                  <a:lnTo>
                    <a:pt x="396" y="17"/>
                  </a:lnTo>
                  <a:lnTo>
                    <a:pt x="410" y="23"/>
                  </a:lnTo>
                  <a:lnTo>
                    <a:pt x="423" y="29"/>
                  </a:lnTo>
                  <a:lnTo>
                    <a:pt x="436" y="36"/>
                  </a:lnTo>
                  <a:lnTo>
                    <a:pt x="448" y="42"/>
                  </a:lnTo>
                  <a:lnTo>
                    <a:pt x="460" y="50"/>
                  </a:lnTo>
                  <a:lnTo>
                    <a:pt x="483" y="68"/>
                  </a:lnTo>
                  <a:lnTo>
                    <a:pt x="504" y="86"/>
                  </a:lnTo>
                  <a:lnTo>
                    <a:pt x="523" y="108"/>
                  </a:lnTo>
                  <a:lnTo>
                    <a:pt x="541" y="131"/>
                  </a:lnTo>
                  <a:lnTo>
                    <a:pt x="547" y="142"/>
                  </a:lnTo>
                  <a:lnTo>
                    <a:pt x="555" y="155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3" y="194"/>
                  </a:lnTo>
                  <a:lnTo>
                    <a:pt x="577" y="207"/>
                  </a:lnTo>
                  <a:lnTo>
                    <a:pt x="582" y="221"/>
                  </a:lnTo>
                  <a:lnTo>
                    <a:pt x="584" y="236"/>
                  </a:lnTo>
                  <a:lnTo>
                    <a:pt x="588" y="250"/>
                  </a:lnTo>
                  <a:lnTo>
                    <a:pt x="589" y="265"/>
                  </a:lnTo>
                  <a:lnTo>
                    <a:pt x="590" y="280"/>
                  </a:lnTo>
                  <a:lnTo>
                    <a:pt x="591" y="296"/>
                  </a:lnTo>
                  <a:lnTo>
                    <a:pt x="591" y="70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002" y="3418"/>
              <a:ext cx="81" cy="81"/>
            </a:xfrm>
            <a:custGeom>
              <a:avLst/>
              <a:gdLst>
                <a:gd name="T0" fmla="*/ 243 w 243"/>
                <a:gd name="T1" fmla="*/ 122 h 243"/>
                <a:gd name="T2" fmla="*/ 240 w 243"/>
                <a:gd name="T3" fmla="*/ 146 h 243"/>
                <a:gd name="T4" fmla="*/ 234 w 243"/>
                <a:gd name="T5" fmla="*/ 169 h 243"/>
                <a:gd name="T6" fmla="*/ 222 w 243"/>
                <a:gd name="T7" fmla="*/ 189 h 243"/>
                <a:gd name="T8" fmla="*/ 207 w 243"/>
                <a:gd name="T9" fmla="*/ 208 h 243"/>
                <a:gd name="T10" fmla="*/ 189 w 243"/>
                <a:gd name="T11" fmla="*/ 223 h 243"/>
                <a:gd name="T12" fmla="*/ 168 w 243"/>
                <a:gd name="T13" fmla="*/ 233 h 243"/>
                <a:gd name="T14" fmla="*/ 145 w 243"/>
                <a:gd name="T15" fmla="*/ 241 h 243"/>
                <a:gd name="T16" fmla="*/ 121 w 243"/>
                <a:gd name="T17" fmla="*/ 243 h 243"/>
                <a:gd name="T18" fmla="*/ 109 w 243"/>
                <a:gd name="T19" fmla="*/ 242 h 243"/>
                <a:gd name="T20" fmla="*/ 85 w 243"/>
                <a:gd name="T21" fmla="*/ 237 h 243"/>
                <a:gd name="T22" fmla="*/ 63 w 243"/>
                <a:gd name="T23" fmla="*/ 228 h 243"/>
                <a:gd name="T24" fmla="*/ 45 w 243"/>
                <a:gd name="T25" fmla="*/ 216 h 243"/>
                <a:gd name="T26" fmla="*/ 27 w 243"/>
                <a:gd name="T27" fmla="*/ 198 h 243"/>
                <a:gd name="T28" fmla="*/ 15 w 243"/>
                <a:gd name="T29" fmla="*/ 179 h 243"/>
                <a:gd name="T30" fmla="*/ 6 w 243"/>
                <a:gd name="T31" fmla="*/ 157 h 243"/>
                <a:gd name="T32" fmla="*/ 0 w 243"/>
                <a:gd name="T33" fmla="*/ 134 h 243"/>
                <a:gd name="T34" fmla="*/ 0 w 243"/>
                <a:gd name="T35" fmla="*/ 122 h 243"/>
                <a:gd name="T36" fmla="*/ 2 w 243"/>
                <a:gd name="T37" fmla="*/ 96 h 243"/>
                <a:gd name="T38" fmla="*/ 9 w 243"/>
                <a:gd name="T39" fmla="*/ 74 h 243"/>
                <a:gd name="T40" fmla="*/ 21 w 243"/>
                <a:gd name="T41" fmla="*/ 53 h 243"/>
                <a:gd name="T42" fmla="*/ 35 w 243"/>
                <a:gd name="T43" fmla="*/ 36 h 243"/>
                <a:gd name="T44" fmla="*/ 54 w 243"/>
                <a:gd name="T45" fmla="*/ 21 h 243"/>
                <a:gd name="T46" fmla="*/ 74 w 243"/>
                <a:gd name="T47" fmla="*/ 9 h 243"/>
                <a:gd name="T48" fmla="*/ 97 w 243"/>
                <a:gd name="T49" fmla="*/ 2 h 243"/>
                <a:gd name="T50" fmla="*/ 121 w 243"/>
                <a:gd name="T51" fmla="*/ 0 h 243"/>
                <a:gd name="T52" fmla="*/ 134 w 243"/>
                <a:gd name="T53" fmla="*/ 0 h 243"/>
                <a:gd name="T54" fmla="*/ 157 w 243"/>
                <a:gd name="T55" fmla="*/ 5 h 243"/>
                <a:gd name="T56" fmla="*/ 179 w 243"/>
                <a:gd name="T57" fmla="*/ 14 h 243"/>
                <a:gd name="T58" fmla="*/ 198 w 243"/>
                <a:gd name="T59" fmla="*/ 28 h 243"/>
                <a:gd name="T60" fmla="*/ 215 w 243"/>
                <a:gd name="T61" fmla="*/ 44 h 243"/>
                <a:gd name="T62" fmla="*/ 228 w 243"/>
                <a:gd name="T63" fmla="*/ 63 h 243"/>
                <a:gd name="T64" fmla="*/ 237 w 243"/>
                <a:gd name="T65" fmla="*/ 85 h 243"/>
                <a:gd name="T66" fmla="*/ 242 w 243"/>
                <a:gd name="T67" fmla="*/ 10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3" h="243">
                  <a:moveTo>
                    <a:pt x="243" y="122"/>
                  </a:moveTo>
                  <a:lnTo>
                    <a:pt x="243" y="122"/>
                  </a:lnTo>
                  <a:lnTo>
                    <a:pt x="242" y="134"/>
                  </a:lnTo>
                  <a:lnTo>
                    <a:pt x="240" y="146"/>
                  </a:lnTo>
                  <a:lnTo>
                    <a:pt x="237" y="157"/>
                  </a:lnTo>
                  <a:lnTo>
                    <a:pt x="234" y="169"/>
                  </a:lnTo>
                  <a:lnTo>
                    <a:pt x="228" y="179"/>
                  </a:lnTo>
                  <a:lnTo>
                    <a:pt x="222" y="189"/>
                  </a:lnTo>
                  <a:lnTo>
                    <a:pt x="215" y="198"/>
                  </a:lnTo>
                  <a:lnTo>
                    <a:pt x="207" y="208"/>
                  </a:lnTo>
                  <a:lnTo>
                    <a:pt x="198" y="216"/>
                  </a:lnTo>
                  <a:lnTo>
                    <a:pt x="189" y="223"/>
                  </a:lnTo>
                  <a:lnTo>
                    <a:pt x="179" y="228"/>
                  </a:lnTo>
                  <a:lnTo>
                    <a:pt x="168" y="233"/>
                  </a:lnTo>
                  <a:lnTo>
                    <a:pt x="157" y="237"/>
                  </a:lnTo>
                  <a:lnTo>
                    <a:pt x="145" y="241"/>
                  </a:lnTo>
                  <a:lnTo>
                    <a:pt x="134" y="242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09" y="242"/>
                  </a:lnTo>
                  <a:lnTo>
                    <a:pt x="97" y="241"/>
                  </a:lnTo>
                  <a:lnTo>
                    <a:pt x="85" y="237"/>
                  </a:lnTo>
                  <a:lnTo>
                    <a:pt x="74" y="233"/>
                  </a:lnTo>
                  <a:lnTo>
                    <a:pt x="63" y="228"/>
                  </a:lnTo>
                  <a:lnTo>
                    <a:pt x="54" y="223"/>
                  </a:lnTo>
                  <a:lnTo>
                    <a:pt x="45" y="216"/>
                  </a:lnTo>
                  <a:lnTo>
                    <a:pt x="35" y="208"/>
                  </a:lnTo>
                  <a:lnTo>
                    <a:pt x="27" y="198"/>
                  </a:lnTo>
                  <a:lnTo>
                    <a:pt x="21" y="189"/>
                  </a:lnTo>
                  <a:lnTo>
                    <a:pt x="15" y="179"/>
                  </a:lnTo>
                  <a:lnTo>
                    <a:pt x="9" y="169"/>
                  </a:lnTo>
                  <a:lnTo>
                    <a:pt x="6" y="157"/>
                  </a:lnTo>
                  <a:lnTo>
                    <a:pt x="2" y="146"/>
                  </a:lnTo>
                  <a:lnTo>
                    <a:pt x="0" y="134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09"/>
                  </a:lnTo>
                  <a:lnTo>
                    <a:pt x="2" y="96"/>
                  </a:lnTo>
                  <a:lnTo>
                    <a:pt x="6" y="85"/>
                  </a:lnTo>
                  <a:lnTo>
                    <a:pt x="9" y="74"/>
                  </a:lnTo>
                  <a:lnTo>
                    <a:pt x="15" y="63"/>
                  </a:lnTo>
                  <a:lnTo>
                    <a:pt x="21" y="53"/>
                  </a:lnTo>
                  <a:lnTo>
                    <a:pt x="27" y="44"/>
                  </a:lnTo>
                  <a:lnTo>
                    <a:pt x="35" y="36"/>
                  </a:lnTo>
                  <a:lnTo>
                    <a:pt x="45" y="28"/>
                  </a:lnTo>
                  <a:lnTo>
                    <a:pt x="54" y="21"/>
                  </a:lnTo>
                  <a:lnTo>
                    <a:pt x="63" y="14"/>
                  </a:lnTo>
                  <a:lnTo>
                    <a:pt x="74" y="9"/>
                  </a:lnTo>
                  <a:lnTo>
                    <a:pt x="85" y="5"/>
                  </a:lnTo>
                  <a:lnTo>
                    <a:pt x="97" y="2"/>
                  </a:lnTo>
                  <a:lnTo>
                    <a:pt x="109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4" y="0"/>
                  </a:lnTo>
                  <a:lnTo>
                    <a:pt x="145" y="2"/>
                  </a:lnTo>
                  <a:lnTo>
                    <a:pt x="157" y="5"/>
                  </a:lnTo>
                  <a:lnTo>
                    <a:pt x="168" y="9"/>
                  </a:lnTo>
                  <a:lnTo>
                    <a:pt x="179" y="14"/>
                  </a:lnTo>
                  <a:lnTo>
                    <a:pt x="189" y="21"/>
                  </a:lnTo>
                  <a:lnTo>
                    <a:pt x="198" y="28"/>
                  </a:lnTo>
                  <a:lnTo>
                    <a:pt x="207" y="36"/>
                  </a:lnTo>
                  <a:lnTo>
                    <a:pt x="215" y="44"/>
                  </a:lnTo>
                  <a:lnTo>
                    <a:pt x="222" y="53"/>
                  </a:lnTo>
                  <a:lnTo>
                    <a:pt x="228" y="63"/>
                  </a:lnTo>
                  <a:lnTo>
                    <a:pt x="234" y="74"/>
                  </a:lnTo>
                  <a:lnTo>
                    <a:pt x="237" y="85"/>
                  </a:lnTo>
                  <a:lnTo>
                    <a:pt x="240" y="96"/>
                  </a:lnTo>
                  <a:lnTo>
                    <a:pt x="242" y="109"/>
                  </a:lnTo>
                  <a:lnTo>
                    <a:pt x="243" y="122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002" y="3418"/>
              <a:ext cx="81" cy="81"/>
            </a:xfrm>
            <a:custGeom>
              <a:avLst/>
              <a:gdLst>
                <a:gd name="T0" fmla="*/ 243 w 243"/>
                <a:gd name="T1" fmla="*/ 122 h 243"/>
                <a:gd name="T2" fmla="*/ 240 w 243"/>
                <a:gd name="T3" fmla="*/ 146 h 243"/>
                <a:gd name="T4" fmla="*/ 234 w 243"/>
                <a:gd name="T5" fmla="*/ 169 h 243"/>
                <a:gd name="T6" fmla="*/ 222 w 243"/>
                <a:gd name="T7" fmla="*/ 189 h 243"/>
                <a:gd name="T8" fmla="*/ 207 w 243"/>
                <a:gd name="T9" fmla="*/ 208 h 243"/>
                <a:gd name="T10" fmla="*/ 189 w 243"/>
                <a:gd name="T11" fmla="*/ 223 h 243"/>
                <a:gd name="T12" fmla="*/ 168 w 243"/>
                <a:gd name="T13" fmla="*/ 233 h 243"/>
                <a:gd name="T14" fmla="*/ 145 w 243"/>
                <a:gd name="T15" fmla="*/ 241 h 243"/>
                <a:gd name="T16" fmla="*/ 121 w 243"/>
                <a:gd name="T17" fmla="*/ 243 h 243"/>
                <a:gd name="T18" fmla="*/ 109 w 243"/>
                <a:gd name="T19" fmla="*/ 242 h 243"/>
                <a:gd name="T20" fmla="*/ 85 w 243"/>
                <a:gd name="T21" fmla="*/ 237 h 243"/>
                <a:gd name="T22" fmla="*/ 63 w 243"/>
                <a:gd name="T23" fmla="*/ 228 h 243"/>
                <a:gd name="T24" fmla="*/ 45 w 243"/>
                <a:gd name="T25" fmla="*/ 216 h 243"/>
                <a:gd name="T26" fmla="*/ 27 w 243"/>
                <a:gd name="T27" fmla="*/ 198 h 243"/>
                <a:gd name="T28" fmla="*/ 15 w 243"/>
                <a:gd name="T29" fmla="*/ 179 h 243"/>
                <a:gd name="T30" fmla="*/ 6 w 243"/>
                <a:gd name="T31" fmla="*/ 157 h 243"/>
                <a:gd name="T32" fmla="*/ 0 w 243"/>
                <a:gd name="T33" fmla="*/ 134 h 243"/>
                <a:gd name="T34" fmla="*/ 0 w 243"/>
                <a:gd name="T35" fmla="*/ 122 h 243"/>
                <a:gd name="T36" fmla="*/ 2 w 243"/>
                <a:gd name="T37" fmla="*/ 96 h 243"/>
                <a:gd name="T38" fmla="*/ 9 w 243"/>
                <a:gd name="T39" fmla="*/ 74 h 243"/>
                <a:gd name="T40" fmla="*/ 21 w 243"/>
                <a:gd name="T41" fmla="*/ 53 h 243"/>
                <a:gd name="T42" fmla="*/ 35 w 243"/>
                <a:gd name="T43" fmla="*/ 36 h 243"/>
                <a:gd name="T44" fmla="*/ 54 w 243"/>
                <a:gd name="T45" fmla="*/ 21 h 243"/>
                <a:gd name="T46" fmla="*/ 74 w 243"/>
                <a:gd name="T47" fmla="*/ 9 h 243"/>
                <a:gd name="T48" fmla="*/ 97 w 243"/>
                <a:gd name="T49" fmla="*/ 2 h 243"/>
                <a:gd name="T50" fmla="*/ 121 w 243"/>
                <a:gd name="T51" fmla="*/ 0 h 243"/>
                <a:gd name="T52" fmla="*/ 134 w 243"/>
                <a:gd name="T53" fmla="*/ 0 h 243"/>
                <a:gd name="T54" fmla="*/ 157 w 243"/>
                <a:gd name="T55" fmla="*/ 5 h 243"/>
                <a:gd name="T56" fmla="*/ 179 w 243"/>
                <a:gd name="T57" fmla="*/ 14 h 243"/>
                <a:gd name="T58" fmla="*/ 198 w 243"/>
                <a:gd name="T59" fmla="*/ 28 h 243"/>
                <a:gd name="T60" fmla="*/ 215 w 243"/>
                <a:gd name="T61" fmla="*/ 44 h 243"/>
                <a:gd name="T62" fmla="*/ 228 w 243"/>
                <a:gd name="T63" fmla="*/ 63 h 243"/>
                <a:gd name="T64" fmla="*/ 237 w 243"/>
                <a:gd name="T65" fmla="*/ 85 h 243"/>
                <a:gd name="T66" fmla="*/ 242 w 243"/>
                <a:gd name="T67" fmla="*/ 10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3" h="243">
                  <a:moveTo>
                    <a:pt x="243" y="122"/>
                  </a:moveTo>
                  <a:lnTo>
                    <a:pt x="243" y="122"/>
                  </a:lnTo>
                  <a:lnTo>
                    <a:pt x="242" y="134"/>
                  </a:lnTo>
                  <a:lnTo>
                    <a:pt x="240" y="146"/>
                  </a:lnTo>
                  <a:lnTo>
                    <a:pt x="237" y="157"/>
                  </a:lnTo>
                  <a:lnTo>
                    <a:pt x="234" y="169"/>
                  </a:lnTo>
                  <a:lnTo>
                    <a:pt x="228" y="179"/>
                  </a:lnTo>
                  <a:lnTo>
                    <a:pt x="222" y="189"/>
                  </a:lnTo>
                  <a:lnTo>
                    <a:pt x="215" y="198"/>
                  </a:lnTo>
                  <a:lnTo>
                    <a:pt x="207" y="208"/>
                  </a:lnTo>
                  <a:lnTo>
                    <a:pt x="198" y="216"/>
                  </a:lnTo>
                  <a:lnTo>
                    <a:pt x="189" y="223"/>
                  </a:lnTo>
                  <a:lnTo>
                    <a:pt x="179" y="228"/>
                  </a:lnTo>
                  <a:lnTo>
                    <a:pt x="168" y="233"/>
                  </a:lnTo>
                  <a:lnTo>
                    <a:pt x="157" y="237"/>
                  </a:lnTo>
                  <a:lnTo>
                    <a:pt x="145" y="241"/>
                  </a:lnTo>
                  <a:lnTo>
                    <a:pt x="134" y="242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09" y="242"/>
                  </a:lnTo>
                  <a:lnTo>
                    <a:pt x="97" y="241"/>
                  </a:lnTo>
                  <a:lnTo>
                    <a:pt x="85" y="237"/>
                  </a:lnTo>
                  <a:lnTo>
                    <a:pt x="74" y="233"/>
                  </a:lnTo>
                  <a:lnTo>
                    <a:pt x="63" y="228"/>
                  </a:lnTo>
                  <a:lnTo>
                    <a:pt x="54" y="223"/>
                  </a:lnTo>
                  <a:lnTo>
                    <a:pt x="45" y="216"/>
                  </a:lnTo>
                  <a:lnTo>
                    <a:pt x="35" y="208"/>
                  </a:lnTo>
                  <a:lnTo>
                    <a:pt x="27" y="198"/>
                  </a:lnTo>
                  <a:lnTo>
                    <a:pt x="21" y="189"/>
                  </a:lnTo>
                  <a:lnTo>
                    <a:pt x="15" y="179"/>
                  </a:lnTo>
                  <a:lnTo>
                    <a:pt x="9" y="169"/>
                  </a:lnTo>
                  <a:lnTo>
                    <a:pt x="6" y="157"/>
                  </a:lnTo>
                  <a:lnTo>
                    <a:pt x="2" y="146"/>
                  </a:lnTo>
                  <a:lnTo>
                    <a:pt x="0" y="134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09"/>
                  </a:lnTo>
                  <a:lnTo>
                    <a:pt x="2" y="96"/>
                  </a:lnTo>
                  <a:lnTo>
                    <a:pt x="6" y="85"/>
                  </a:lnTo>
                  <a:lnTo>
                    <a:pt x="9" y="74"/>
                  </a:lnTo>
                  <a:lnTo>
                    <a:pt x="15" y="63"/>
                  </a:lnTo>
                  <a:lnTo>
                    <a:pt x="21" y="53"/>
                  </a:lnTo>
                  <a:lnTo>
                    <a:pt x="27" y="44"/>
                  </a:lnTo>
                  <a:lnTo>
                    <a:pt x="35" y="36"/>
                  </a:lnTo>
                  <a:lnTo>
                    <a:pt x="45" y="28"/>
                  </a:lnTo>
                  <a:lnTo>
                    <a:pt x="54" y="21"/>
                  </a:lnTo>
                  <a:lnTo>
                    <a:pt x="63" y="14"/>
                  </a:lnTo>
                  <a:lnTo>
                    <a:pt x="74" y="9"/>
                  </a:lnTo>
                  <a:lnTo>
                    <a:pt x="85" y="5"/>
                  </a:lnTo>
                  <a:lnTo>
                    <a:pt x="97" y="2"/>
                  </a:lnTo>
                  <a:lnTo>
                    <a:pt x="109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4" y="0"/>
                  </a:lnTo>
                  <a:lnTo>
                    <a:pt x="145" y="2"/>
                  </a:lnTo>
                  <a:lnTo>
                    <a:pt x="157" y="5"/>
                  </a:lnTo>
                  <a:lnTo>
                    <a:pt x="168" y="9"/>
                  </a:lnTo>
                  <a:lnTo>
                    <a:pt x="179" y="14"/>
                  </a:lnTo>
                  <a:lnTo>
                    <a:pt x="189" y="21"/>
                  </a:lnTo>
                  <a:lnTo>
                    <a:pt x="198" y="28"/>
                  </a:lnTo>
                  <a:lnTo>
                    <a:pt x="207" y="36"/>
                  </a:lnTo>
                  <a:lnTo>
                    <a:pt x="215" y="44"/>
                  </a:lnTo>
                  <a:lnTo>
                    <a:pt x="222" y="53"/>
                  </a:lnTo>
                  <a:lnTo>
                    <a:pt x="228" y="63"/>
                  </a:lnTo>
                  <a:lnTo>
                    <a:pt x="234" y="74"/>
                  </a:lnTo>
                  <a:lnTo>
                    <a:pt x="237" y="85"/>
                  </a:lnTo>
                  <a:lnTo>
                    <a:pt x="240" y="96"/>
                  </a:lnTo>
                  <a:lnTo>
                    <a:pt x="242" y="109"/>
                  </a:lnTo>
                  <a:lnTo>
                    <a:pt x="24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 noEditPoints="1"/>
            </p:cNvSpPr>
            <p:nvPr userDrawn="1"/>
          </p:nvSpPr>
          <p:spPr bwMode="auto">
            <a:xfrm>
              <a:off x="488" y="3752"/>
              <a:ext cx="42" cy="64"/>
            </a:xfrm>
            <a:custGeom>
              <a:avLst/>
              <a:gdLst>
                <a:gd name="T0" fmla="*/ 96 w 126"/>
                <a:gd name="T1" fmla="*/ 82 h 192"/>
                <a:gd name="T2" fmla="*/ 106 w 126"/>
                <a:gd name="T3" fmla="*/ 90 h 192"/>
                <a:gd name="T4" fmla="*/ 117 w 126"/>
                <a:gd name="T5" fmla="*/ 100 h 192"/>
                <a:gd name="T6" fmla="*/ 122 w 126"/>
                <a:gd name="T7" fmla="*/ 115 h 192"/>
                <a:gd name="T8" fmla="*/ 126 w 126"/>
                <a:gd name="T9" fmla="*/ 131 h 192"/>
                <a:gd name="T10" fmla="*/ 125 w 126"/>
                <a:gd name="T11" fmla="*/ 144 h 192"/>
                <a:gd name="T12" fmla="*/ 114 w 126"/>
                <a:gd name="T13" fmla="*/ 166 h 192"/>
                <a:gd name="T14" fmla="*/ 98 w 126"/>
                <a:gd name="T15" fmla="*/ 182 h 192"/>
                <a:gd name="T16" fmla="*/ 77 w 126"/>
                <a:gd name="T17" fmla="*/ 191 h 192"/>
                <a:gd name="T18" fmla="*/ 0 w 126"/>
                <a:gd name="T19" fmla="*/ 192 h 192"/>
                <a:gd name="T20" fmla="*/ 63 w 126"/>
                <a:gd name="T21" fmla="*/ 0 h 192"/>
                <a:gd name="T22" fmla="*/ 74 w 126"/>
                <a:gd name="T23" fmla="*/ 1 h 192"/>
                <a:gd name="T24" fmla="*/ 93 w 126"/>
                <a:gd name="T25" fmla="*/ 8 h 192"/>
                <a:gd name="T26" fmla="*/ 106 w 126"/>
                <a:gd name="T27" fmla="*/ 21 h 192"/>
                <a:gd name="T28" fmla="*/ 113 w 126"/>
                <a:gd name="T29" fmla="*/ 39 h 192"/>
                <a:gd name="T30" fmla="*/ 113 w 126"/>
                <a:gd name="T31" fmla="*/ 50 h 192"/>
                <a:gd name="T32" fmla="*/ 112 w 126"/>
                <a:gd name="T33" fmla="*/ 60 h 192"/>
                <a:gd name="T34" fmla="*/ 103 w 126"/>
                <a:gd name="T35" fmla="*/ 78 h 192"/>
                <a:gd name="T36" fmla="*/ 96 w 126"/>
                <a:gd name="T37" fmla="*/ 82 h 192"/>
                <a:gd name="T38" fmla="*/ 63 w 126"/>
                <a:gd name="T39" fmla="*/ 71 h 192"/>
                <a:gd name="T40" fmla="*/ 68 w 126"/>
                <a:gd name="T41" fmla="*/ 69 h 192"/>
                <a:gd name="T42" fmla="*/ 76 w 126"/>
                <a:gd name="T43" fmla="*/ 67 h 192"/>
                <a:gd name="T44" fmla="*/ 80 w 126"/>
                <a:gd name="T45" fmla="*/ 61 h 192"/>
                <a:gd name="T46" fmla="*/ 84 w 126"/>
                <a:gd name="T47" fmla="*/ 55 h 192"/>
                <a:gd name="T48" fmla="*/ 84 w 126"/>
                <a:gd name="T49" fmla="*/ 50 h 192"/>
                <a:gd name="T50" fmla="*/ 82 w 126"/>
                <a:gd name="T51" fmla="*/ 41 h 192"/>
                <a:gd name="T52" fmla="*/ 78 w 126"/>
                <a:gd name="T53" fmla="*/ 35 h 192"/>
                <a:gd name="T54" fmla="*/ 71 w 126"/>
                <a:gd name="T55" fmla="*/ 31 h 192"/>
                <a:gd name="T56" fmla="*/ 63 w 126"/>
                <a:gd name="T57" fmla="*/ 29 h 192"/>
                <a:gd name="T58" fmla="*/ 31 w 126"/>
                <a:gd name="T59" fmla="*/ 71 h 192"/>
                <a:gd name="T60" fmla="*/ 63 w 126"/>
                <a:gd name="T61" fmla="*/ 163 h 192"/>
                <a:gd name="T62" fmla="*/ 70 w 126"/>
                <a:gd name="T63" fmla="*/ 162 h 192"/>
                <a:gd name="T64" fmla="*/ 81 w 126"/>
                <a:gd name="T65" fmla="*/ 158 h 192"/>
                <a:gd name="T66" fmla="*/ 90 w 126"/>
                <a:gd name="T67" fmla="*/ 150 h 192"/>
                <a:gd name="T68" fmla="*/ 94 w 126"/>
                <a:gd name="T69" fmla="*/ 138 h 192"/>
                <a:gd name="T70" fmla="*/ 95 w 126"/>
                <a:gd name="T71" fmla="*/ 131 h 192"/>
                <a:gd name="T72" fmla="*/ 93 w 126"/>
                <a:gd name="T73" fmla="*/ 119 h 192"/>
                <a:gd name="T74" fmla="*/ 86 w 126"/>
                <a:gd name="T75" fmla="*/ 108 h 192"/>
                <a:gd name="T76" fmla="*/ 77 w 126"/>
                <a:gd name="T77" fmla="*/ 102 h 192"/>
                <a:gd name="T78" fmla="*/ 63 w 126"/>
                <a:gd name="T79" fmla="*/ 99 h 192"/>
                <a:gd name="T80" fmla="*/ 31 w 126"/>
                <a:gd name="T81" fmla="*/ 16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92">
                  <a:moveTo>
                    <a:pt x="96" y="82"/>
                  </a:moveTo>
                  <a:lnTo>
                    <a:pt x="96" y="82"/>
                  </a:lnTo>
                  <a:lnTo>
                    <a:pt x="102" y="86"/>
                  </a:lnTo>
                  <a:lnTo>
                    <a:pt x="106" y="90"/>
                  </a:lnTo>
                  <a:lnTo>
                    <a:pt x="112" y="95"/>
                  </a:lnTo>
                  <a:lnTo>
                    <a:pt x="117" y="100"/>
                  </a:lnTo>
                  <a:lnTo>
                    <a:pt x="120" y="107"/>
                  </a:lnTo>
                  <a:lnTo>
                    <a:pt x="122" y="115"/>
                  </a:lnTo>
                  <a:lnTo>
                    <a:pt x="125" y="122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5" y="144"/>
                  </a:lnTo>
                  <a:lnTo>
                    <a:pt x="120" y="155"/>
                  </a:lnTo>
                  <a:lnTo>
                    <a:pt x="114" y="166"/>
                  </a:lnTo>
                  <a:lnTo>
                    <a:pt x="108" y="175"/>
                  </a:lnTo>
                  <a:lnTo>
                    <a:pt x="98" y="182"/>
                  </a:lnTo>
                  <a:lnTo>
                    <a:pt x="88" y="188"/>
                  </a:lnTo>
                  <a:lnTo>
                    <a:pt x="77" y="191"/>
                  </a:lnTo>
                  <a:lnTo>
                    <a:pt x="64" y="192"/>
                  </a:lnTo>
                  <a:lnTo>
                    <a:pt x="0" y="192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74" y="1"/>
                  </a:lnTo>
                  <a:lnTo>
                    <a:pt x="84" y="3"/>
                  </a:lnTo>
                  <a:lnTo>
                    <a:pt x="93" y="8"/>
                  </a:lnTo>
                  <a:lnTo>
                    <a:pt x="100" y="13"/>
                  </a:lnTo>
                  <a:lnTo>
                    <a:pt x="106" y="21"/>
                  </a:lnTo>
                  <a:lnTo>
                    <a:pt x="110" y="29"/>
                  </a:lnTo>
                  <a:lnTo>
                    <a:pt x="113" y="39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6"/>
                  </a:lnTo>
                  <a:lnTo>
                    <a:pt x="112" y="60"/>
                  </a:lnTo>
                  <a:lnTo>
                    <a:pt x="109" y="69"/>
                  </a:lnTo>
                  <a:lnTo>
                    <a:pt x="103" y="78"/>
                  </a:lnTo>
                  <a:lnTo>
                    <a:pt x="96" y="82"/>
                  </a:lnTo>
                  <a:lnTo>
                    <a:pt x="96" y="82"/>
                  </a:lnTo>
                  <a:close/>
                  <a:moveTo>
                    <a:pt x="31" y="71"/>
                  </a:moveTo>
                  <a:lnTo>
                    <a:pt x="63" y="71"/>
                  </a:lnTo>
                  <a:lnTo>
                    <a:pt x="63" y="71"/>
                  </a:lnTo>
                  <a:lnTo>
                    <a:pt x="68" y="69"/>
                  </a:lnTo>
                  <a:lnTo>
                    <a:pt x="71" y="68"/>
                  </a:lnTo>
                  <a:lnTo>
                    <a:pt x="76" y="67"/>
                  </a:lnTo>
                  <a:lnTo>
                    <a:pt x="78" y="65"/>
                  </a:lnTo>
                  <a:lnTo>
                    <a:pt x="80" y="61"/>
                  </a:lnTo>
                  <a:lnTo>
                    <a:pt x="82" y="58"/>
                  </a:lnTo>
                  <a:lnTo>
                    <a:pt x="84" y="55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45"/>
                  </a:lnTo>
                  <a:lnTo>
                    <a:pt x="82" y="41"/>
                  </a:lnTo>
                  <a:lnTo>
                    <a:pt x="80" y="37"/>
                  </a:lnTo>
                  <a:lnTo>
                    <a:pt x="78" y="35"/>
                  </a:lnTo>
                  <a:lnTo>
                    <a:pt x="76" y="32"/>
                  </a:lnTo>
                  <a:lnTo>
                    <a:pt x="71" y="31"/>
                  </a:lnTo>
                  <a:lnTo>
                    <a:pt x="68" y="29"/>
                  </a:lnTo>
                  <a:lnTo>
                    <a:pt x="63" y="29"/>
                  </a:lnTo>
                  <a:lnTo>
                    <a:pt x="31" y="29"/>
                  </a:lnTo>
                  <a:lnTo>
                    <a:pt x="31" y="71"/>
                  </a:lnTo>
                  <a:close/>
                  <a:moveTo>
                    <a:pt x="31" y="163"/>
                  </a:moveTo>
                  <a:lnTo>
                    <a:pt x="63" y="163"/>
                  </a:lnTo>
                  <a:lnTo>
                    <a:pt x="63" y="163"/>
                  </a:lnTo>
                  <a:lnTo>
                    <a:pt x="70" y="162"/>
                  </a:lnTo>
                  <a:lnTo>
                    <a:pt x="77" y="161"/>
                  </a:lnTo>
                  <a:lnTo>
                    <a:pt x="81" y="158"/>
                  </a:lnTo>
                  <a:lnTo>
                    <a:pt x="86" y="154"/>
                  </a:lnTo>
                  <a:lnTo>
                    <a:pt x="90" y="150"/>
                  </a:lnTo>
                  <a:lnTo>
                    <a:pt x="93" y="144"/>
                  </a:lnTo>
                  <a:lnTo>
                    <a:pt x="94" y="138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4" y="124"/>
                  </a:lnTo>
                  <a:lnTo>
                    <a:pt x="93" y="119"/>
                  </a:lnTo>
                  <a:lnTo>
                    <a:pt x="90" y="113"/>
                  </a:lnTo>
                  <a:lnTo>
                    <a:pt x="86" y="108"/>
                  </a:lnTo>
                  <a:lnTo>
                    <a:pt x="81" y="104"/>
                  </a:lnTo>
                  <a:lnTo>
                    <a:pt x="77" y="102"/>
                  </a:lnTo>
                  <a:lnTo>
                    <a:pt x="70" y="100"/>
                  </a:lnTo>
                  <a:lnTo>
                    <a:pt x="63" y="99"/>
                  </a:lnTo>
                  <a:lnTo>
                    <a:pt x="31" y="99"/>
                  </a:lnTo>
                  <a:lnTo>
                    <a:pt x="31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538" y="3769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2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82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594" y="3750"/>
              <a:ext cx="10" cy="66"/>
            </a:xfrm>
            <a:custGeom>
              <a:avLst/>
              <a:gdLst>
                <a:gd name="T0" fmla="*/ 0 w 31"/>
                <a:gd name="T1" fmla="*/ 4 h 196"/>
                <a:gd name="T2" fmla="*/ 31 w 31"/>
                <a:gd name="T3" fmla="*/ 0 h 196"/>
                <a:gd name="T4" fmla="*/ 31 w 31"/>
                <a:gd name="T5" fmla="*/ 196 h 196"/>
                <a:gd name="T6" fmla="*/ 0 w 31"/>
                <a:gd name="T7" fmla="*/ 196 h 196"/>
                <a:gd name="T8" fmla="*/ 0 w 31"/>
                <a:gd name="T9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6">
                  <a:moveTo>
                    <a:pt x="0" y="4"/>
                  </a:moveTo>
                  <a:lnTo>
                    <a:pt x="31" y="0"/>
                  </a:lnTo>
                  <a:lnTo>
                    <a:pt x="31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 noEditPoints="1"/>
            </p:cNvSpPr>
            <p:nvPr userDrawn="1"/>
          </p:nvSpPr>
          <p:spPr bwMode="auto">
            <a:xfrm>
              <a:off x="612" y="3769"/>
              <a:ext cx="43" cy="70"/>
            </a:xfrm>
            <a:custGeom>
              <a:avLst/>
              <a:gdLst>
                <a:gd name="T0" fmla="*/ 70 w 129"/>
                <a:gd name="T1" fmla="*/ 0 h 209"/>
                <a:gd name="T2" fmla="*/ 91 w 129"/>
                <a:gd name="T3" fmla="*/ 8 h 209"/>
                <a:gd name="T4" fmla="*/ 121 w 129"/>
                <a:gd name="T5" fmla="*/ 55 h 209"/>
                <a:gd name="T6" fmla="*/ 116 w 129"/>
                <a:gd name="T7" fmla="*/ 78 h 209"/>
                <a:gd name="T8" fmla="*/ 102 w 129"/>
                <a:gd name="T9" fmla="*/ 96 h 209"/>
                <a:gd name="T10" fmla="*/ 117 w 129"/>
                <a:gd name="T11" fmla="*/ 112 h 209"/>
                <a:gd name="T12" fmla="*/ 126 w 129"/>
                <a:gd name="T13" fmla="*/ 131 h 209"/>
                <a:gd name="T14" fmla="*/ 129 w 129"/>
                <a:gd name="T15" fmla="*/ 146 h 209"/>
                <a:gd name="T16" fmla="*/ 117 w 129"/>
                <a:gd name="T17" fmla="*/ 183 h 209"/>
                <a:gd name="T18" fmla="*/ 90 w 129"/>
                <a:gd name="T19" fmla="*/ 204 h 209"/>
                <a:gd name="T20" fmla="*/ 65 w 129"/>
                <a:gd name="T21" fmla="*/ 209 h 209"/>
                <a:gd name="T22" fmla="*/ 30 w 129"/>
                <a:gd name="T23" fmla="*/ 201 h 209"/>
                <a:gd name="T24" fmla="*/ 8 w 129"/>
                <a:gd name="T25" fmla="*/ 178 h 209"/>
                <a:gd name="T26" fmla="*/ 31 w 129"/>
                <a:gd name="T27" fmla="*/ 157 h 209"/>
                <a:gd name="T28" fmla="*/ 36 w 129"/>
                <a:gd name="T29" fmla="*/ 167 h 209"/>
                <a:gd name="T30" fmla="*/ 46 w 129"/>
                <a:gd name="T31" fmla="*/ 177 h 209"/>
                <a:gd name="T32" fmla="*/ 65 w 129"/>
                <a:gd name="T33" fmla="*/ 180 h 209"/>
                <a:gd name="T34" fmla="*/ 78 w 129"/>
                <a:gd name="T35" fmla="*/ 178 h 209"/>
                <a:gd name="T36" fmla="*/ 92 w 129"/>
                <a:gd name="T37" fmla="*/ 167 h 209"/>
                <a:gd name="T38" fmla="*/ 98 w 129"/>
                <a:gd name="T39" fmla="*/ 146 h 209"/>
                <a:gd name="T40" fmla="*/ 95 w 129"/>
                <a:gd name="T41" fmla="*/ 132 h 209"/>
                <a:gd name="T42" fmla="*/ 84 w 129"/>
                <a:gd name="T43" fmla="*/ 117 h 209"/>
                <a:gd name="T44" fmla="*/ 65 w 129"/>
                <a:gd name="T45" fmla="*/ 112 h 209"/>
                <a:gd name="T46" fmla="*/ 54 w 129"/>
                <a:gd name="T47" fmla="*/ 113 h 209"/>
                <a:gd name="T48" fmla="*/ 34 w 129"/>
                <a:gd name="T49" fmla="*/ 130 h 209"/>
                <a:gd name="T50" fmla="*/ 18 w 129"/>
                <a:gd name="T51" fmla="*/ 101 h 209"/>
                <a:gd name="T52" fmla="*/ 18 w 129"/>
                <a:gd name="T53" fmla="*/ 88 h 209"/>
                <a:gd name="T54" fmla="*/ 7 w 129"/>
                <a:gd name="T55" fmla="*/ 55 h 209"/>
                <a:gd name="T56" fmla="*/ 11 w 129"/>
                <a:gd name="T57" fmla="*/ 34 h 209"/>
                <a:gd name="T58" fmla="*/ 30 w 129"/>
                <a:gd name="T59" fmla="*/ 10 h 209"/>
                <a:gd name="T60" fmla="*/ 62 w 129"/>
                <a:gd name="T61" fmla="*/ 0 h 209"/>
                <a:gd name="T62" fmla="*/ 65 w 129"/>
                <a:gd name="T63" fmla="*/ 83 h 209"/>
                <a:gd name="T64" fmla="*/ 79 w 129"/>
                <a:gd name="T65" fmla="*/ 78 h 209"/>
                <a:gd name="T66" fmla="*/ 89 w 129"/>
                <a:gd name="T67" fmla="*/ 67 h 209"/>
                <a:gd name="T68" fmla="*/ 91 w 129"/>
                <a:gd name="T69" fmla="*/ 55 h 209"/>
                <a:gd name="T70" fmla="*/ 86 w 129"/>
                <a:gd name="T71" fmla="*/ 41 h 209"/>
                <a:gd name="T72" fmla="*/ 75 w 129"/>
                <a:gd name="T73" fmla="*/ 30 h 209"/>
                <a:gd name="T74" fmla="*/ 65 w 129"/>
                <a:gd name="T75" fmla="*/ 29 h 209"/>
                <a:gd name="T76" fmla="*/ 49 w 129"/>
                <a:gd name="T77" fmla="*/ 33 h 209"/>
                <a:gd name="T78" fmla="*/ 39 w 129"/>
                <a:gd name="T79" fmla="*/ 45 h 209"/>
                <a:gd name="T80" fmla="*/ 37 w 129"/>
                <a:gd name="T81" fmla="*/ 55 h 209"/>
                <a:gd name="T82" fmla="*/ 42 w 129"/>
                <a:gd name="T83" fmla="*/ 71 h 209"/>
                <a:gd name="T84" fmla="*/ 53 w 129"/>
                <a:gd name="T85" fmla="*/ 81 h 209"/>
                <a:gd name="T86" fmla="*/ 65 w 129"/>
                <a:gd name="T87" fmla="*/ 8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9" h="209">
                  <a:moveTo>
                    <a:pt x="62" y="0"/>
                  </a:moveTo>
                  <a:lnTo>
                    <a:pt x="62" y="0"/>
                  </a:lnTo>
                  <a:lnTo>
                    <a:pt x="70" y="0"/>
                  </a:lnTo>
                  <a:lnTo>
                    <a:pt x="77" y="2"/>
                  </a:lnTo>
                  <a:lnTo>
                    <a:pt x="84" y="5"/>
                  </a:lnTo>
                  <a:lnTo>
                    <a:pt x="91" y="8"/>
                  </a:lnTo>
                  <a:lnTo>
                    <a:pt x="91" y="2"/>
                  </a:lnTo>
                  <a:lnTo>
                    <a:pt x="121" y="2"/>
                  </a:lnTo>
                  <a:lnTo>
                    <a:pt x="121" y="55"/>
                  </a:lnTo>
                  <a:lnTo>
                    <a:pt x="121" y="55"/>
                  </a:lnTo>
                  <a:lnTo>
                    <a:pt x="120" y="68"/>
                  </a:lnTo>
                  <a:lnTo>
                    <a:pt x="116" y="78"/>
                  </a:lnTo>
                  <a:lnTo>
                    <a:pt x="110" y="88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08" y="100"/>
                  </a:lnTo>
                  <a:lnTo>
                    <a:pt x="113" y="106"/>
                  </a:lnTo>
                  <a:lnTo>
                    <a:pt x="117" y="112"/>
                  </a:lnTo>
                  <a:lnTo>
                    <a:pt x="122" y="117"/>
                  </a:lnTo>
                  <a:lnTo>
                    <a:pt x="124" y="124"/>
                  </a:lnTo>
                  <a:lnTo>
                    <a:pt x="126" y="131"/>
                  </a:lnTo>
                  <a:lnTo>
                    <a:pt x="128" y="138"/>
                  </a:lnTo>
                  <a:lnTo>
                    <a:pt x="129" y="146"/>
                  </a:lnTo>
                  <a:lnTo>
                    <a:pt x="129" y="146"/>
                  </a:lnTo>
                  <a:lnTo>
                    <a:pt x="126" y="160"/>
                  </a:lnTo>
                  <a:lnTo>
                    <a:pt x="123" y="172"/>
                  </a:lnTo>
                  <a:lnTo>
                    <a:pt x="117" y="183"/>
                  </a:lnTo>
                  <a:lnTo>
                    <a:pt x="109" y="192"/>
                  </a:lnTo>
                  <a:lnTo>
                    <a:pt x="100" y="200"/>
                  </a:lnTo>
                  <a:lnTo>
                    <a:pt x="90" y="204"/>
                  </a:lnTo>
                  <a:lnTo>
                    <a:pt x="77" y="208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52" y="208"/>
                  </a:lnTo>
                  <a:lnTo>
                    <a:pt x="40" y="206"/>
                  </a:lnTo>
                  <a:lnTo>
                    <a:pt x="30" y="201"/>
                  </a:lnTo>
                  <a:lnTo>
                    <a:pt x="21" y="195"/>
                  </a:lnTo>
                  <a:lnTo>
                    <a:pt x="14" y="187"/>
                  </a:lnTo>
                  <a:lnTo>
                    <a:pt x="8" y="178"/>
                  </a:lnTo>
                  <a:lnTo>
                    <a:pt x="3" y="168"/>
                  </a:lnTo>
                  <a:lnTo>
                    <a:pt x="0" y="157"/>
                  </a:lnTo>
                  <a:lnTo>
                    <a:pt x="31" y="157"/>
                  </a:lnTo>
                  <a:lnTo>
                    <a:pt x="31" y="157"/>
                  </a:lnTo>
                  <a:lnTo>
                    <a:pt x="34" y="162"/>
                  </a:lnTo>
                  <a:lnTo>
                    <a:pt x="36" y="167"/>
                  </a:lnTo>
                  <a:lnTo>
                    <a:pt x="39" y="170"/>
                  </a:lnTo>
                  <a:lnTo>
                    <a:pt x="43" y="173"/>
                  </a:lnTo>
                  <a:lnTo>
                    <a:pt x="46" y="177"/>
                  </a:lnTo>
                  <a:lnTo>
                    <a:pt x="52" y="179"/>
                  </a:lnTo>
                  <a:lnTo>
                    <a:pt x="58" y="180"/>
                  </a:lnTo>
                  <a:lnTo>
                    <a:pt x="65" y="180"/>
                  </a:lnTo>
                  <a:lnTo>
                    <a:pt x="65" y="180"/>
                  </a:lnTo>
                  <a:lnTo>
                    <a:pt x="71" y="180"/>
                  </a:lnTo>
                  <a:lnTo>
                    <a:pt x="78" y="178"/>
                  </a:lnTo>
                  <a:lnTo>
                    <a:pt x="84" y="176"/>
                  </a:lnTo>
                  <a:lnTo>
                    <a:pt x="89" y="171"/>
                  </a:lnTo>
                  <a:lnTo>
                    <a:pt x="92" y="167"/>
                  </a:lnTo>
                  <a:lnTo>
                    <a:pt x="95" y="160"/>
                  </a:lnTo>
                  <a:lnTo>
                    <a:pt x="97" y="153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7" y="139"/>
                  </a:lnTo>
                  <a:lnTo>
                    <a:pt x="95" y="132"/>
                  </a:lnTo>
                  <a:lnTo>
                    <a:pt x="92" y="126"/>
                  </a:lnTo>
                  <a:lnTo>
                    <a:pt x="89" y="121"/>
                  </a:lnTo>
                  <a:lnTo>
                    <a:pt x="84" y="117"/>
                  </a:lnTo>
                  <a:lnTo>
                    <a:pt x="78" y="114"/>
                  </a:lnTo>
                  <a:lnTo>
                    <a:pt x="71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59" y="112"/>
                  </a:lnTo>
                  <a:lnTo>
                    <a:pt x="54" y="113"/>
                  </a:lnTo>
                  <a:lnTo>
                    <a:pt x="46" y="116"/>
                  </a:lnTo>
                  <a:lnTo>
                    <a:pt x="39" y="122"/>
                  </a:lnTo>
                  <a:lnTo>
                    <a:pt x="34" y="13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8" y="101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18" y="88"/>
                  </a:lnTo>
                  <a:lnTo>
                    <a:pt x="12" y="78"/>
                  </a:lnTo>
                  <a:lnTo>
                    <a:pt x="8" y="68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45"/>
                  </a:lnTo>
                  <a:lnTo>
                    <a:pt x="11" y="34"/>
                  </a:lnTo>
                  <a:lnTo>
                    <a:pt x="16" y="25"/>
                  </a:lnTo>
                  <a:lnTo>
                    <a:pt x="22" y="16"/>
                  </a:lnTo>
                  <a:lnTo>
                    <a:pt x="30" y="10"/>
                  </a:lnTo>
                  <a:lnTo>
                    <a:pt x="40" y="5"/>
                  </a:lnTo>
                  <a:lnTo>
                    <a:pt x="51" y="2"/>
                  </a:lnTo>
                  <a:lnTo>
                    <a:pt x="62" y="0"/>
                  </a:lnTo>
                  <a:lnTo>
                    <a:pt x="62" y="0"/>
                  </a:lnTo>
                  <a:close/>
                  <a:moveTo>
                    <a:pt x="65" y="83"/>
                  </a:moveTo>
                  <a:lnTo>
                    <a:pt x="65" y="83"/>
                  </a:lnTo>
                  <a:lnTo>
                    <a:pt x="69" y="82"/>
                  </a:lnTo>
                  <a:lnTo>
                    <a:pt x="75" y="81"/>
                  </a:lnTo>
                  <a:lnTo>
                    <a:pt x="79" y="78"/>
                  </a:lnTo>
                  <a:lnTo>
                    <a:pt x="83" y="75"/>
                  </a:lnTo>
                  <a:lnTo>
                    <a:pt x="86" y="71"/>
                  </a:lnTo>
                  <a:lnTo>
                    <a:pt x="89" y="67"/>
                  </a:lnTo>
                  <a:lnTo>
                    <a:pt x="90" y="62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90" y="50"/>
                  </a:lnTo>
                  <a:lnTo>
                    <a:pt x="89" y="45"/>
                  </a:lnTo>
                  <a:lnTo>
                    <a:pt x="86" y="41"/>
                  </a:lnTo>
                  <a:lnTo>
                    <a:pt x="83" y="36"/>
                  </a:lnTo>
                  <a:lnTo>
                    <a:pt x="79" y="33"/>
                  </a:lnTo>
                  <a:lnTo>
                    <a:pt x="75" y="30"/>
                  </a:lnTo>
                  <a:lnTo>
                    <a:pt x="69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59" y="29"/>
                  </a:lnTo>
                  <a:lnTo>
                    <a:pt x="53" y="30"/>
                  </a:lnTo>
                  <a:lnTo>
                    <a:pt x="49" y="33"/>
                  </a:lnTo>
                  <a:lnTo>
                    <a:pt x="45" y="36"/>
                  </a:lnTo>
                  <a:lnTo>
                    <a:pt x="42" y="41"/>
                  </a:lnTo>
                  <a:lnTo>
                    <a:pt x="39" y="45"/>
                  </a:lnTo>
                  <a:lnTo>
                    <a:pt x="38" y="50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8" y="62"/>
                  </a:lnTo>
                  <a:lnTo>
                    <a:pt x="39" y="67"/>
                  </a:lnTo>
                  <a:lnTo>
                    <a:pt x="42" y="71"/>
                  </a:lnTo>
                  <a:lnTo>
                    <a:pt x="45" y="75"/>
                  </a:lnTo>
                  <a:lnTo>
                    <a:pt x="49" y="78"/>
                  </a:lnTo>
                  <a:lnTo>
                    <a:pt x="53" y="81"/>
                  </a:lnTo>
                  <a:lnTo>
                    <a:pt x="59" y="82"/>
                  </a:lnTo>
                  <a:lnTo>
                    <a:pt x="65" y="83"/>
                  </a:lnTo>
                  <a:lnTo>
                    <a:pt x="65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 noEditPoints="1"/>
            </p:cNvSpPr>
            <p:nvPr userDrawn="1"/>
          </p:nvSpPr>
          <p:spPr bwMode="auto">
            <a:xfrm>
              <a:off x="664" y="3751"/>
              <a:ext cx="13" cy="65"/>
            </a:xfrm>
            <a:custGeom>
              <a:avLst/>
              <a:gdLst>
                <a:gd name="T0" fmla="*/ 21 w 40"/>
                <a:gd name="T1" fmla="*/ 0 h 194"/>
                <a:gd name="T2" fmla="*/ 21 w 40"/>
                <a:gd name="T3" fmla="*/ 0 h 194"/>
                <a:gd name="T4" fmla="*/ 24 w 40"/>
                <a:gd name="T5" fmla="*/ 0 h 194"/>
                <a:gd name="T6" fmla="*/ 28 w 40"/>
                <a:gd name="T7" fmla="*/ 2 h 194"/>
                <a:gd name="T8" fmla="*/ 31 w 40"/>
                <a:gd name="T9" fmla="*/ 4 h 194"/>
                <a:gd name="T10" fmla="*/ 34 w 40"/>
                <a:gd name="T11" fmla="*/ 6 h 194"/>
                <a:gd name="T12" fmla="*/ 37 w 40"/>
                <a:gd name="T13" fmla="*/ 10 h 194"/>
                <a:gd name="T14" fmla="*/ 39 w 40"/>
                <a:gd name="T15" fmla="*/ 13 h 194"/>
                <a:gd name="T16" fmla="*/ 40 w 40"/>
                <a:gd name="T17" fmla="*/ 16 h 194"/>
                <a:gd name="T18" fmla="*/ 40 w 40"/>
                <a:gd name="T19" fmla="*/ 21 h 194"/>
                <a:gd name="T20" fmla="*/ 40 w 40"/>
                <a:gd name="T21" fmla="*/ 21 h 194"/>
                <a:gd name="T22" fmla="*/ 40 w 40"/>
                <a:gd name="T23" fmla="*/ 26 h 194"/>
                <a:gd name="T24" fmla="*/ 39 w 40"/>
                <a:gd name="T25" fmla="*/ 29 h 194"/>
                <a:gd name="T26" fmla="*/ 37 w 40"/>
                <a:gd name="T27" fmla="*/ 33 h 194"/>
                <a:gd name="T28" fmla="*/ 34 w 40"/>
                <a:gd name="T29" fmla="*/ 36 h 194"/>
                <a:gd name="T30" fmla="*/ 31 w 40"/>
                <a:gd name="T31" fmla="*/ 38 h 194"/>
                <a:gd name="T32" fmla="*/ 28 w 40"/>
                <a:gd name="T33" fmla="*/ 39 h 194"/>
                <a:gd name="T34" fmla="*/ 24 w 40"/>
                <a:gd name="T35" fmla="*/ 41 h 194"/>
                <a:gd name="T36" fmla="*/ 21 w 40"/>
                <a:gd name="T37" fmla="*/ 42 h 194"/>
                <a:gd name="T38" fmla="*/ 21 w 40"/>
                <a:gd name="T39" fmla="*/ 42 h 194"/>
                <a:gd name="T40" fmla="*/ 16 w 40"/>
                <a:gd name="T41" fmla="*/ 41 h 194"/>
                <a:gd name="T42" fmla="*/ 13 w 40"/>
                <a:gd name="T43" fmla="*/ 39 h 194"/>
                <a:gd name="T44" fmla="*/ 9 w 40"/>
                <a:gd name="T45" fmla="*/ 38 h 194"/>
                <a:gd name="T46" fmla="*/ 6 w 40"/>
                <a:gd name="T47" fmla="*/ 36 h 194"/>
                <a:gd name="T48" fmla="*/ 3 w 40"/>
                <a:gd name="T49" fmla="*/ 33 h 194"/>
                <a:gd name="T50" fmla="*/ 1 w 40"/>
                <a:gd name="T51" fmla="*/ 29 h 194"/>
                <a:gd name="T52" fmla="*/ 0 w 40"/>
                <a:gd name="T53" fmla="*/ 26 h 194"/>
                <a:gd name="T54" fmla="*/ 0 w 40"/>
                <a:gd name="T55" fmla="*/ 21 h 194"/>
                <a:gd name="T56" fmla="*/ 0 w 40"/>
                <a:gd name="T57" fmla="*/ 21 h 194"/>
                <a:gd name="T58" fmla="*/ 0 w 40"/>
                <a:gd name="T59" fmla="*/ 16 h 194"/>
                <a:gd name="T60" fmla="*/ 1 w 40"/>
                <a:gd name="T61" fmla="*/ 13 h 194"/>
                <a:gd name="T62" fmla="*/ 3 w 40"/>
                <a:gd name="T63" fmla="*/ 10 h 194"/>
                <a:gd name="T64" fmla="*/ 6 w 40"/>
                <a:gd name="T65" fmla="*/ 6 h 194"/>
                <a:gd name="T66" fmla="*/ 9 w 40"/>
                <a:gd name="T67" fmla="*/ 4 h 194"/>
                <a:gd name="T68" fmla="*/ 13 w 40"/>
                <a:gd name="T69" fmla="*/ 2 h 194"/>
                <a:gd name="T70" fmla="*/ 16 w 40"/>
                <a:gd name="T71" fmla="*/ 0 h 194"/>
                <a:gd name="T72" fmla="*/ 21 w 40"/>
                <a:gd name="T73" fmla="*/ 0 h 194"/>
                <a:gd name="T74" fmla="*/ 21 w 40"/>
                <a:gd name="T75" fmla="*/ 0 h 194"/>
                <a:gd name="T76" fmla="*/ 5 w 40"/>
                <a:gd name="T77" fmla="*/ 57 h 194"/>
                <a:gd name="T78" fmla="*/ 36 w 40"/>
                <a:gd name="T79" fmla="*/ 57 h 194"/>
                <a:gd name="T80" fmla="*/ 36 w 40"/>
                <a:gd name="T81" fmla="*/ 194 h 194"/>
                <a:gd name="T82" fmla="*/ 5 w 40"/>
                <a:gd name="T83" fmla="*/ 194 h 194"/>
                <a:gd name="T84" fmla="*/ 5 w 40"/>
                <a:gd name="T85" fmla="*/ 5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" h="194">
                  <a:moveTo>
                    <a:pt x="21" y="0"/>
                  </a:moveTo>
                  <a:lnTo>
                    <a:pt x="21" y="0"/>
                  </a:lnTo>
                  <a:lnTo>
                    <a:pt x="24" y="0"/>
                  </a:lnTo>
                  <a:lnTo>
                    <a:pt x="28" y="2"/>
                  </a:lnTo>
                  <a:lnTo>
                    <a:pt x="31" y="4"/>
                  </a:lnTo>
                  <a:lnTo>
                    <a:pt x="34" y="6"/>
                  </a:lnTo>
                  <a:lnTo>
                    <a:pt x="37" y="10"/>
                  </a:lnTo>
                  <a:lnTo>
                    <a:pt x="39" y="13"/>
                  </a:lnTo>
                  <a:lnTo>
                    <a:pt x="40" y="16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6"/>
                  </a:lnTo>
                  <a:lnTo>
                    <a:pt x="39" y="29"/>
                  </a:lnTo>
                  <a:lnTo>
                    <a:pt x="37" y="33"/>
                  </a:lnTo>
                  <a:lnTo>
                    <a:pt x="34" y="36"/>
                  </a:lnTo>
                  <a:lnTo>
                    <a:pt x="31" y="38"/>
                  </a:lnTo>
                  <a:lnTo>
                    <a:pt x="28" y="39"/>
                  </a:lnTo>
                  <a:lnTo>
                    <a:pt x="24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6" y="41"/>
                  </a:lnTo>
                  <a:lnTo>
                    <a:pt x="13" y="39"/>
                  </a:lnTo>
                  <a:lnTo>
                    <a:pt x="9" y="38"/>
                  </a:lnTo>
                  <a:lnTo>
                    <a:pt x="6" y="36"/>
                  </a:lnTo>
                  <a:lnTo>
                    <a:pt x="3" y="33"/>
                  </a:lnTo>
                  <a:lnTo>
                    <a:pt x="1" y="29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5" y="57"/>
                  </a:moveTo>
                  <a:lnTo>
                    <a:pt x="36" y="57"/>
                  </a:lnTo>
                  <a:lnTo>
                    <a:pt x="36" y="194"/>
                  </a:lnTo>
                  <a:lnTo>
                    <a:pt x="5" y="194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 noEditPoints="1"/>
            </p:cNvSpPr>
            <p:nvPr userDrawn="1"/>
          </p:nvSpPr>
          <p:spPr bwMode="auto">
            <a:xfrm>
              <a:off x="684" y="3769"/>
              <a:ext cx="47" cy="47"/>
            </a:xfrm>
            <a:custGeom>
              <a:avLst/>
              <a:gdLst>
                <a:gd name="T0" fmla="*/ 139 w 139"/>
                <a:gd name="T1" fmla="*/ 139 h 140"/>
                <a:gd name="T2" fmla="*/ 109 w 139"/>
                <a:gd name="T3" fmla="*/ 125 h 140"/>
                <a:gd name="T4" fmla="*/ 102 w 139"/>
                <a:gd name="T5" fmla="*/ 130 h 140"/>
                <a:gd name="T6" fmla="*/ 82 w 139"/>
                <a:gd name="T7" fmla="*/ 139 h 140"/>
                <a:gd name="T8" fmla="*/ 69 w 139"/>
                <a:gd name="T9" fmla="*/ 140 h 140"/>
                <a:gd name="T10" fmla="*/ 55 w 139"/>
                <a:gd name="T11" fmla="*/ 139 h 140"/>
                <a:gd name="T12" fmla="*/ 30 w 139"/>
                <a:gd name="T13" fmla="*/ 130 h 140"/>
                <a:gd name="T14" fmla="*/ 11 w 139"/>
                <a:gd name="T15" fmla="*/ 110 h 140"/>
                <a:gd name="T16" fmla="*/ 3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6 w 139"/>
                <a:gd name="T25" fmla="*/ 42 h 140"/>
                <a:gd name="T26" fmla="*/ 19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9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3 w 139"/>
                <a:gd name="T47" fmla="*/ 54 h 140"/>
                <a:gd name="T48" fmla="*/ 30 w 139"/>
                <a:gd name="T49" fmla="*/ 70 h 140"/>
                <a:gd name="T50" fmla="*/ 31 w 139"/>
                <a:gd name="T51" fmla="*/ 78 h 140"/>
                <a:gd name="T52" fmla="*/ 37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6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10 w 139"/>
                <a:gd name="T67" fmla="*/ 70 h 140"/>
                <a:gd name="T68" fmla="*/ 109 w 139"/>
                <a:gd name="T69" fmla="*/ 62 h 140"/>
                <a:gd name="T70" fmla="*/ 103 w 139"/>
                <a:gd name="T71" fmla="*/ 47 h 140"/>
                <a:gd name="T72" fmla="*/ 93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9" y="139"/>
                  </a:lnTo>
                  <a:lnTo>
                    <a:pt x="109" y="125"/>
                  </a:lnTo>
                  <a:lnTo>
                    <a:pt x="109" y="125"/>
                  </a:lnTo>
                  <a:lnTo>
                    <a:pt x="102" y="130"/>
                  </a:lnTo>
                  <a:lnTo>
                    <a:pt x="94" y="136"/>
                  </a:lnTo>
                  <a:lnTo>
                    <a:pt x="82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5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19" y="121"/>
                  </a:lnTo>
                  <a:lnTo>
                    <a:pt x="11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3" y="49"/>
                  </a:lnTo>
                  <a:lnTo>
                    <a:pt x="6" y="42"/>
                  </a:lnTo>
                  <a:lnTo>
                    <a:pt x="11" y="30"/>
                  </a:lnTo>
                  <a:lnTo>
                    <a:pt x="19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2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9" y="16"/>
                  </a:lnTo>
                  <a:lnTo>
                    <a:pt x="109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7" y="47"/>
                  </a:lnTo>
                  <a:lnTo>
                    <a:pt x="33" y="54"/>
                  </a:lnTo>
                  <a:lnTo>
                    <a:pt x="31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8"/>
                  </a:lnTo>
                  <a:lnTo>
                    <a:pt x="33" y="86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6" y="108"/>
                  </a:lnTo>
                  <a:lnTo>
                    <a:pt x="93" y="105"/>
                  </a:lnTo>
                  <a:lnTo>
                    <a:pt x="98" y="99"/>
                  </a:lnTo>
                  <a:lnTo>
                    <a:pt x="103" y="93"/>
                  </a:lnTo>
                  <a:lnTo>
                    <a:pt x="106" y="86"/>
                  </a:lnTo>
                  <a:lnTo>
                    <a:pt x="109" y="78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09" y="62"/>
                  </a:lnTo>
                  <a:lnTo>
                    <a:pt x="106" y="54"/>
                  </a:lnTo>
                  <a:lnTo>
                    <a:pt x="103" y="47"/>
                  </a:lnTo>
                  <a:lnTo>
                    <a:pt x="98" y="42"/>
                  </a:lnTo>
                  <a:lnTo>
                    <a:pt x="93" y="36"/>
                  </a:lnTo>
                  <a:lnTo>
                    <a:pt x="86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42" y="3769"/>
              <a:ext cx="40" cy="47"/>
            </a:xfrm>
            <a:custGeom>
              <a:avLst/>
              <a:gdLst>
                <a:gd name="T0" fmla="*/ 0 w 120"/>
                <a:gd name="T1" fmla="*/ 2 h 139"/>
                <a:gd name="T2" fmla="*/ 30 w 120"/>
                <a:gd name="T3" fmla="*/ 2 h 139"/>
                <a:gd name="T4" fmla="*/ 30 w 120"/>
                <a:gd name="T5" fmla="*/ 18 h 139"/>
                <a:gd name="T6" fmla="*/ 30 w 120"/>
                <a:gd name="T7" fmla="*/ 18 h 139"/>
                <a:gd name="T8" fmla="*/ 36 w 120"/>
                <a:gd name="T9" fmla="*/ 12 h 139"/>
                <a:gd name="T10" fmla="*/ 44 w 120"/>
                <a:gd name="T11" fmla="*/ 6 h 139"/>
                <a:gd name="T12" fmla="*/ 49 w 120"/>
                <a:gd name="T13" fmla="*/ 4 h 139"/>
                <a:gd name="T14" fmla="*/ 55 w 120"/>
                <a:gd name="T15" fmla="*/ 2 h 139"/>
                <a:gd name="T16" fmla="*/ 61 w 120"/>
                <a:gd name="T17" fmla="*/ 0 h 139"/>
                <a:gd name="T18" fmla="*/ 68 w 120"/>
                <a:gd name="T19" fmla="*/ 0 h 139"/>
                <a:gd name="T20" fmla="*/ 68 w 120"/>
                <a:gd name="T21" fmla="*/ 0 h 139"/>
                <a:gd name="T22" fmla="*/ 80 w 120"/>
                <a:gd name="T23" fmla="*/ 2 h 139"/>
                <a:gd name="T24" fmla="*/ 91 w 120"/>
                <a:gd name="T25" fmla="*/ 4 h 139"/>
                <a:gd name="T26" fmla="*/ 100 w 120"/>
                <a:gd name="T27" fmla="*/ 8 h 139"/>
                <a:gd name="T28" fmla="*/ 107 w 120"/>
                <a:gd name="T29" fmla="*/ 15 h 139"/>
                <a:gd name="T30" fmla="*/ 112 w 120"/>
                <a:gd name="T31" fmla="*/ 23 h 139"/>
                <a:gd name="T32" fmla="*/ 117 w 120"/>
                <a:gd name="T33" fmla="*/ 33 h 139"/>
                <a:gd name="T34" fmla="*/ 119 w 120"/>
                <a:gd name="T35" fmla="*/ 44 h 139"/>
                <a:gd name="T36" fmla="*/ 120 w 120"/>
                <a:gd name="T37" fmla="*/ 57 h 139"/>
                <a:gd name="T38" fmla="*/ 120 w 120"/>
                <a:gd name="T39" fmla="*/ 139 h 139"/>
                <a:gd name="T40" fmla="*/ 91 w 120"/>
                <a:gd name="T41" fmla="*/ 139 h 139"/>
                <a:gd name="T42" fmla="*/ 91 w 120"/>
                <a:gd name="T43" fmla="*/ 63 h 139"/>
                <a:gd name="T44" fmla="*/ 91 w 120"/>
                <a:gd name="T45" fmla="*/ 63 h 139"/>
                <a:gd name="T46" fmla="*/ 89 w 120"/>
                <a:gd name="T47" fmla="*/ 55 h 139"/>
                <a:gd name="T48" fmla="*/ 88 w 120"/>
                <a:gd name="T49" fmla="*/ 47 h 139"/>
                <a:gd name="T50" fmla="*/ 86 w 120"/>
                <a:gd name="T51" fmla="*/ 42 h 139"/>
                <a:gd name="T52" fmla="*/ 83 w 120"/>
                <a:gd name="T53" fmla="*/ 37 h 139"/>
                <a:gd name="T54" fmla="*/ 78 w 120"/>
                <a:gd name="T55" fmla="*/ 34 h 139"/>
                <a:gd name="T56" fmla="*/ 73 w 120"/>
                <a:gd name="T57" fmla="*/ 30 h 139"/>
                <a:gd name="T58" fmla="*/ 68 w 120"/>
                <a:gd name="T59" fmla="*/ 29 h 139"/>
                <a:gd name="T60" fmla="*/ 61 w 120"/>
                <a:gd name="T61" fmla="*/ 29 h 139"/>
                <a:gd name="T62" fmla="*/ 61 w 120"/>
                <a:gd name="T63" fmla="*/ 29 h 139"/>
                <a:gd name="T64" fmla="*/ 53 w 120"/>
                <a:gd name="T65" fmla="*/ 29 h 139"/>
                <a:gd name="T66" fmla="*/ 47 w 120"/>
                <a:gd name="T67" fmla="*/ 31 h 139"/>
                <a:gd name="T68" fmla="*/ 42 w 120"/>
                <a:gd name="T69" fmla="*/ 35 h 139"/>
                <a:gd name="T70" fmla="*/ 38 w 120"/>
                <a:gd name="T71" fmla="*/ 38 h 139"/>
                <a:gd name="T72" fmla="*/ 34 w 120"/>
                <a:gd name="T73" fmla="*/ 44 h 139"/>
                <a:gd name="T74" fmla="*/ 32 w 120"/>
                <a:gd name="T75" fmla="*/ 50 h 139"/>
                <a:gd name="T76" fmla="*/ 31 w 120"/>
                <a:gd name="T77" fmla="*/ 57 h 139"/>
                <a:gd name="T78" fmla="*/ 30 w 120"/>
                <a:gd name="T79" fmla="*/ 63 h 139"/>
                <a:gd name="T80" fmla="*/ 30 w 120"/>
                <a:gd name="T81" fmla="*/ 139 h 139"/>
                <a:gd name="T82" fmla="*/ 0 w 120"/>
                <a:gd name="T83" fmla="*/ 139 h 139"/>
                <a:gd name="T84" fmla="*/ 0 w 120"/>
                <a:gd name="T85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" h="139">
                  <a:moveTo>
                    <a:pt x="0" y="2"/>
                  </a:moveTo>
                  <a:lnTo>
                    <a:pt x="30" y="2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1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80" y="2"/>
                  </a:lnTo>
                  <a:lnTo>
                    <a:pt x="91" y="4"/>
                  </a:lnTo>
                  <a:lnTo>
                    <a:pt x="100" y="8"/>
                  </a:lnTo>
                  <a:lnTo>
                    <a:pt x="107" y="15"/>
                  </a:lnTo>
                  <a:lnTo>
                    <a:pt x="112" y="23"/>
                  </a:lnTo>
                  <a:lnTo>
                    <a:pt x="117" y="33"/>
                  </a:lnTo>
                  <a:lnTo>
                    <a:pt x="119" y="44"/>
                  </a:lnTo>
                  <a:lnTo>
                    <a:pt x="120" y="57"/>
                  </a:lnTo>
                  <a:lnTo>
                    <a:pt x="120" y="139"/>
                  </a:lnTo>
                  <a:lnTo>
                    <a:pt x="91" y="139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89" y="55"/>
                  </a:lnTo>
                  <a:lnTo>
                    <a:pt x="88" y="47"/>
                  </a:lnTo>
                  <a:lnTo>
                    <a:pt x="86" y="42"/>
                  </a:lnTo>
                  <a:lnTo>
                    <a:pt x="83" y="37"/>
                  </a:lnTo>
                  <a:lnTo>
                    <a:pt x="78" y="34"/>
                  </a:lnTo>
                  <a:lnTo>
                    <a:pt x="73" y="30"/>
                  </a:lnTo>
                  <a:lnTo>
                    <a:pt x="68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53" y="29"/>
                  </a:lnTo>
                  <a:lnTo>
                    <a:pt x="47" y="31"/>
                  </a:lnTo>
                  <a:lnTo>
                    <a:pt x="42" y="35"/>
                  </a:lnTo>
                  <a:lnTo>
                    <a:pt x="38" y="38"/>
                  </a:lnTo>
                  <a:lnTo>
                    <a:pt x="34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822" y="3752"/>
              <a:ext cx="42" cy="64"/>
            </a:xfrm>
            <a:custGeom>
              <a:avLst/>
              <a:gdLst>
                <a:gd name="T0" fmla="*/ 0 w 126"/>
                <a:gd name="T1" fmla="*/ 0 h 192"/>
                <a:gd name="T2" fmla="*/ 35 w 126"/>
                <a:gd name="T3" fmla="*/ 0 h 192"/>
                <a:gd name="T4" fmla="*/ 97 w 126"/>
                <a:gd name="T5" fmla="*/ 133 h 192"/>
                <a:gd name="T6" fmla="*/ 97 w 126"/>
                <a:gd name="T7" fmla="*/ 0 h 192"/>
                <a:gd name="T8" fmla="*/ 126 w 126"/>
                <a:gd name="T9" fmla="*/ 0 h 192"/>
                <a:gd name="T10" fmla="*/ 126 w 126"/>
                <a:gd name="T11" fmla="*/ 192 h 192"/>
                <a:gd name="T12" fmla="*/ 93 w 126"/>
                <a:gd name="T13" fmla="*/ 192 h 192"/>
                <a:gd name="T14" fmla="*/ 31 w 126"/>
                <a:gd name="T15" fmla="*/ 60 h 192"/>
                <a:gd name="T16" fmla="*/ 31 w 126"/>
                <a:gd name="T17" fmla="*/ 192 h 192"/>
                <a:gd name="T18" fmla="*/ 0 w 126"/>
                <a:gd name="T19" fmla="*/ 192 h 192"/>
                <a:gd name="T20" fmla="*/ 0 w 126"/>
                <a:gd name="T2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92">
                  <a:moveTo>
                    <a:pt x="0" y="0"/>
                  </a:moveTo>
                  <a:lnTo>
                    <a:pt x="35" y="0"/>
                  </a:lnTo>
                  <a:lnTo>
                    <a:pt x="97" y="133"/>
                  </a:lnTo>
                  <a:lnTo>
                    <a:pt x="97" y="0"/>
                  </a:lnTo>
                  <a:lnTo>
                    <a:pt x="126" y="0"/>
                  </a:lnTo>
                  <a:lnTo>
                    <a:pt x="126" y="192"/>
                  </a:lnTo>
                  <a:lnTo>
                    <a:pt x="93" y="192"/>
                  </a:lnTo>
                  <a:lnTo>
                    <a:pt x="31" y="60"/>
                  </a:lnTo>
                  <a:lnTo>
                    <a:pt x="31" y="192"/>
                  </a:lnTo>
                  <a:lnTo>
                    <a:pt x="0" y="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877" y="3770"/>
              <a:ext cx="40" cy="46"/>
            </a:xfrm>
            <a:custGeom>
              <a:avLst/>
              <a:gdLst>
                <a:gd name="T0" fmla="*/ 121 w 121"/>
                <a:gd name="T1" fmla="*/ 137 h 138"/>
                <a:gd name="T2" fmla="*/ 91 w 121"/>
                <a:gd name="T3" fmla="*/ 137 h 138"/>
                <a:gd name="T4" fmla="*/ 91 w 121"/>
                <a:gd name="T5" fmla="*/ 121 h 138"/>
                <a:gd name="T6" fmla="*/ 91 w 121"/>
                <a:gd name="T7" fmla="*/ 121 h 138"/>
                <a:gd name="T8" fmla="*/ 84 w 121"/>
                <a:gd name="T9" fmla="*/ 128 h 138"/>
                <a:gd name="T10" fmla="*/ 76 w 121"/>
                <a:gd name="T11" fmla="*/ 134 h 138"/>
                <a:gd name="T12" fmla="*/ 71 w 121"/>
                <a:gd name="T13" fmla="*/ 136 h 138"/>
                <a:gd name="T14" fmla="*/ 66 w 121"/>
                <a:gd name="T15" fmla="*/ 137 h 138"/>
                <a:gd name="T16" fmla="*/ 60 w 121"/>
                <a:gd name="T17" fmla="*/ 138 h 138"/>
                <a:gd name="T18" fmla="*/ 53 w 121"/>
                <a:gd name="T19" fmla="*/ 138 h 138"/>
                <a:gd name="T20" fmla="*/ 53 w 121"/>
                <a:gd name="T21" fmla="*/ 138 h 138"/>
                <a:gd name="T22" fmla="*/ 40 w 121"/>
                <a:gd name="T23" fmla="*/ 138 h 138"/>
                <a:gd name="T24" fmla="*/ 30 w 121"/>
                <a:gd name="T25" fmla="*/ 135 h 138"/>
                <a:gd name="T26" fmla="*/ 21 w 121"/>
                <a:gd name="T27" fmla="*/ 130 h 138"/>
                <a:gd name="T28" fmla="*/ 14 w 121"/>
                <a:gd name="T29" fmla="*/ 124 h 138"/>
                <a:gd name="T30" fmla="*/ 7 w 121"/>
                <a:gd name="T31" fmla="*/ 116 h 138"/>
                <a:gd name="T32" fmla="*/ 4 w 121"/>
                <a:gd name="T33" fmla="*/ 106 h 138"/>
                <a:gd name="T34" fmla="*/ 0 w 121"/>
                <a:gd name="T35" fmla="*/ 95 h 138"/>
                <a:gd name="T36" fmla="*/ 0 w 121"/>
                <a:gd name="T37" fmla="*/ 82 h 138"/>
                <a:gd name="T38" fmla="*/ 0 w 121"/>
                <a:gd name="T39" fmla="*/ 0 h 138"/>
                <a:gd name="T40" fmla="*/ 30 w 121"/>
                <a:gd name="T41" fmla="*/ 0 h 138"/>
                <a:gd name="T42" fmla="*/ 30 w 121"/>
                <a:gd name="T43" fmla="*/ 75 h 138"/>
                <a:gd name="T44" fmla="*/ 30 w 121"/>
                <a:gd name="T45" fmla="*/ 75 h 138"/>
                <a:gd name="T46" fmla="*/ 30 w 121"/>
                <a:gd name="T47" fmla="*/ 84 h 138"/>
                <a:gd name="T48" fmla="*/ 32 w 121"/>
                <a:gd name="T49" fmla="*/ 91 h 138"/>
                <a:gd name="T50" fmla="*/ 35 w 121"/>
                <a:gd name="T51" fmla="*/ 97 h 138"/>
                <a:gd name="T52" fmla="*/ 38 w 121"/>
                <a:gd name="T53" fmla="*/ 102 h 138"/>
                <a:gd name="T54" fmla="*/ 42 w 121"/>
                <a:gd name="T55" fmla="*/ 106 h 138"/>
                <a:gd name="T56" fmla="*/ 47 w 121"/>
                <a:gd name="T57" fmla="*/ 108 h 138"/>
                <a:gd name="T58" fmla="*/ 53 w 121"/>
                <a:gd name="T59" fmla="*/ 110 h 138"/>
                <a:gd name="T60" fmla="*/ 60 w 121"/>
                <a:gd name="T61" fmla="*/ 111 h 138"/>
                <a:gd name="T62" fmla="*/ 60 w 121"/>
                <a:gd name="T63" fmla="*/ 111 h 138"/>
                <a:gd name="T64" fmla="*/ 67 w 121"/>
                <a:gd name="T65" fmla="*/ 110 h 138"/>
                <a:gd name="T66" fmla="*/ 74 w 121"/>
                <a:gd name="T67" fmla="*/ 107 h 138"/>
                <a:gd name="T68" fmla="*/ 78 w 121"/>
                <a:gd name="T69" fmla="*/ 105 h 138"/>
                <a:gd name="T70" fmla="*/ 83 w 121"/>
                <a:gd name="T71" fmla="*/ 100 h 138"/>
                <a:gd name="T72" fmla="*/ 86 w 121"/>
                <a:gd name="T73" fmla="*/ 96 h 138"/>
                <a:gd name="T74" fmla="*/ 89 w 121"/>
                <a:gd name="T75" fmla="*/ 90 h 138"/>
                <a:gd name="T76" fmla="*/ 90 w 121"/>
                <a:gd name="T77" fmla="*/ 83 h 138"/>
                <a:gd name="T78" fmla="*/ 91 w 121"/>
                <a:gd name="T79" fmla="*/ 75 h 138"/>
                <a:gd name="T80" fmla="*/ 91 w 121"/>
                <a:gd name="T81" fmla="*/ 0 h 138"/>
                <a:gd name="T82" fmla="*/ 121 w 121"/>
                <a:gd name="T83" fmla="*/ 0 h 138"/>
                <a:gd name="T84" fmla="*/ 121 w 121"/>
                <a:gd name="T85" fmla="*/ 13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38">
                  <a:moveTo>
                    <a:pt x="121" y="137"/>
                  </a:moveTo>
                  <a:lnTo>
                    <a:pt x="91" y="137"/>
                  </a:lnTo>
                  <a:lnTo>
                    <a:pt x="91" y="121"/>
                  </a:lnTo>
                  <a:lnTo>
                    <a:pt x="91" y="121"/>
                  </a:lnTo>
                  <a:lnTo>
                    <a:pt x="84" y="128"/>
                  </a:lnTo>
                  <a:lnTo>
                    <a:pt x="76" y="134"/>
                  </a:lnTo>
                  <a:lnTo>
                    <a:pt x="71" y="136"/>
                  </a:lnTo>
                  <a:lnTo>
                    <a:pt x="66" y="137"/>
                  </a:lnTo>
                  <a:lnTo>
                    <a:pt x="60" y="138"/>
                  </a:lnTo>
                  <a:lnTo>
                    <a:pt x="53" y="138"/>
                  </a:lnTo>
                  <a:lnTo>
                    <a:pt x="53" y="138"/>
                  </a:lnTo>
                  <a:lnTo>
                    <a:pt x="40" y="138"/>
                  </a:lnTo>
                  <a:lnTo>
                    <a:pt x="30" y="135"/>
                  </a:lnTo>
                  <a:lnTo>
                    <a:pt x="21" y="130"/>
                  </a:lnTo>
                  <a:lnTo>
                    <a:pt x="14" y="124"/>
                  </a:lnTo>
                  <a:lnTo>
                    <a:pt x="7" y="116"/>
                  </a:lnTo>
                  <a:lnTo>
                    <a:pt x="4" y="106"/>
                  </a:lnTo>
                  <a:lnTo>
                    <a:pt x="0" y="95"/>
                  </a:lnTo>
                  <a:lnTo>
                    <a:pt x="0" y="82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84"/>
                  </a:lnTo>
                  <a:lnTo>
                    <a:pt x="32" y="91"/>
                  </a:lnTo>
                  <a:lnTo>
                    <a:pt x="35" y="97"/>
                  </a:lnTo>
                  <a:lnTo>
                    <a:pt x="38" y="102"/>
                  </a:lnTo>
                  <a:lnTo>
                    <a:pt x="42" y="106"/>
                  </a:lnTo>
                  <a:lnTo>
                    <a:pt x="47" y="108"/>
                  </a:lnTo>
                  <a:lnTo>
                    <a:pt x="53" y="110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67" y="110"/>
                  </a:lnTo>
                  <a:lnTo>
                    <a:pt x="74" y="107"/>
                  </a:lnTo>
                  <a:lnTo>
                    <a:pt x="78" y="105"/>
                  </a:lnTo>
                  <a:lnTo>
                    <a:pt x="83" y="100"/>
                  </a:lnTo>
                  <a:lnTo>
                    <a:pt x="86" y="96"/>
                  </a:lnTo>
                  <a:lnTo>
                    <a:pt x="89" y="90"/>
                  </a:lnTo>
                  <a:lnTo>
                    <a:pt x="90" y="83"/>
                  </a:lnTo>
                  <a:lnTo>
                    <a:pt x="91" y="75"/>
                  </a:lnTo>
                  <a:lnTo>
                    <a:pt x="91" y="0"/>
                  </a:lnTo>
                  <a:lnTo>
                    <a:pt x="121" y="0"/>
                  </a:lnTo>
                  <a:lnTo>
                    <a:pt x="121" y="1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927" y="3769"/>
              <a:ext cx="47" cy="47"/>
            </a:xfrm>
            <a:custGeom>
              <a:avLst/>
              <a:gdLst>
                <a:gd name="T0" fmla="*/ 71 w 141"/>
                <a:gd name="T1" fmla="*/ 113 h 140"/>
                <a:gd name="T2" fmla="*/ 87 w 141"/>
                <a:gd name="T3" fmla="*/ 109 h 140"/>
                <a:gd name="T4" fmla="*/ 100 w 141"/>
                <a:gd name="T5" fmla="*/ 100 h 140"/>
                <a:gd name="T6" fmla="*/ 108 w 141"/>
                <a:gd name="T7" fmla="*/ 88 h 140"/>
                <a:gd name="T8" fmla="*/ 110 w 141"/>
                <a:gd name="T9" fmla="*/ 70 h 140"/>
                <a:gd name="T10" fmla="*/ 141 w 141"/>
                <a:gd name="T11" fmla="*/ 70 h 140"/>
                <a:gd name="T12" fmla="*/ 139 w 141"/>
                <a:gd name="T13" fmla="*/ 85 h 140"/>
                <a:gd name="T14" fmla="*/ 136 w 141"/>
                <a:gd name="T15" fmla="*/ 98 h 140"/>
                <a:gd name="T16" fmla="*/ 121 w 141"/>
                <a:gd name="T17" fmla="*/ 121 h 140"/>
                <a:gd name="T18" fmla="*/ 99 w 141"/>
                <a:gd name="T19" fmla="*/ 136 h 140"/>
                <a:gd name="T20" fmla="*/ 85 w 141"/>
                <a:gd name="T21" fmla="*/ 139 h 140"/>
                <a:gd name="T22" fmla="*/ 71 w 141"/>
                <a:gd name="T23" fmla="*/ 140 h 140"/>
                <a:gd name="T24" fmla="*/ 63 w 141"/>
                <a:gd name="T25" fmla="*/ 140 h 140"/>
                <a:gd name="T26" fmla="*/ 50 w 141"/>
                <a:gd name="T27" fmla="*/ 138 h 140"/>
                <a:gd name="T28" fmla="*/ 31 w 141"/>
                <a:gd name="T29" fmla="*/ 129 h 140"/>
                <a:gd name="T30" fmla="*/ 12 w 141"/>
                <a:gd name="T31" fmla="*/ 110 h 140"/>
                <a:gd name="T32" fmla="*/ 4 w 141"/>
                <a:gd name="T33" fmla="*/ 92 h 140"/>
                <a:gd name="T34" fmla="*/ 2 w 141"/>
                <a:gd name="T35" fmla="*/ 78 h 140"/>
                <a:gd name="T36" fmla="*/ 0 w 141"/>
                <a:gd name="T37" fmla="*/ 70 h 140"/>
                <a:gd name="T38" fmla="*/ 2 w 141"/>
                <a:gd name="T39" fmla="*/ 55 h 140"/>
                <a:gd name="T40" fmla="*/ 6 w 141"/>
                <a:gd name="T41" fmla="*/ 43 h 140"/>
                <a:gd name="T42" fmla="*/ 21 w 141"/>
                <a:gd name="T43" fmla="*/ 20 h 140"/>
                <a:gd name="T44" fmla="*/ 43 w 141"/>
                <a:gd name="T45" fmla="*/ 5 h 140"/>
                <a:gd name="T46" fmla="*/ 57 w 141"/>
                <a:gd name="T47" fmla="*/ 2 h 140"/>
                <a:gd name="T48" fmla="*/ 71 w 141"/>
                <a:gd name="T49" fmla="*/ 0 h 140"/>
                <a:gd name="T50" fmla="*/ 78 w 141"/>
                <a:gd name="T51" fmla="*/ 0 h 140"/>
                <a:gd name="T52" fmla="*/ 93 w 141"/>
                <a:gd name="T53" fmla="*/ 4 h 140"/>
                <a:gd name="T54" fmla="*/ 106 w 141"/>
                <a:gd name="T55" fmla="*/ 8 h 140"/>
                <a:gd name="T56" fmla="*/ 121 w 141"/>
                <a:gd name="T57" fmla="*/ 21 h 140"/>
                <a:gd name="T58" fmla="*/ 99 w 141"/>
                <a:gd name="T59" fmla="*/ 41 h 140"/>
                <a:gd name="T60" fmla="*/ 86 w 141"/>
                <a:gd name="T61" fmla="*/ 33 h 140"/>
                <a:gd name="T62" fmla="*/ 71 w 141"/>
                <a:gd name="T63" fmla="*/ 29 h 140"/>
                <a:gd name="T64" fmla="*/ 62 w 141"/>
                <a:gd name="T65" fmla="*/ 29 h 140"/>
                <a:gd name="T66" fmla="*/ 48 w 141"/>
                <a:gd name="T67" fmla="*/ 36 h 140"/>
                <a:gd name="T68" fmla="*/ 38 w 141"/>
                <a:gd name="T69" fmla="*/ 46 h 140"/>
                <a:gd name="T70" fmla="*/ 32 w 141"/>
                <a:gd name="T71" fmla="*/ 61 h 140"/>
                <a:gd name="T72" fmla="*/ 31 w 141"/>
                <a:gd name="T73" fmla="*/ 70 h 140"/>
                <a:gd name="T74" fmla="*/ 35 w 141"/>
                <a:gd name="T75" fmla="*/ 88 h 140"/>
                <a:gd name="T76" fmla="*/ 43 w 141"/>
                <a:gd name="T77" fmla="*/ 100 h 140"/>
                <a:gd name="T78" fmla="*/ 54 w 141"/>
                <a:gd name="T79" fmla="*/ 109 h 140"/>
                <a:gd name="T80" fmla="*/ 71 w 141"/>
                <a:gd name="T81" fmla="*/ 11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0">
                  <a:moveTo>
                    <a:pt x="71" y="113"/>
                  </a:moveTo>
                  <a:lnTo>
                    <a:pt x="71" y="113"/>
                  </a:lnTo>
                  <a:lnTo>
                    <a:pt x="79" y="112"/>
                  </a:lnTo>
                  <a:lnTo>
                    <a:pt x="87" y="109"/>
                  </a:lnTo>
                  <a:lnTo>
                    <a:pt x="94" y="106"/>
                  </a:lnTo>
                  <a:lnTo>
                    <a:pt x="100" y="100"/>
                  </a:lnTo>
                  <a:lnTo>
                    <a:pt x="105" y="94"/>
                  </a:lnTo>
                  <a:lnTo>
                    <a:pt x="108" y="88"/>
                  </a:lnTo>
                  <a:lnTo>
                    <a:pt x="110" y="80"/>
                  </a:lnTo>
                  <a:lnTo>
                    <a:pt x="110" y="70"/>
                  </a:lnTo>
                  <a:lnTo>
                    <a:pt x="141" y="70"/>
                  </a:lnTo>
                  <a:lnTo>
                    <a:pt x="141" y="70"/>
                  </a:lnTo>
                  <a:lnTo>
                    <a:pt x="140" y="78"/>
                  </a:lnTo>
                  <a:lnTo>
                    <a:pt x="139" y="85"/>
                  </a:lnTo>
                  <a:lnTo>
                    <a:pt x="138" y="92"/>
                  </a:lnTo>
                  <a:lnTo>
                    <a:pt x="136" y="98"/>
                  </a:lnTo>
                  <a:lnTo>
                    <a:pt x="129" y="110"/>
                  </a:lnTo>
                  <a:lnTo>
                    <a:pt x="121" y="121"/>
                  </a:lnTo>
                  <a:lnTo>
                    <a:pt x="110" y="129"/>
                  </a:lnTo>
                  <a:lnTo>
                    <a:pt x="99" y="136"/>
                  </a:lnTo>
                  <a:lnTo>
                    <a:pt x="92" y="138"/>
                  </a:lnTo>
                  <a:lnTo>
                    <a:pt x="85" y="139"/>
                  </a:lnTo>
                  <a:lnTo>
                    <a:pt x="78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7" y="139"/>
                  </a:lnTo>
                  <a:lnTo>
                    <a:pt x="50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2" y="110"/>
                  </a:lnTo>
                  <a:lnTo>
                    <a:pt x="6" y="99"/>
                  </a:lnTo>
                  <a:lnTo>
                    <a:pt x="4" y="92"/>
                  </a:lnTo>
                  <a:lnTo>
                    <a:pt x="2" y="85"/>
                  </a:lnTo>
                  <a:lnTo>
                    <a:pt x="2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63"/>
                  </a:lnTo>
                  <a:lnTo>
                    <a:pt x="2" y="55"/>
                  </a:lnTo>
                  <a:lnTo>
                    <a:pt x="4" y="49"/>
                  </a:lnTo>
                  <a:lnTo>
                    <a:pt x="6" y="43"/>
                  </a:lnTo>
                  <a:lnTo>
                    <a:pt x="12" y="30"/>
                  </a:lnTo>
                  <a:lnTo>
                    <a:pt x="21" y="20"/>
                  </a:lnTo>
                  <a:lnTo>
                    <a:pt x="31" y="12"/>
                  </a:lnTo>
                  <a:lnTo>
                    <a:pt x="43" y="5"/>
                  </a:lnTo>
                  <a:lnTo>
                    <a:pt x="50" y="3"/>
                  </a:lnTo>
                  <a:lnTo>
                    <a:pt x="57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4"/>
                  </a:lnTo>
                  <a:lnTo>
                    <a:pt x="99" y="6"/>
                  </a:lnTo>
                  <a:lnTo>
                    <a:pt x="106" y="8"/>
                  </a:lnTo>
                  <a:lnTo>
                    <a:pt x="112" y="12"/>
                  </a:lnTo>
                  <a:lnTo>
                    <a:pt x="121" y="2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3" y="36"/>
                  </a:lnTo>
                  <a:lnTo>
                    <a:pt x="86" y="33"/>
                  </a:lnTo>
                  <a:lnTo>
                    <a:pt x="79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62" y="29"/>
                  </a:lnTo>
                  <a:lnTo>
                    <a:pt x="54" y="31"/>
                  </a:lnTo>
                  <a:lnTo>
                    <a:pt x="48" y="36"/>
                  </a:lnTo>
                  <a:lnTo>
                    <a:pt x="43" y="41"/>
                  </a:lnTo>
                  <a:lnTo>
                    <a:pt x="38" y="46"/>
                  </a:lnTo>
                  <a:lnTo>
                    <a:pt x="35" y="53"/>
                  </a:lnTo>
                  <a:lnTo>
                    <a:pt x="32" y="61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2" y="80"/>
                  </a:lnTo>
                  <a:lnTo>
                    <a:pt x="35" y="88"/>
                  </a:lnTo>
                  <a:lnTo>
                    <a:pt x="38" y="94"/>
                  </a:lnTo>
                  <a:lnTo>
                    <a:pt x="43" y="100"/>
                  </a:lnTo>
                  <a:lnTo>
                    <a:pt x="48" y="106"/>
                  </a:lnTo>
                  <a:lnTo>
                    <a:pt x="54" y="109"/>
                  </a:lnTo>
                  <a:lnTo>
                    <a:pt x="62" y="112"/>
                  </a:lnTo>
                  <a:lnTo>
                    <a:pt x="71" y="113"/>
                  </a:lnTo>
                  <a:lnTo>
                    <a:pt x="71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982" y="3750"/>
              <a:ext cx="10" cy="66"/>
            </a:xfrm>
            <a:custGeom>
              <a:avLst/>
              <a:gdLst>
                <a:gd name="T0" fmla="*/ 0 w 30"/>
                <a:gd name="T1" fmla="*/ 4 h 196"/>
                <a:gd name="T2" fmla="*/ 30 w 30"/>
                <a:gd name="T3" fmla="*/ 0 h 196"/>
                <a:gd name="T4" fmla="*/ 30 w 30"/>
                <a:gd name="T5" fmla="*/ 196 h 196"/>
                <a:gd name="T6" fmla="*/ 0 w 30"/>
                <a:gd name="T7" fmla="*/ 196 h 196"/>
                <a:gd name="T8" fmla="*/ 0 w 30"/>
                <a:gd name="T9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6">
                  <a:moveTo>
                    <a:pt x="0" y="4"/>
                  </a:moveTo>
                  <a:lnTo>
                    <a:pt x="30" y="0"/>
                  </a:lnTo>
                  <a:lnTo>
                    <a:pt x="30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 noEditPoints="1"/>
            </p:cNvSpPr>
            <p:nvPr userDrawn="1"/>
          </p:nvSpPr>
          <p:spPr bwMode="auto">
            <a:xfrm>
              <a:off x="1002" y="3769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6 w 140"/>
                <a:gd name="T5" fmla="*/ 104 h 140"/>
                <a:gd name="T6" fmla="*/ 57 w 140"/>
                <a:gd name="T7" fmla="*/ 109 h 140"/>
                <a:gd name="T8" fmla="*/ 71 w 140"/>
                <a:gd name="T9" fmla="*/ 113 h 140"/>
                <a:gd name="T10" fmla="*/ 81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4 w 140"/>
                <a:gd name="T17" fmla="*/ 108 h 140"/>
                <a:gd name="T18" fmla="*/ 121 w 140"/>
                <a:gd name="T19" fmla="*/ 123 h 140"/>
                <a:gd name="T20" fmla="*/ 103 w 140"/>
                <a:gd name="T21" fmla="*/ 135 h 140"/>
                <a:gd name="T22" fmla="*/ 82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3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2 w 140"/>
                <a:gd name="T35" fmla="*/ 85 h 140"/>
                <a:gd name="T36" fmla="*/ 0 w 140"/>
                <a:gd name="T37" fmla="*/ 70 h 140"/>
                <a:gd name="T38" fmla="*/ 1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6 w 140"/>
                <a:gd name="T47" fmla="*/ 2 h 140"/>
                <a:gd name="T48" fmla="*/ 70 w 140"/>
                <a:gd name="T49" fmla="*/ 0 h 140"/>
                <a:gd name="T50" fmla="*/ 78 w 140"/>
                <a:gd name="T51" fmla="*/ 0 h 140"/>
                <a:gd name="T52" fmla="*/ 92 w 140"/>
                <a:gd name="T53" fmla="*/ 4 h 140"/>
                <a:gd name="T54" fmla="*/ 109 w 140"/>
                <a:gd name="T55" fmla="*/ 12 h 140"/>
                <a:gd name="T56" fmla="*/ 128 w 140"/>
                <a:gd name="T57" fmla="*/ 31 h 140"/>
                <a:gd name="T58" fmla="*/ 139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2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4 w 140"/>
                <a:gd name="T77" fmla="*/ 29 h 140"/>
                <a:gd name="T78" fmla="*/ 53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4" y="88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6" y="104"/>
                  </a:lnTo>
                  <a:lnTo>
                    <a:pt x="50" y="107"/>
                  </a:lnTo>
                  <a:lnTo>
                    <a:pt x="57" y="109"/>
                  </a:lnTo>
                  <a:lnTo>
                    <a:pt x="64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1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4" y="108"/>
                  </a:lnTo>
                  <a:lnTo>
                    <a:pt x="128" y="116"/>
                  </a:lnTo>
                  <a:lnTo>
                    <a:pt x="121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4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3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2" y="85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63"/>
                  </a:lnTo>
                  <a:lnTo>
                    <a:pt x="2" y="57"/>
                  </a:lnTo>
                  <a:lnTo>
                    <a:pt x="6" y="43"/>
                  </a:lnTo>
                  <a:lnTo>
                    <a:pt x="13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2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8" y="31"/>
                  </a:lnTo>
                  <a:lnTo>
                    <a:pt x="134" y="43"/>
                  </a:lnTo>
                  <a:lnTo>
                    <a:pt x="139" y="57"/>
                  </a:lnTo>
                  <a:lnTo>
                    <a:pt x="140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2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7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4" y="29"/>
                  </a:lnTo>
                  <a:lnTo>
                    <a:pt x="57" y="30"/>
                  </a:lnTo>
                  <a:lnTo>
                    <a:pt x="53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9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6" name="Freeform 31"/>
            <p:cNvSpPr>
              <a:spLocks noEditPoints="1"/>
            </p:cNvSpPr>
            <p:nvPr userDrawn="1"/>
          </p:nvSpPr>
          <p:spPr bwMode="auto">
            <a:xfrm>
              <a:off x="1055" y="3769"/>
              <a:ext cx="46" cy="47"/>
            </a:xfrm>
            <a:custGeom>
              <a:avLst/>
              <a:gdLst>
                <a:gd name="T0" fmla="*/ 139 w 139"/>
                <a:gd name="T1" fmla="*/ 139 h 140"/>
                <a:gd name="T2" fmla="*/ 108 w 139"/>
                <a:gd name="T3" fmla="*/ 125 h 140"/>
                <a:gd name="T4" fmla="*/ 102 w 139"/>
                <a:gd name="T5" fmla="*/ 130 h 140"/>
                <a:gd name="T6" fmla="*/ 81 w 139"/>
                <a:gd name="T7" fmla="*/ 139 h 140"/>
                <a:gd name="T8" fmla="*/ 69 w 139"/>
                <a:gd name="T9" fmla="*/ 140 h 140"/>
                <a:gd name="T10" fmla="*/ 54 w 139"/>
                <a:gd name="T11" fmla="*/ 139 h 140"/>
                <a:gd name="T12" fmla="*/ 30 w 139"/>
                <a:gd name="T13" fmla="*/ 130 h 140"/>
                <a:gd name="T14" fmla="*/ 12 w 139"/>
                <a:gd name="T15" fmla="*/ 110 h 140"/>
                <a:gd name="T16" fmla="*/ 2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5 w 139"/>
                <a:gd name="T25" fmla="*/ 42 h 140"/>
                <a:gd name="T26" fmla="*/ 20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8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2 w 139"/>
                <a:gd name="T47" fmla="*/ 54 h 140"/>
                <a:gd name="T48" fmla="*/ 30 w 139"/>
                <a:gd name="T49" fmla="*/ 70 h 140"/>
                <a:gd name="T50" fmla="*/ 30 w 139"/>
                <a:gd name="T51" fmla="*/ 78 h 140"/>
                <a:gd name="T52" fmla="*/ 36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5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09 w 139"/>
                <a:gd name="T67" fmla="*/ 70 h 140"/>
                <a:gd name="T68" fmla="*/ 108 w 139"/>
                <a:gd name="T69" fmla="*/ 62 h 140"/>
                <a:gd name="T70" fmla="*/ 102 w 139"/>
                <a:gd name="T71" fmla="*/ 47 h 140"/>
                <a:gd name="T72" fmla="*/ 92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8" y="139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2" y="130"/>
                  </a:lnTo>
                  <a:lnTo>
                    <a:pt x="93" y="136"/>
                  </a:lnTo>
                  <a:lnTo>
                    <a:pt x="81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4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20" y="121"/>
                  </a:lnTo>
                  <a:lnTo>
                    <a:pt x="12" y="110"/>
                  </a:lnTo>
                  <a:lnTo>
                    <a:pt x="5" y="99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2" y="49"/>
                  </a:lnTo>
                  <a:lnTo>
                    <a:pt x="5" y="42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4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1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8" y="16"/>
                  </a:lnTo>
                  <a:lnTo>
                    <a:pt x="108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6" y="47"/>
                  </a:lnTo>
                  <a:lnTo>
                    <a:pt x="32" y="54"/>
                  </a:lnTo>
                  <a:lnTo>
                    <a:pt x="30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8"/>
                  </a:lnTo>
                  <a:lnTo>
                    <a:pt x="32" y="86"/>
                  </a:lnTo>
                  <a:lnTo>
                    <a:pt x="36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5" y="108"/>
                  </a:lnTo>
                  <a:lnTo>
                    <a:pt x="92" y="105"/>
                  </a:lnTo>
                  <a:lnTo>
                    <a:pt x="98" y="99"/>
                  </a:lnTo>
                  <a:lnTo>
                    <a:pt x="102" y="93"/>
                  </a:lnTo>
                  <a:lnTo>
                    <a:pt x="106" y="86"/>
                  </a:lnTo>
                  <a:lnTo>
                    <a:pt x="108" y="78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8" y="62"/>
                  </a:lnTo>
                  <a:lnTo>
                    <a:pt x="106" y="54"/>
                  </a:lnTo>
                  <a:lnTo>
                    <a:pt x="102" y="47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5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7" name="Freeform 32"/>
            <p:cNvSpPr>
              <a:spLocks/>
            </p:cNvSpPr>
            <p:nvPr userDrawn="1"/>
          </p:nvSpPr>
          <p:spPr bwMode="auto">
            <a:xfrm>
              <a:off x="1112" y="3769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30 w 65"/>
                <a:gd name="T3" fmla="*/ 2 h 139"/>
                <a:gd name="T4" fmla="*/ 30 w 65"/>
                <a:gd name="T5" fmla="*/ 16 h 139"/>
                <a:gd name="T6" fmla="*/ 30 w 65"/>
                <a:gd name="T7" fmla="*/ 16 h 139"/>
                <a:gd name="T8" fmla="*/ 36 w 65"/>
                <a:gd name="T9" fmla="*/ 10 h 139"/>
                <a:gd name="T10" fmla="*/ 44 w 65"/>
                <a:gd name="T11" fmla="*/ 5 h 139"/>
                <a:gd name="T12" fmla="*/ 47 w 65"/>
                <a:gd name="T13" fmla="*/ 3 h 139"/>
                <a:gd name="T14" fmla="*/ 53 w 65"/>
                <a:gd name="T15" fmla="*/ 2 h 139"/>
                <a:gd name="T16" fmla="*/ 58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49 w 65"/>
                <a:gd name="T29" fmla="*/ 31 h 139"/>
                <a:gd name="T30" fmla="*/ 44 w 65"/>
                <a:gd name="T31" fmla="*/ 35 h 139"/>
                <a:gd name="T32" fmla="*/ 39 w 65"/>
                <a:gd name="T33" fmla="*/ 38 h 139"/>
                <a:gd name="T34" fmla="*/ 36 w 65"/>
                <a:gd name="T35" fmla="*/ 44 h 139"/>
                <a:gd name="T36" fmla="*/ 32 w 65"/>
                <a:gd name="T37" fmla="*/ 50 h 139"/>
                <a:gd name="T38" fmla="*/ 31 w 65"/>
                <a:gd name="T39" fmla="*/ 57 h 139"/>
                <a:gd name="T40" fmla="*/ 30 w 65"/>
                <a:gd name="T41" fmla="*/ 63 h 139"/>
                <a:gd name="T42" fmla="*/ 30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30" y="2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6" y="10"/>
                  </a:lnTo>
                  <a:lnTo>
                    <a:pt x="44" y="5"/>
                  </a:lnTo>
                  <a:lnTo>
                    <a:pt x="47" y="3"/>
                  </a:lnTo>
                  <a:lnTo>
                    <a:pt x="53" y="2"/>
                  </a:lnTo>
                  <a:lnTo>
                    <a:pt x="58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49" y="31"/>
                  </a:lnTo>
                  <a:lnTo>
                    <a:pt x="44" y="35"/>
                  </a:lnTo>
                  <a:lnTo>
                    <a:pt x="39" y="38"/>
                  </a:lnTo>
                  <a:lnTo>
                    <a:pt x="36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8" name="Freeform 33"/>
            <p:cNvSpPr>
              <a:spLocks noEditPoints="1"/>
            </p:cNvSpPr>
            <p:nvPr userDrawn="1"/>
          </p:nvSpPr>
          <p:spPr bwMode="auto">
            <a:xfrm>
              <a:off x="1170" y="3752"/>
              <a:ext cx="37" cy="64"/>
            </a:xfrm>
            <a:custGeom>
              <a:avLst/>
              <a:gdLst>
                <a:gd name="T0" fmla="*/ 56 w 111"/>
                <a:gd name="T1" fmla="*/ 0 h 192"/>
                <a:gd name="T2" fmla="*/ 56 w 111"/>
                <a:gd name="T3" fmla="*/ 0 h 192"/>
                <a:gd name="T4" fmla="*/ 68 w 111"/>
                <a:gd name="T5" fmla="*/ 1 h 192"/>
                <a:gd name="T6" fmla="*/ 78 w 111"/>
                <a:gd name="T7" fmla="*/ 3 h 192"/>
                <a:gd name="T8" fmla="*/ 87 w 111"/>
                <a:gd name="T9" fmla="*/ 8 h 192"/>
                <a:gd name="T10" fmla="*/ 95 w 111"/>
                <a:gd name="T11" fmla="*/ 14 h 192"/>
                <a:gd name="T12" fmla="*/ 102 w 111"/>
                <a:gd name="T13" fmla="*/ 23 h 192"/>
                <a:gd name="T14" fmla="*/ 107 w 111"/>
                <a:gd name="T15" fmla="*/ 32 h 192"/>
                <a:gd name="T16" fmla="*/ 110 w 111"/>
                <a:gd name="T17" fmla="*/ 42 h 192"/>
                <a:gd name="T18" fmla="*/ 111 w 111"/>
                <a:gd name="T19" fmla="*/ 55 h 192"/>
                <a:gd name="T20" fmla="*/ 111 w 111"/>
                <a:gd name="T21" fmla="*/ 55 h 192"/>
                <a:gd name="T22" fmla="*/ 110 w 111"/>
                <a:gd name="T23" fmla="*/ 66 h 192"/>
                <a:gd name="T24" fmla="*/ 108 w 111"/>
                <a:gd name="T25" fmla="*/ 75 h 192"/>
                <a:gd name="T26" fmla="*/ 103 w 111"/>
                <a:gd name="T27" fmla="*/ 84 h 192"/>
                <a:gd name="T28" fmla="*/ 99 w 111"/>
                <a:gd name="T29" fmla="*/ 91 h 192"/>
                <a:gd name="T30" fmla="*/ 92 w 111"/>
                <a:gd name="T31" fmla="*/ 98 h 192"/>
                <a:gd name="T32" fmla="*/ 85 w 111"/>
                <a:gd name="T33" fmla="*/ 103 h 192"/>
                <a:gd name="T34" fmla="*/ 76 w 111"/>
                <a:gd name="T35" fmla="*/ 106 h 192"/>
                <a:gd name="T36" fmla="*/ 68 w 111"/>
                <a:gd name="T37" fmla="*/ 108 h 192"/>
                <a:gd name="T38" fmla="*/ 111 w 111"/>
                <a:gd name="T39" fmla="*/ 192 h 192"/>
                <a:gd name="T40" fmla="*/ 76 w 111"/>
                <a:gd name="T41" fmla="*/ 192 h 192"/>
                <a:gd name="T42" fmla="*/ 35 w 111"/>
                <a:gd name="T43" fmla="*/ 110 h 192"/>
                <a:gd name="T44" fmla="*/ 31 w 111"/>
                <a:gd name="T45" fmla="*/ 110 h 192"/>
                <a:gd name="T46" fmla="*/ 31 w 111"/>
                <a:gd name="T47" fmla="*/ 192 h 192"/>
                <a:gd name="T48" fmla="*/ 0 w 111"/>
                <a:gd name="T49" fmla="*/ 192 h 192"/>
                <a:gd name="T50" fmla="*/ 0 w 111"/>
                <a:gd name="T51" fmla="*/ 0 h 192"/>
                <a:gd name="T52" fmla="*/ 56 w 111"/>
                <a:gd name="T53" fmla="*/ 0 h 192"/>
                <a:gd name="T54" fmla="*/ 31 w 111"/>
                <a:gd name="T55" fmla="*/ 81 h 192"/>
                <a:gd name="T56" fmla="*/ 56 w 111"/>
                <a:gd name="T57" fmla="*/ 81 h 192"/>
                <a:gd name="T58" fmla="*/ 56 w 111"/>
                <a:gd name="T59" fmla="*/ 81 h 192"/>
                <a:gd name="T60" fmla="*/ 62 w 111"/>
                <a:gd name="T61" fmla="*/ 80 h 192"/>
                <a:gd name="T62" fmla="*/ 68 w 111"/>
                <a:gd name="T63" fmla="*/ 79 h 192"/>
                <a:gd name="T64" fmla="*/ 71 w 111"/>
                <a:gd name="T65" fmla="*/ 76 h 192"/>
                <a:gd name="T66" fmla="*/ 75 w 111"/>
                <a:gd name="T67" fmla="*/ 73 h 192"/>
                <a:gd name="T68" fmla="*/ 78 w 111"/>
                <a:gd name="T69" fmla="*/ 69 h 192"/>
                <a:gd name="T70" fmla="*/ 79 w 111"/>
                <a:gd name="T71" fmla="*/ 65 h 192"/>
                <a:gd name="T72" fmla="*/ 80 w 111"/>
                <a:gd name="T73" fmla="*/ 60 h 192"/>
                <a:gd name="T74" fmla="*/ 81 w 111"/>
                <a:gd name="T75" fmla="*/ 55 h 192"/>
                <a:gd name="T76" fmla="*/ 81 w 111"/>
                <a:gd name="T77" fmla="*/ 55 h 192"/>
                <a:gd name="T78" fmla="*/ 80 w 111"/>
                <a:gd name="T79" fmla="*/ 50 h 192"/>
                <a:gd name="T80" fmla="*/ 79 w 111"/>
                <a:gd name="T81" fmla="*/ 44 h 192"/>
                <a:gd name="T82" fmla="*/ 78 w 111"/>
                <a:gd name="T83" fmla="*/ 40 h 192"/>
                <a:gd name="T84" fmla="*/ 75 w 111"/>
                <a:gd name="T85" fmla="*/ 36 h 192"/>
                <a:gd name="T86" fmla="*/ 71 w 111"/>
                <a:gd name="T87" fmla="*/ 33 h 192"/>
                <a:gd name="T88" fmla="*/ 68 w 111"/>
                <a:gd name="T89" fmla="*/ 31 h 192"/>
                <a:gd name="T90" fmla="*/ 62 w 111"/>
                <a:gd name="T91" fmla="*/ 29 h 192"/>
                <a:gd name="T92" fmla="*/ 56 w 111"/>
                <a:gd name="T93" fmla="*/ 29 h 192"/>
                <a:gd name="T94" fmla="*/ 31 w 111"/>
                <a:gd name="T95" fmla="*/ 29 h 192"/>
                <a:gd name="T96" fmla="*/ 31 w 111"/>
                <a:gd name="T97" fmla="*/ 8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1" h="192">
                  <a:moveTo>
                    <a:pt x="56" y="0"/>
                  </a:moveTo>
                  <a:lnTo>
                    <a:pt x="56" y="0"/>
                  </a:lnTo>
                  <a:lnTo>
                    <a:pt x="68" y="1"/>
                  </a:lnTo>
                  <a:lnTo>
                    <a:pt x="78" y="3"/>
                  </a:lnTo>
                  <a:lnTo>
                    <a:pt x="87" y="8"/>
                  </a:lnTo>
                  <a:lnTo>
                    <a:pt x="95" y="14"/>
                  </a:lnTo>
                  <a:lnTo>
                    <a:pt x="102" y="23"/>
                  </a:lnTo>
                  <a:lnTo>
                    <a:pt x="107" y="32"/>
                  </a:lnTo>
                  <a:lnTo>
                    <a:pt x="110" y="42"/>
                  </a:lnTo>
                  <a:lnTo>
                    <a:pt x="111" y="55"/>
                  </a:lnTo>
                  <a:lnTo>
                    <a:pt x="111" y="55"/>
                  </a:lnTo>
                  <a:lnTo>
                    <a:pt x="110" y="66"/>
                  </a:lnTo>
                  <a:lnTo>
                    <a:pt x="108" y="75"/>
                  </a:lnTo>
                  <a:lnTo>
                    <a:pt x="103" y="84"/>
                  </a:lnTo>
                  <a:lnTo>
                    <a:pt x="99" y="91"/>
                  </a:lnTo>
                  <a:lnTo>
                    <a:pt x="92" y="98"/>
                  </a:lnTo>
                  <a:lnTo>
                    <a:pt x="85" y="103"/>
                  </a:lnTo>
                  <a:lnTo>
                    <a:pt x="76" y="106"/>
                  </a:lnTo>
                  <a:lnTo>
                    <a:pt x="68" y="108"/>
                  </a:lnTo>
                  <a:lnTo>
                    <a:pt x="111" y="192"/>
                  </a:lnTo>
                  <a:lnTo>
                    <a:pt x="76" y="192"/>
                  </a:lnTo>
                  <a:lnTo>
                    <a:pt x="35" y="110"/>
                  </a:lnTo>
                  <a:lnTo>
                    <a:pt x="31" y="110"/>
                  </a:lnTo>
                  <a:lnTo>
                    <a:pt x="31" y="192"/>
                  </a:lnTo>
                  <a:lnTo>
                    <a:pt x="0" y="192"/>
                  </a:lnTo>
                  <a:lnTo>
                    <a:pt x="0" y="0"/>
                  </a:lnTo>
                  <a:lnTo>
                    <a:pt x="56" y="0"/>
                  </a:lnTo>
                  <a:close/>
                  <a:moveTo>
                    <a:pt x="31" y="81"/>
                  </a:moveTo>
                  <a:lnTo>
                    <a:pt x="56" y="81"/>
                  </a:lnTo>
                  <a:lnTo>
                    <a:pt x="56" y="81"/>
                  </a:lnTo>
                  <a:lnTo>
                    <a:pt x="62" y="80"/>
                  </a:lnTo>
                  <a:lnTo>
                    <a:pt x="68" y="79"/>
                  </a:lnTo>
                  <a:lnTo>
                    <a:pt x="71" y="76"/>
                  </a:lnTo>
                  <a:lnTo>
                    <a:pt x="75" y="73"/>
                  </a:lnTo>
                  <a:lnTo>
                    <a:pt x="78" y="69"/>
                  </a:lnTo>
                  <a:lnTo>
                    <a:pt x="79" y="65"/>
                  </a:lnTo>
                  <a:lnTo>
                    <a:pt x="80" y="60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0" y="50"/>
                  </a:lnTo>
                  <a:lnTo>
                    <a:pt x="79" y="44"/>
                  </a:lnTo>
                  <a:lnTo>
                    <a:pt x="78" y="40"/>
                  </a:lnTo>
                  <a:lnTo>
                    <a:pt x="75" y="36"/>
                  </a:lnTo>
                  <a:lnTo>
                    <a:pt x="71" y="33"/>
                  </a:lnTo>
                  <a:lnTo>
                    <a:pt x="68" y="31"/>
                  </a:lnTo>
                  <a:lnTo>
                    <a:pt x="62" y="29"/>
                  </a:lnTo>
                  <a:lnTo>
                    <a:pt x="56" y="29"/>
                  </a:lnTo>
                  <a:lnTo>
                    <a:pt x="31" y="29"/>
                  </a:lnTo>
                  <a:lnTo>
                    <a:pt x="31" y="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9" name="Freeform 34"/>
            <p:cNvSpPr>
              <a:spLocks noEditPoints="1"/>
            </p:cNvSpPr>
            <p:nvPr userDrawn="1"/>
          </p:nvSpPr>
          <p:spPr bwMode="auto">
            <a:xfrm>
              <a:off x="1212" y="3769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1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2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1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0" name="Freeform 35"/>
            <p:cNvSpPr>
              <a:spLocks/>
            </p:cNvSpPr>
            <p:nvPr userDrawn="1"/>
          </p:nvSpPr>
          <p:spPr bwMode="auto">
            <a:xfrm>
              <a:off x="1264" y="3769"/>
              <a:ext cx="32" cy="47"/>
            </a:xfrm>
            <a:custGeom>
              <a:avLst/>
              <a:gdLst>
                <a:gd name="T0" fmla="*/ 29 w 95"/>
                <a:gd name="T1" fmla="*/ 93 h 140"/>
                <a:gd name="T2" fmla="*/ 31 w 95"/>
                <a:gd name="T3" fmla="*/ 101 h 140"/>
                <a:gd name="T4" fmla="*/ 34 w 95"/>
                <a:gd name="T5" fmla="*/ 107 h 140"/>
                <a:gd name="T6" fmla="*/ 47 w 95"/>
                <a:gd name="T7" fmla="*/ 113 h 140"/>
                <a:gd name="T8" fmla="*/ 54 w 95"/>
                <a:gd name="T9" fmla="*/ 112 h 140"/>
                <a:gd name="T10" fmla="*/ 62 w 95"/>
                <a:gd name="T11" fmla="*/ 106 h 140"/>
                <a:gd name="T12" fmla="*/ 64 w 95"/>
                <a:gd name="T13" fmla="*/ 99 h 140"/>
                <a:gd name="T14" fmla="*/ 64 w 95"/>
                <a:gd name="T15" fmla="*/ 96 h 140"/>
                <a:gd name="T16" fmla="*/ 62 w 95"/>
                <a:gd name="T17" fmla="*/ 86 h 140"/>
                <a:gd name="T18" fmla="*/ 56 w 95"/>
                <a:gd name="T19" fmla="*/ 81 h 140"/>
                <a:gd name="T20" fmla="*/ 38 w 95"/>
                <a:gd name="T21" fmla="*/ 75 h 140"/>
                <a:gd name="T22" fmla="*/ 33 w 95"/>
                <a:gd name="T23" fmla="*/ 73 h 140"/>
                <a:gd name="T24" fmla="*/ 23 w 95"/>
                <a:gd name="T25" fmla="*/ 67 h 140"/>
                <a:gd name="T26" fmla="*/ 15 w 95"/>
                <a:gd name="T27" fmla="*/ 59 h 140"/>
                <a:gd name="T28" fmla="*/ 10 w 95"/>
                <a:gd name="T29" fmla="*/ 46 h 140"/>
                <a:gd name="T30" fmla="*/ 9 w 95"/>
                <a:gd name="T31" fmla="*/ 38 h 140"/>
                <a:gd name="T32" fmla="*/ 13 w 95"/>
                <a:gd name="T33" fmla="*/ 23 h 140"/>
                <a:gd name="T34" fmla="*/ 21 w 95"/>
                <a:gd name="T35" fmla="*/ 11 h 140"/>
                <a:gd name="T36" fmla="*/ 32 w 95"/>
                <a:gd name="T37" fmla="*/ 3 h 140"/>
                <a:gd name="T38" fmla="*/ 47 w 95"/>
                <a:gd name="T39" fmla="*/ 0 h 140"/>
                <a:gd name="T40" fmla="*/ 57 w 95"/>
                <a:gd name="T41" fmla="*/ 2 h 140"/>
                <a:gd name="T42" fmla="*/ 73 w 95"/>
                <a:gd name="T43" fmla="*/ 11 h 140"/>
                <a:gd name="T44" fmla="*/ 61 w 95"/>
                <a:gd name="T45" fmla="*/ 36 h 140"/>
                <a:gd name="T46" fmla="*/ 60 w 95"/>
                <a:gd name="T47" fmla="*/ 33 h 140"/>
                <a:gd name="T48" fmla="*/ 53 w 95"/>
                <a:gd name="T49" fmla="*/ 28 h 140"/>
                <a:gd name="T50" fmla="*/ 49 w 95"/>
                <a:gd name="T51" fmla="*/ 27 h 140"/>
                <a:gd name="T52" fmla="*/ 41 w 95"/>
                <a:gd name="T53" fmla="*/ 30 h 140"/>
                <a:gd name="T54" fmla="*/ 38 w 95"/>
                <a:gd name="T55" fmla="*/ 38 h 140"/>
                <a:gd name="T56" fmla="*/ 39 w 95"/>
                <a:gd name="T57" fmla="*/ 42 h 140"/>
                <a:gd name="T58" fmla="*/ 44 w 95"/>
                <a:gd name="T59" fmla="*/ 47 h 140"/>
                <a:gd name="T60" fmla="*/ 57 w 95"/>
                <a:gd name="T61" fmla="*/ 52 h 140"/>
                <a:gd name="T62" fmla="*/ 69 w 95"/>
                <a:gd name="T63" fmla="*/ 55 h 140"/>
                <a:gd name="T64" fmla="*/ 78 w 95"/>
                <a:gd name="T65" fmla="*/ 60 h 140"/>
                <a:gd name="T66" fmla="*/ 87 w 95"/>
                <a:gd name="T67" fmla="*/ 68 h 140"/>
                <a:gd name="T68" fmla="*/ 93 w 95"/>
                <a:gd name="T69" fmla="*/ 80 h 140"/>
                <a:gd name="T70" fmla="*/ 95 w 95"/>
                <a:gd name="T71" fmla="*/ 94 h 140"/>
                <a:gd name="T72" fmla="*/ 94 w 95"/>
                <a:gd name="T73" fmla="*/ 105 h 140"/>
                <a:gd name="T74" fmla="*/ 87 w 95"/>
                <a:gd name="T75" fmla="*/ 121 h 140"/>
                <a:gd name="T76" fmla="*/ 75 w 95"/>
                <a:gd name="T77" fmla="*/ 133 h 140"/>
                <a:gd name="T78" fmla="*/ 57 w 95"/>
                <a:gd name="T79" fmla="*/ 140 h 140"/>
                <a:gd name="T80" fmla="*/ 47 w 95"/>
                <a:gd name="T81" fmla="*/ 140 h 140"/>
                <a:gd name="T82" fmla="*/ 28 w 95"/>
                <a:gd name="T83" fmla="*/ 137 h 140"/>
                <a:gd name="T84" fmla="*/ 13 w 95"/>
                <a:gd name="T85" fmla="*/ 128 h 140"/>
                <a:gd name="T86" fmla="*/ 4 w 95"/>
                <a:gd name="T87" fmla="*/ 112 h 140"/>
                <a:gd name="T88" fmla="*/ 0 w 95"/>
                <a:gd name="T89" fmla="*/ 9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5" h="140">
                  <a:moveTo>
                    <a:pt x="29" y="93"/>
                  </a:moveTo>
                  <a:lnTo>
                    <a:pt x="29" y="93"/>
                  </a:lnTo>
                  <a:lnTo>
                    <a:pt x="30" y="98"/>
                  </a:lnTo>
                  <a:lnTo>
                    <a:pt x="31" y="101"/>
                  </a:lnTo>
                  <a:lnTo>
                    <a:pt x="32" y="105"/>
                  </a:lnTo>
                  <a:lnTo>
                    <a:pt x="34" y="107"/>
                  </a:lnTo>
                  <a:lnTo>
                    <a:pt x="40" y="110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54" y="112"/>
                  </a:lnTo>
                  <a:lnTo>
                    <a:pt x="60" y="108"/>
                  </a:lnTo>
                  <a:lnTo>
                    <a:pt x="62" y="106"/>
                  </a:lnTo>
                  <a:lnTo>
                    <a:pt x="63" y="102"/>
                  </a:lnTo>
                  <a:lnTo>
                    <a:pt x="64" y="99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0"/>
                  </a:lnTo>
                  <a:lnTo>
                    <a:pt x="62" y="86"/>
                  </a:lnTo>
                  <a:lnTo>
                    <a:pt x="60" y="83"/>
                  </a:lnTo>
                  <a:lnTo>
                    <a:pt x="56" y="81"/>
                  </a:lnTo>
                  <a:lnTo>
                    <a:pt x="48" y="77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3" y="73"/>
                  </a:lnTo>
                  <a:lnTo>
                    <a:pt x="28" y="70"/>
                  </a:lnTo>
                  <a:lnTo>
                    <a:pt x="23" y="67"/>
                  </a:lnTo>
                  <a:lnTo>
                    <a:pt x="18" y="63"/>
                  </a:lnTo>
                  <a:lnTo>
                    <a:pt x="15" y="59"/>
                  </a:lnTo>
                  <a:lnTo>
                    <a:pt x="12" y="53"/>
                  </a:lnTo>
                  <a:lnTo>
                    <a:pt x="10" y="46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0"/>
                  </a:lnTo>
                  <a:lnTo>
                    <a:pt x="13" y="23"/>
                  </a:lnTo>
                  <a:lnTo>
                    <a:pt x="16" y="16"/>
                  </a:lnTo>
                  <a:lnTo>
                    <a:pt x="21" y="11"/>
                  </a:lnTo>
                  <a:lnTo>
                    <a:pt x="26" y="6"/>
                  </a:lnTo>
                  <a:lnTo>
                    <a:pt x="32" y="3"/>
                  </a:lnTo>
                  <a:lnTo>
                    <a:pt x="40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57" y="2"/>
                  </a:lnTo>
                  <a:lnTo>
                    <a:pt x="67" y="5"/>
                  </a:lnTo>
                  <a:lnTo>
                    <a:pt x="73" y="11"/>
                  </a:lnTo>
                  <a:lnTo>
                    <a:pt x="80" y="18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0" y="33"/>
                  </a:lnTo>
                  <a:lnTo>
                    <a:pt x="56" y="29"/>
                  </a:lnTo>
                  <a:lnTo>
                    <a:pt x="53" y="28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5" y="28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9" y="42"/>
                  </a:lnTo>
                  <a:lnTo>
                    <a:pt x="41" y="45"/>
                  </a:lnTo>
                  <a:lnTo>
                    <a:pt x="44" y="47"/>
                  </a:lnTo>
                  <a:lnTo>
                    <a:pt x="48" y="50"/>
                  </a:lnTo>
                  <a:lnTo>
                    <a:pt x="57" y="52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73" y="58"/>
                  </a:lnTo>
                  <a:lnTo>
                    <a:pt x="78" y="60"/>
                  </a:lnTo>
                  <a:lnTo>
                    <a:pt x="83" y="63"/>
                  </a:lnTo>
                  <a:lnTo>
                    <a:pt x="87" y="68"/>
                  </a:lnTo>
                  <a:lnTo>
                    <a:pt x="91" y="74"/>
                  </a:lnTo>
                  <a:lnTo>
                    <a:pt x="93" y="80"/>
                  </a:lnTo>
                  <a:lnTo>
                    <a:pt x="94" y="86"/>
                  </a:lnTo>
                  <a:lnTo>
                    <a:pt x="95" y="94"/>
                  </a:lnTo>
                  <a:lnTo>
                    <a:pt x="95" y="94"/>
                  </a:lnTo>
                  <a:lnTo>
                    <a:pt x="94" y="105"/>
                  </a:lnTo>
                  <a:lnTo>
                    <a:pt x="92" y="114"/>
                  </a:lnTo>
                  <a:lnTo>
                    <a:pt x="87" y="121"/>
                  </a:lnTo>
                  <a:lnTo>
                    <a:pt x="81" y="128"/>
                  </a:lnTo>
                  <a:lnTo>
                    <a:pt x="75" y="133"/>
                  </a:lnTo>
                  <a:lnTo>
                    <a:pt x="67" y="138"/>
                  </a:lnTo>
                  <a:lnTo>
                    <a:pt x="57" y="140"/>
                  </a:lnTo>
                  <a:lnTo>
                    <a:pt x="47" y="140"/>
                  </a:lnTo>
                  <a:lnTo>
                    <a:pt x="47" y="140"/>
                  </a:lnTo>
                  <a:lnTo>
                    <a:pt x="37" y="140"/>
                  </a:lnTo>
                  <a:lnTo>
                    <a:pt x="28" y="137"/>
                  </a:lnTo>
                  <a:lnTo>
                    <a:pt x="20" y="132"/>
                  </a:lnTo>
                  <a:lnTo>
                    <a:pt x="13" y="128"/>
                  </a:lnTo>
                  <a:lnTo>
                    <a:pt x="8" y="120"/>
                  </a:lnTo>
                  <a:lnTo>
                    <a:pt x="4" y="112"/>
                  </a:lnTo>
                  <a:lnTo>
                    <a:pt x="1" y="104"/>
                  </a:lnTo>
                  <a:lnTo>
                    <a:pt x="0" y="93"/>
                  </a:lnTo>
                  <a:lnTo>
                    <a:pt x="29" y="9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1" name="Freeform 36"/>
            <p:cNvSpPr>
              <a:spLocks noEditPoints="1"/>
            </p:cNvSpPr>
            <p:nvPr userDrawn="1"/>
          </p:nvSpPr>
          <p:spPr bwMode="auto">
            <a:xfrm>
              <a:off x="1303" y="3769"/>
              <a:ext cx="47" cy="47"/>
            </a:xfrm>
            <a:custGeom>
              <a:avLst/>
              <a:gdLst>
                <a:gd name="T0" fmla="*/ 32 w 140"/>
                <a:gd name="T1" fmla="*/ 81 h 140"/>
                <a:gd name="T2" fmla="*/ 36 w 140"/>
                <a:gd name="T3" fmla="*/ 93 h 140"/>
                <a:gd name="T4" fmla="*/ 44 w 140"/>
                <a:gd name="T5" fmla="*/ 104 h 140"/>
                <a:gd name="T6" fmla="*/ 56 w 140"/>
                <a:gd name="T7" fmla="*/ 109 h 140"/>
                <a:gd name="T8" fmla="*/ 70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0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0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19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8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1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1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6" y="93"/>
                  </a:lnTo>
                  <a:lnTo>
                    <a:pt x="40" y="99"/>
                  </a:lnTo>
                  <a:lnTo>
                    <a:pt x="44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1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0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19" y="21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48" y="4"/>
                  </a:lnTo>
                  <a:lnTo>
                    <a:pt x="55" y="2"/>
                  </a:lnTo>
                  <a:lnTo>
                    <a:pt x="6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3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8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81" y="30"/>
                  </a:lnTo>
                  <a:lnTo>
                    <a:pt x="75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1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2" name="Freeform 37"/>
            <p:cNvSpPr>
              <a:spLocks noEditPoints="1"/>
            </p:cNvSpPr>
            <p:nvPr userDrawn="1"/>
          </p:nvSpPr>
          <p:spPr bwMode="auto">
            <a:xfrm>
              <a:off x="1356" y="3769"/>
              <a:ext cx="46" cy="47"/>
            </a:xfrm>
            <a:custGeom>
              <a:avLst/>
              <a:gdLst>
                <a:gd name="T0" fmla="*/ 139 w 139"/>
                <a:gd name="T1" fmla="*/ 139 h 140"/>
                <a:gd name="T2" fmla="*/ 108 w 139"/>
                <a:gd name="T3" fmla="*/ 125 h 140"/>
                <a:gd name="T4" fmla="*/ 102 w 139"/>
                <a:gd name="T5" fmla="*/ 130 h 140"/>
                <a:gd name="T6" fmla="*/ 82 w 139"/>
                <a:gd name="T7" fmla="*/ 139 h 140"/>
                <a:gd name="T8" fmla="*/ 69 w 139"/>
                <a:gd name="T9" fmla="*/ 140 h 140"/>
                <a:gd name="T10" fmla="*/ 55 w 139"/>
                <a:gd name="T11" fmla="*/ 139 h 140"/>
                <a:gd name="T12" fmla="*/ 30 w 139"/>
                <a:gd name="T13" fmla="*/ 130 h 140"/>
                <a:gd name="T14" fmla="*/ 11 w 139"/>
                <a:gd name="T15" fmla="*/ 110 h 140"/>
                <a:gd name="T16" fmla="*/ 3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6 w 139"/>
                <a:gd name="T25" fmla="*/ 42 h 140"/>
                <a:gd name="T26" fmla="*/ 19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8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3 w 139"/>
                <a:gd name="T47" fmla="*/ 54 h 140"/>
                <a:gd name="T48" fmla="*/ 30 w 139"/>
                <a:gd name="T49" fmla="*/ 70 h 140"/>
                <a:gd name="T50" fmla="*/ 31 w 139"/>
                <a:gd name="T51" fmla="*/ 78 h 140"/>
                <a:gd name="T52" fmla="*/ 37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6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09 w 139"/>
                <a:gd name="T67" fmla="*/ 70 h 140"/>
                <a:gd name="T68" fmla="*/ 109 w 139"/>
                <a:gd name="T69" fmla="*/ 62 h 140"/>
                <a:gd name="T70" fmla="*/ 103 w 139"/>
                <a:gd name="T71" fmla="*/ 47 h 140"/>
                <a:gd name="T72" fmla="*/ 92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8" y="139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2" y="130"/>
                  </a:lnTo>
                  <a:lnTo>
                    <a:pt x="93" y="136"/>
                  </a:lnTo>
                  <a:lnTo>
                    <a:pt x="82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5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19" y="121"/>
                  </a:lnTo>
                  <a:lnTo>
                    <a:pt x="11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3" y="49"/>
                  </a:lnTo>
                  <a:lnTo>
                    <a:pt x="6" y="42"/>
                  </a:lnTo>
                  <a:lnTo>
                    <a:pt x="11" y="30"/>
                  </a:lnTo>
                  <a:lnTo>
                    <a:pt x="19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1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8" y="16"/>
                  </a:lnTo>
                  <a:lnTo>
                    <a:pt x="108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7" y="47"/>
                  </a:lnTo>
                  <a:lnTo>
                    <a:pt x="33" y="54"/>
                  </a:lnTo>
                  <a:lnTo>
                    <a:pt x="31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8"/>
                  </a:lnTo>
                  <a:lnTo>
                    <a:pt x="33" y="86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6" y="108"/>
                  </a:lnTo>
                  <a:lnTo>
                    <a:pt x="92" y="105"/>
                  </a:lnTo>
                  <a:lnTo>
                    <a:pt x="98" y="99"/>
                  </a:lnTo>
                  <a:lnTo>
                    <a:pt x="103" y="93"/>
                  </a:lnTo>
                  <a:lnTo>
                    <a:pt x="106" y="86"/>
                  </a:lnTo>
                  <a:lnTo>
                    <a:pt x="109" y="78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62"/>
                  </a:lnTo>
                  <a:lnTo>
                    <a:pt x="106" y="54"/>
                  </a:lnTo>
                  <a:lnTo>
                    <a:pt x="103" y="47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6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3" name="Freeform 38"/>
            <p:cNvSpPr>
              <a:spLocks/>
            </p:cNvSpPr>
            <p:nvPr userDrawn="1"/>
          </p:nvSpPr>
          <p:spPr bwMode="auto">
            <a:xfrm>
              <a:off x="1413" y="3769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31 w 65"/>
                <a:gd name="T3" fmla="*/ 2 h 139"/>
                <a:gd name="T4" fmla="*/ 31 w 65"/>
                <a:gd name="T5" fmla="*/ 16 h 139"/>
                <a:gd name="T6" fmla="*/ 31 w 65"/>
                <a:gd name="T7" fmla="*/ 16 h 139"/>
                <a:gd name="T8" fmla="*/ 35 w 65"/>
                <a:gd name="T9" fmla="*/ 10 h 139"/>
                <a:gd name="T10" fmla="*/ 43 w 65"/>
                <a:gd name="T11" fmla="*/ 5 h 139"/>
                <a:gd name="T12" fmla="*/ 48 w 65"/>
                <a:gd name="T13" fmla="*/ 3 h 139"/>
                <a:gd name="T14" fmla="*/ 52 w 65"/>
                <a:gd name="T15" fmla="*/ 2 h 139"/>
                <a:gd name="T16" fmla="*/ 59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50 w 65"/>
                <a:gd name="T29" fmla="*/ 31 h 139"/>
                <a:gd name="T30" fmla="*/ 44 w 65"/>
                <a:gd name="T31" fmla="*/ 35 h 139"/>
                <a:gd name="T32" fmla="*/ 40 w 65"/>
                <a:gd name="T33" fmla="*/ 38 h 139"/>
                <a:gd name="T34" fmla="*/ 35 w 65"/>
                <a:gd name="T35" fmla="*/ 44 h 139"/>
                <a:gd name="T36" fmla="*/ 33 w 65"/>
                <a:gd name="T37" fmla="*/ 50 h 139"/>
                <a:gd name="T38" fmla="*/ 31 w 65"/>
                <a:gd name="T39" fmla="*/ 57 h 139"/>
                <a:gd name="T40" fmla="*/ 31 w 65"/>
                <a:gd name="T41" fmla="*/ 63 h 139"/>
                <a:gd name="T42" fmla="*/ 31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31" y="2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0"/>
                  </a:lnTo>
                  <a:lnTo>
                    <a:pt x="43" y="5"/>
                  </a:lnTo>
                  <a:lnTo>
                    <a:pt x="48" y="3"/>
                  </a:lnTo>
                  <a:lnTo>
                    <a:pt x="52" y="2"/>
                  </a:lnTo>
                  <a:lnTo>
                    <a:pt x="59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50" y="31"/>
                  </a:lnTo>
                  <a:lnTo>
                    <a:pt x="44" y="35"/>
                  </a:lnTo>
                  <a:lnTo>
                    <a:pt x="40" y="38"/>
                  </a:lnTo>
                  <a:lnTo>
                    <a:pt x="35" y="44"/>
                  </a:lnTo>
                  <a:lnTo>
                    <a:pt x="33" y="50"/>
                  </a:lnTo>
                  <a:lnTo>
                    <a:pt x="31" y="57"/>
                  </a:lnTo>
                  <a:lnTo>
                    <a:pt x="31" y="63"/>
                  </a:lnTo>
                  <a:lnTo>
                    <a:pt x="31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4" name="Freeform 39"/>
            <p:cNvSpPr>
              <a:spLocks/>
            </p:cNvSpPr>
            <p:nvPr userDrawn="1"/>
          </p:nvSpPr>
          <p:spPr bwMode="auto">
            <a:xfrm>
              <a:off x="1440" y="3769"/>
              <a:ext cx="47" cy="47"/>
            </a:xfrm>
            <a:custGeom>
              <a:avLst/>
              <a:gdLst>
                <a:gd name="T0" fmla="*/ 71 w 141"/>
                <a:gd name="T1" fmla="*/ 113 h 140"/>
                <a:gd name="T2" fmla="*/ 87 w 141"/>
                <a:gd name="T3" fmla="*/ 109 h 140"/>
                <a:gd name="T4" fmla="*/ 100 w 141"/>
                <a:gd name="T5" fmla="*/ 100 h 140"/>
                <a:gd name="T6" fmla="*/ 108 w 141"/>
                <a:gd name="T7" fmla="*/ 88 h 140"/>
                <a:gd name="T8" fmla="*/ 110 w 141"/>
                <a:gd name="T9" fmla="*/ 70 h 140"/>
                <a:gd name="T10" fmla="*/ 141 w 141"/>
                <a:gd name="T11" fmla="*/ 70 h 140"/>
                <a:gd name="T12" fmla="*/ 140 w 141"/>
                <a:gd name="T13" fmla="*/ 85 h 140"/>
                <a:gd name="T14" fmla="*/ 135 w 141"/>
                <a:gd name="T15" fmla="*/ 98 h 140"/>
                <a:gd name="T16" fmla="*/ 120 w 141"/>
                <a:gd name="T17" fmla="*/ 121 h 140"/>
                <a:gd name="T18" fmla="*/ 98 w 141"/>
                <a:gd name="T19" fmla="*/ 136 h 140"/>
                <a:gd name="T20" fmla="*/ 85 w 141"/>
                <a:gd name="T21" fmla="*/ 139 h 140"/>
                <a:gd name="T22" fmla="*/ 71 w 141"/>
                <a:gd name="T23" fmla="*/ 140 h 140"/>
                <a:gd name="T24" fmla="*/ 63 w 141"/>
                <a:gd name="T25" fmla="*/ 140 h 140"/>
                <a:gd name="T26" fmla="*/ 49 w 141"/>
                <a:gd name="T27" fmla="*/ 138 h 140"/>
                <a:gd name="T28" fmla="*/ 31 w 141"/>
                <a:gd name="T29" fmla="*/ 129 h 140"/>
                <a:gd name="T30" fmla="*/ 13 w 141"/>
                <a:gd name="T31" fmla="*/ 110 h 140"/>
                <a:gd name="T32" fmla="*/ 3 w 141"/>
                <a:gd name="T33" fmla="*/ 92 h 140"/>
                <a:gd name="T34" fmla="*/ 1 w 141"/>
                <a:gd name="T35" fmla="*/ 78 h 140"/>
                <a:gd name="T36" fmla="*/ 0 w 141"/>
                <a:gd name="T37" fmla="*/ 70 h 140"/>
                <a:gd name="T38" fmla="*/ 2 w 141"/>
                <a:gd name="T39" fmla="*/ 55 h 140"/>
                <a:gd name="T40" fmla="*/ 6 w 141"/>
                <a:gd name="T41" fmla="*/ 43 h 140"/>
                <a:gd name="T42" fmla="*/ 21 w 141"/>
                <a:gd name="T43" fmla="*/ 20 h 140"/>
                <a:gd name="T44" fmla="*/ 42 w 141"/>
                <a:gd name="T45" fmla="*/ 5 h 140"/>
                <a:gd name="T46" fmla="*/ 56 w 141"/>
                <a:gd name="T47" fmla="*/ 2 h 140"/>
                <a:gd name="T48" fmla="*/ 71 w 141"/>
                <a:gd name="T49" fmla="*/ 0 h 140"/>
                <a:gd name="T50" fmla="*/ 79 w 141"/>
                <a:gd name="T51" fmla="*/ 0 h 140"/>
                <a:gd name="T52" fmla="*/ 93 w 141"/>
                <a:gd name="T53" fmla="*/ 4 h 140"/>
                <a:gd name="T54" fmla="*/ 105 w 141"/>
                <a:gd name="T55" fmla="*/ 8 h 140"/>
                <a:gd name="T56" fmla="*/ 121 w 141"/>
                <a:gd name="T57" fmla="*/ 21 h 140"/>
                <a:gd name="T58" fmla="*/ 98 w 141"/>
                <a:gd name="T59" fmla="*/ 41 h 140"/>
                <a:gd name="T60" fmla="*/ 87 w 141"/>
                <a:gd name="T61" fmla="*/ 33 h 140"/>
                <a:gd name="T62" fmla="*/ 71 w 141"/>
                <a:gd name="T63" fmla="*/ 29 h 140"/>
                <a:gd name="T64" fmla="*/ 62 w 141"/>
                <a:gd name="T65" fmla="*/ 29 h 140"/>
                <a:gd name="T66" fmla="*/ 48 w 141"/>
                <a:gd name="T67" fmla="*/ 36 h 140"/>
                <a:gd name="T68" fmla="*/ 38 w 141"/>
                <a:gd name="T69" fmla="*/ 46 h 140"/>
                <a:gd name="T70" fmla="*/ 32 w 141"/>
                <a:gd name="T71" fmla="*/ 61 h 140"/>
                <a:gd name="T72" fmla="*/ 31 w 141"/>
                <a:gd name="T73" fmla="*/ 70 h 140"/>
                <a:gd name="T74" fmla="*/ 34 w 141"/>
                <a:gd name="T75" fmla="*/ 88 h 140"/>
                <a:gd name="T76" fmla="*/ 42 w 141"/>
                <a:gd name="T77" fmla="*/ 100 h 140"/>
                <a:gd name="T78" fmla="*/ 55 w 141"/>
                <a:gd name="T79" fmla="*/ 109 h 140"/>
                <a:gd name="T80" fmla="*/ 71 w 141"/>
                <a:gd name="T81" fmla="*/ 11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0">
                  <a:moveTo>
                    <a:pt x="71" y="113"/>
                  </a:moveTo>
                  <a:lnTo>
                    <a:pt x="71" y="113"/>
                  </a:lnTo>
                  <a:lnTo>
                    <a:pt x="79" y="112"/>
                  </a:lnTo>
                  <a:lnTo>
                    <a:pt x="87" y="109"/>
                  </a:lnTo>
                  <a:lnTo>
                    <a:pt x="94" y="106"/>
                  </a:lnTo>
                  <a:lnTo>
                    <a:pt x="100" y="100"/>
                  </a:lnTo>
                  <a:lnTo>
                    <a:pt x="104" y="94"/>
                  </a:lnTo>
                  <a:lnTo>
                    <a:pt x="108" y="88"/>
                  </a:lnTo>
                  <a:lnTo>
                    <a:pt x="110" y="80"/>
                  </a:lnTo>
                  <a:lnTo>
                    <a:pt x="110" y="70"/>
                  </a:lnTo>
                  <a:lnTo>
                    <a:pt x="141" y="70"/>
                  </a:lnTo>
                  <a:lnTo>
                    <a:pt x="141" y="70"/>
                  </a:lnTo>
                  <a:lnTo>
                    <a:pt x="141" y="78"/>
                  </a:lnTo>
                  <a:lnTo>
                    <a:pt x="140" y="85"/>
                  </a:lnTo>
                  <a:lnTo>
                    <a:pt x="137" y="92"/>
                  </a:lnTo>
                  <a:lnTo>
                    <a:pt x="135" y="98"/>
                  </a:lnTo>
                  <a:lnTo>
                    <a:pt x="129" y="110"/>
                  </a:lnTo>
                  <a:lnTo>
                    <a:pt x="120" y="121"/>
                  </a:lnTo>
                  <a:lnTo>
                    <a:pt x="110" y="129"/>
                  </a:lnTo>
                  <a:lnTo>
                    <a:pt x="98" y="136"/>
                  </a:lnTo>
                  <a:lnTo>
                    <a:pt x="92" y="138"/>
                  </a:lnTo>
                  <a:lnTo>
                    <a:pt x="85" y="139"/>
                  </a:lnTo>
                  <a:lnTo>
                    <a:pt x="78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3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1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63"/>
                  </a:lnTo>
                  <a:lnTo>
                    <a:pt x="2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13" y="30"/>
                  </a:lnTo>
                  <a:lnTo>
                    <a:pt x="21" y="20"/>
                  </a:lnTo>
                  <a:lnTo>
                    <a:pt x="31" y="12"/>
                  </a:lnTo>
                  <a:lnTo>
                    <a:pt x="42" y="5"/>
                  </a:lnTo>
                  <a:lnTo>
                    <a:pt x="49" y="3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6" y="2"/>
                  </a:lnTo>
                  <a:lnTo>
                    <a:pt x="93" y="4"/>
                  </a:lnTo>
                  <a:lnTo>
                    <a:pt x="100" y="6"/>
                  </a:lnTo>
                  <a:lnTo>
                    <a:pt x="105" y="8"/>
                  </a:lnTo>
                  <a:lnTo>
                    <a:pt x="111" y="12"/>
                  </a:lnTo>
                  <a:lnTo>
                    <a:pt x="121" y="21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79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62" y="29"/>
                  </a:lnTo>
                  <a:lnTo>
                    <a:pt x="55" y="31"/>
                  </a:lnTo>
                  <a:lnTo>
                    <a:pt x="48" y="36"/>
                  </a:lnTo>
                  <a:lnTo>
                    <a:pt x="42" y="41"/>
                  </a:lnTo>
                  <a:lnTo>
                    <a:pt x="38" y="46"/>
                  </a:lnTo>
                  <a:lnTo>
                    <a:pt x="34" y="53"/>
                  </a:lnTo>
                  <a:lnTo>
                    <a:pt x="32" y="61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2" y="80"/>
                  </a:lnTo>
                  <a:lnTo>
                    <a:pt x="34" y="88"/>
                  </a:lnTo>
                  <a:lnTo>
                    <a:pt x="38" y="94"/>
                  </a:lnTo>
                  <a:lnTo>
                    <a:pt x="42" y="100"/>
                  </a:lnTo>
                  <a:lnTo>
                    <a:pt x="48" y="106"/>
                  </a:lnTo>
                  <a:lnTo>
                    <a:pt x="55" y="109"/>
                  </a:lnTo>
                  <a:lnTo>
                    <a:pt x="62" y="112"/>
                  </a:lnTo>
                  <a:lnTo>
                    <a:pt x="71" y="113"/>
                  </a:lnTo>
                  <a:lnTo>
                    <a:pt x="71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5" name="Freeform 40"/>
            <p:cNvSpPr>
              <a:spLocks/>
            </p:cNvSpPr>
            <p:nvPr userDrawn="1"/>
          </p:nvSpPr>
          <p:spPr bwMode="auto">
            <a:xfrm>
              <a:off x="1495" y="3750"/>
              <a:ext cx="40" cy="66"/>
            </a:xfrm>
            <a:custGeom>
              <a:avLst/>
              <a:gdLst>
                <a:gd name="T0" fmla="*/ 0 w 122"/>
                <a:gd name="T1" fmla="*/ 4 h 196"/>
                <a:gd name="T2" fmla="*/ 30 w 122"/>
                <a:gd name="T3" fmla="*/ 0 h 196"/>
                <a:gd name="T4" fmla="*/ 30 w 122"/>
                <a:gd name="T5" fmla="*/ 75 h 196"/>
                <a:gd name="T6" fmla="*/ 30 w 122"/>
                <a:gd name="T7" fmla="*/ 75 h 196"/>
                <a:gd name="T8" fmla="*/ 37 w 122"/>
                <a:gd name="T9" fmla="*/ 68 h 196"/>
                <a:gd name="T10" fmla="*/ 46 w 122"/>
                <a:gd name="T11" fmla="*/ 62 h 196"/>
                <a:gd name="T12" fmla="*/ 57 w 122"/>
                <a:gd name="T13" fmla="*/ 59 h 196"/>
                <a:gd name="T14" fmla="*/ 63 w 122"/>
                <a:gd name="T15" fmla="*/ 57 h 196"/>
                <a:gd name="T16" fmla="*/ 70 w 122"/>
                <a:gd name="T17" fmla="*/ 57 h 196"/>
                <a:gd name="T18" fmla="*/ 70 w 122"/>
                <a:gd name="T19" fmla="*/ 57 h 196"/>
                <a:gd name="T20" fmla="*/ 81 w 122"/>
                <a:gd name="T21" fmla="*/ 59 h 196"/>
                <a:gd name="T22" fmla="*/ 92 w 122"/>
                <a:gd name="T23" fmla="*/ 61 h 196"/>
                <a:gd name="T24" fmla="*/ 101 w 122"/>
                <a:gd name="T25" fmla="*/ 65 h 196"/>
                <a:gd name="T26" fmla="*/ 108 w 122"/>
                <a:gd name="T27" fmla="*/ 72 h 196"/>
                <a:gd name="T28" fmla="*/ 113 w 122"/>
                <a:gd name="T29" fmla="*/ 80 h 196"/>
                <a:gd name="T30" fmla="*/ 118 w 122"/>
                <a:gd name="T31" fmla="*/ 90 h 196"/>
                <a:gd name="T32" fmla="*/ 121 w 122"/>
                <a:gd name="T33" fmla="*/ 101 h 196"/>
                <a:gd name="T34" fmla="*/ 122 w 122"/>
                <a:gd name="T35" fmla="*/ 114 h 196"/>
                <a:gd name="T36" fmla="*/ 122 w 122"/>
                <a:gd name="T37" fmla="*/ 196 h 196"/>
                <a:gd name="T38" fmla="*/ 92 w 122"/>
                <a:gd name="T39" fmla="*/ 196 h 196"/>
                <a:gd name="T40" fmla="*/ 92 w 122"/>
                <a:gd name="T41" fmla="*/ 120 h 196"/>
                <a:gd name="T42" fmla="*/ 92 w 122"/>
                <a:gd name="T43" fmla="*/ 120 h 196"/>
                <a:gd name="T44" fmla="*/ 92 w 122"/>
                <a:gd name="T45" fmla="*/ 112 h 196"/>
                <a:gd name="T46" fmla="*/ 90 w 122"/>
                <a:gd name="T47" fmla="*/ 106 h 196"/>
                <a:gd name="T48" fmla="*/ 88 w 122"/>
                <a:gd name="T49" fmla="*/ 100 h 196"/>
                <a:gd name="T50" fmla="*/ 85 w 122"/>
                <a:gd name="T51" fmla="*/ 95 h 196"/>
                <a:gd name="T52" fmla="*/ 80 w 122"/>
                <a:gd name="T53" fmla="*/ 91 h 196"/>
                <a:gd name="T54" fmla="*/ 76 w 122"/>
                <a:gd name="T55" fmla="*/ 88 h 196"/>
                <a:gd name="T56" fmla="*/ 69 w 122"/>
                <a:gd name="T57" fmla="*/ 86 h 196"/>
                <a:gd name="T58" fmla="*/ 62 w 122"/>
                <a:gd name="T59" fmla="*/ 86 h 196"/>
                <a:gd name="T60" fmla="*/ 62 w 122"/>
                <a:gd name="T61" fmla="*/ 86 h 196"/>
                <a:gd name="T62" fmla="*/ 55 w 122"/>
                <a:gd name="T63" fmla="*/ 86 h 196"/>
                <a:gd name="T64" fmla="*/ 49 w 122"/>
                <a:gd name="T65" fmla="*/ 88 h 196"/>
                <a:gd name="T66" fmla="*/ 43 w 122"/>
                <a:gd name="T67" fmla="*/ 92 h 196"/>
                <a:gd name="T68" fmla="*/ 39 w 122"/>
                <a:gd name="T69" fmla="*/ 95 h 196"/>
                <a:gd name="T70" fmla="*/ 35 w 122"/>
                <a:gd name="T71" fmla="*/ 101 h 196"/>
                <a:gd name="T72" fmla="*/ 32 w 122"/>
                <a:gd name="T73" fmla="*/ 107 h 196"/>
                <a:gd name="T74" fmla="*/ 31 w 122"/>
                <a:gd name="T75" fmla="*/ 114 h 196"/>
                <a:gd name="T76" fmla="*/ 30 w 122"/>
                <a:gd name="T77" fmla="*/ 120 h 196"/>
                <a:gd name="T78" fmla="*/ 30 w 122"/>
                <a:gd name="T79" fmla="*/ 196 h 196"/>
                <a:gd name="T80" fmla="*/ 0 w 122"/>
                <a:gd name="T81" fmla="*/ 196 h 196"/>
                <a:gd name="T82" fmla="*/ 0 w 122"/>
                <a:gd name="T83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2" h="196">
                  <a:moveTo>
                    <a:pt x="0" y="4"/>
                  </a:moveTo>
                  <a:lnTo>
                    <a:pt x="30" y="0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7" y="68"/>
                  </a:lnTo>
                  <a:lnTo>
                    <a:pt x="46" y="62"/>
                  </a:lnTo>
                  <a:lnTo>
                    <a:pt x="57" y="59"/>
                  </a:lnTo>
                  <a:lnTo>
                    <a:pt x="63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81" y="59"/>
                  </a:lnTo>
                  <a:lnTo>
                    <a:pt x="92" y="61"/>
                  </a:lnTo>
                  <a:lnTo>
                    <a:pt x="101" y="65"/>
                  </a:lnTo>
                  <a:lnTo>
                    <a:pt x="108" y="72"/>
                  </a:lnTo>
                  <a:lnTo>
                    <a:pt x="113" y="80"/>
                  </a:lnTo>
                  <a:lnTo>
                    <a:pt x="118" y="90"/>
                  </a:lnTo>
                  <a:lnTo>
                    <a:pt x="121" y="101"/>
                  </a:lnTo>
                  <a:lnTo>
                    <a:pt x="122" y="114"/>
                  </a:lnTo>
                  <a:lnTo>
                    <a:pt x="122" y="196"/>
                  </a:lnTo>
                  <a:lnTo>
                    <a:pt x="92" y="196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2" y="112"/>
                  </a:lnTo>
                  <a:lnTo>
                    <a:pt x="90" y="106"/>
                  </a:lnTo>
                  <a:lnTo>
                    <a:pt x="88" y="100"/>
                  </a:lnTo>
                  <a:lnTo>
                    <a:pt x="85" y="95"/>
                  </a:lnTo>
                  <a:lnTo>
                    <a:pt x="80" y="91"/>
                  </a:lnTo>
                  <a:lnTo>
                    <a:pt x="76" y="88"/>
                  </a:lnTo>
                  <a:lnTo>
                    <a:pt x="69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55" y="86"/>
                  </a:lnTo>
                  <a:lnTo>
                    <a:pt x="49" y="88"/>
                  </a:lnTo>
                  <a:lnTo>
                    <a:pt x="43" y="92"/>
                  </a:lnTo>
                  <a:lnTo>
                    <a:pt x="39" y="95"/>
                  </a:lnTo>
                  <a:lnTo>
                    <a:pt x="35" y="101"/>
                  </a:lnTo>
                  <a:lnTo>
                    <a:pt x="32" y="107"/>
                  </a:lnTo>
                  <a:lnTo>
                    <a:pt x="31" y="114"/>
                  </a:lnTo>
                  <a:lnTo>
                    <a:pt x="30" y="120"/>
                  </a:lnTo>
                  <a:lnTo>
                    <a:pt x="30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6" name="Freeform 41"/>
            <p:cNvSpPr>
              <a:spLocks/>
            </p:cNvSpPr>
            <p:nvPr userDrawn="1"/>
          </p:nvSpPr>
          <p:spPr bwMode="auto">
            <a:xfrm>
              <a:off x="1571" y="3751"/>
              <a:ext cx="64" cy="65"/>
            </a:xfrm>
            <a:custGeom>
              <a:avLst/>
              <a:gdLst>
                <a:gd name="T0" fmla="*/ 95 w 190"/>
                <a:gd name="T1" fmla="*/ 167 h 195"/>
                <a:gd name="T2" fmla="*/ 122 w 190"/>
                <a:gd name="T3" fmla="*/ 162 h 195"/>
                <a:gd name="T4" fmla="*/ 141 w 190"/>
                <a:gd name="T5" fmla="*/ 147 h 195"/>
                <a:gd name="T6" fmla="*/ 155 w 190"/>
                <a:gd name="T7" fmla="*/ 125 h 195"/>
                <a:gd name="T8" fmla="*/ 159 w 190"/>
                <a:gd name="T9" fmla="*/ 98 h 195"/>
                <a:gd name="T10" fmla="*/ 190 w 190"/>
                <a:gd name="T11" fmla="*/ 98 h 195"/>
                <a:gd name="T12" fmla="*/ 189 w 190"/>
                <a:gd name="T13" fmla="*/ 117 h 195"/>
                <a:gd name="T14" fmla="*/ 183 w 190"/>
                <a:gd name="T15" fmla="*/ 136 h 195"/>
                <a:gd name="T16" fmla="*/ 174 w 190"/>
                <a:gd name="T17" fmla="*/ 153 h 195"/>
                <a:gd name="T18" fmla="*/ 163 w 190"/>
                <a:gd name="T19" fmla="*/ 168 h 195"/>
                <a:gd name="T20" fmla="*/ 149 w 190"/>
                <a:gd name="T21" fmla="*/ 179 h 195"/>
                <a:gd name="T22" fmla="*/ 133 w 190"/>
                <a:gd name="T23" fmla="*/ 188 h 195"/>
                <a:gd name="T24" fmla="*/ 115 w 190"/>
                <a:gd name="T25" fmla="*/ 194 h 195"/>
                <a:gd name="T26" fmla="*/ 95 w 190"/>
                <a:gd name="T27" fmla="*/ 195 h 195"/>
                <a:gd name="T28" fmla="*/ 86 w 190"/>
                <a:gd name="T29" fmla="*/ 195 h 195"/>
                <a:gd name="T30" fmla="*/ 67 w 190"/>
                <a:gd name="T31" fmla="*/ 192 h 195"/>
                <a:gd name="T32" fmla="*/ 49 w 190"/>
                <a:gd name="T33" fmla="*/ 184 h 195"/>
                <a:gd name="T34" fmla="*/ 35 w 190"/>
                <a:gd name="T35" fmla="*/ 173 h 195"/>
                <a:gd name="T36" fmla="*/ 22 w 190"/>
                <a:gd name="T37" fmla="*/ 160 h 195"/>
                <a:gd name="T38" fmla="*/ 12 w 190"/>
                <a:gd name="T39" fmla="*/ 145 h 195"/>
                <a:gd name="T40" fmla="*/ 5 w 190"/>
                <a:gd name="T41" fmla="*/ 128 h 195"/>
                <a:gd name="T42" fmla="*/ 1 w 190"/>
                <a:gd name="T43" fmla="*/ 108 h 195"/>
                <a:gd name="T44" fmla="*/ 0 w 190"/>
                <a:gd name="T45" fmla="*/ 98 h 195"/>
                <a:gd name="T46" fmla="*/ 2 w 190"/>
                <a:gd name="T47" fmla="*/ 78 h 195"/>
                <a:gd name="T48" fmla="*/ 8 w 190"/>
                <a:gd name="T49" fmla="*/ 60 h 195"/>
                <a:gd name="T50" fmla="*/ 16 w 190"/>
                <a:gd name="T51" fmla="*/ 43 h 195"/>
                <a:gd name="T52" fmla="*/ 28 w 190"/>
                <a:gd name="T53" fmla="*/ 29 h 195"/>
                <a:gd name="T54" fmla="*/ 41 w 190"/>
                <a:gd name="T55" fmla="*/ 16 h 195"/>
                <a:gd name="T56" fmla="*/ 57 w 190"/>
                <a:gd name="T57" fmla="*/ 8 h 195"/>
                <a:gd name="T58" fmla="*/ 76 w 190"/>
                <a:gd name="T59" fmla="*/ 3 h 195"/>
                <a:gd name="T60" fmla="*/ 95 w 190"/>
                <a:gd name="T61" fmla="*/ 0 h 195"/>
                <a:gd name="T62" fmla="*/ 107 w 190"/>
                <a:gd name="T63" fmla="*/ 0 h 195"/>
                <a:gd name="T64" fmla="*/ 127 w 190"/>
                <a:gd name="T65" fmla="*/ 6 h 195"/>
                <a:gd name="T66" fmla="*/ 146 w 190"/>
                <a:gd name="T67" fmla="*/ 15 h 195"/>
                <a:gd name="T68" fmla="*/ 162 w 190"/>
                <a:gd name="T69" fmla="*/ 28 h 195"/>
                <a:gd name="T70" fmla="*/ 147 w 190"/>
                <a:gd name="T71" fmla="*/ 57 h 195"/>
                <a:gd name="T72" fmla="*/ 142 w 190"/>
                <a:gd name="T73" fmla="*/ 51 h 195"/>
                <a:gd name="T74" fmla="*/ 132 w 190"/>
                <a:gd name="T75" fmla="*/ 41 h 195"/>
                <a:gd name="T76" fmla="*/ 119 w 190"/>
                <a:gd name="T77" fmla="*/ 34 h 195"/>
                <a:gd name="T78" fmla="*/ 104 w 190"/>
                <a:gd name="T79" fmla="*/ 30 h 195"/>
                <a:gd name="T80" fmla="*/ 95 w 190"/>
                <a:gd name="T81" fmla="*/ 29 h 195"/>
                <a:gd name="T82" fmla="*/ 83 w 190"/>
                <a:gd name="T83" fmla="*/ 30 h 195"/>
                <a:gd name="T84" fmla="*/ 70 w 190"/>
                <a:gd name="T85" fmla="*/ 35 h 195"/>
                <a:gd name="T86" fmla="*/ 49 w 190"/>
                <a:gd name="T87" fmla="*/ 50 h 195"/>
                <a:gd name="T88" fmla="*/ 37 w 190"/>
                <a:gd name="T89" fmla="*/ 71 h 195"/>
                <a:gd name="T90" fmla="*/ 32 w 190"/>
                <a:gd name="T91" fmla="*/ 98 h 195"/>
                <a:gd name="T92" fmla="*/ 33 w 190"/>
                <a:gd name="T93" fmla="*/ 112 h 195"/>
                <a:gd name="T94" fmla="*/ 43 w 190"/>
                <a:gd name="T95" fmla="*/ 137 h 195"/>
                <a:gd name="T96" fmla="*/ 59 w 190"/>
                <a:gd name="T97" fmla="*/ 155 h 195"/>
                <a:gd name="T98" fmla="*/ 76 w 190"/>
                <a:gd name="T99" fmla="*/ 163 h 195"/>
                <a:gd name="T100" fmla="*/ 88 w 190"/>
                <a:gd name="T101" fmla="*/ 167 h 195"/>
                <a:gd name="T102" fmla="*/ 95 w 190"/>
                <a:gd name="T103" fmla="*/ 16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0" h="195">
                  <a:moveTo>
                    <a:pt x="95" y="167"/>
                  </a:moveTo>
                  <a:lnTo>
                    <a:pt x="95" y="167"/>
                  </a:lnTo>
                  <a:lnTo>
                    <a:pt x="109" y="165"/>
                  </a:lnTo>
                  <a:lnTo>
                    <a:pt x="122" y="162"/>
                  </a:lnTo>
                  <a:lnTo>
                    <a:pt x="132" y="155"/>
                  </a:lnTo>
                  <a:lnTo>
                    <a:pt x="141" y="147"/>
                  </a:lnTo>
                  <a:lnTo>
                    <a:pt x="149" y="137"/>
                  </a:lnTo>
                  <a:lnTo>
                    <a:pt x="155" y="125"/>
                  </a:lnTo>
                  <a:lnTo>
                    <a:pt x="158" y="113"/>
                  </a:lnTo>
                  <a:lnTo>
                    <a:pt x="159" y="98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90" y="108"/>
                  </a:lnTo>
                  <a:lnTo>
                    <a:pt x="189" y="117"/>
                  </a:lnTo>
                  <a:lnTo>
                    <a:pt x="187" y="128"/>
                  </a:lnTo>
                  <a:lnTo>
                    <a:pt x="183" y="136"/>
                  </a:lnTo>
                  <a:lnTo>
                    <a:pt x="179" y="145"/>
                  </a:lnTo>
                  <a:lnTo>
                    <a:pt x="174" y="153"/>
                  </a:lnTo>
                  <a:lnTo>
                    <a:pt x="170" y="160"/>
                  </a:lnTo>
                  <a:lnTo>
                    <a:pt x="163" y="168"/>
                  </a:lnTo>
                  <a:lnTo>
                    <a:pt x="157" y="173"/>
                  </a:lnTo>
                  <a:lnTo>
                    <a:pt x="149" y="179"/>
                  </a:lnTo>
                  <a:lnTo>
                    <a:pt x="142" y="184"/>
                  </a:lnTo>
                  <a:lnTo>
                    <a:pt x="133" y="188"/>
                  </a:lnTo>
                  <a:lnTo>
                    <a:pt x="125" y="192"/>
                  </a:lnTo>
                  <a:lnTo>
                    <a:pt x="115" y="194"/>
                  </a:lnTo>
                  <a:lnTo>
                    <a:pt x="106" y="195"/>
                  </a:lnTo>
                  <a:lnTo>
                    <a:pt x="95" y="195"/>
                  </a:lnTo>
                  <a:lnTo>
                    <a:pt x="95" y="195"/>
                  </a:lnTo>
                  <a:lnTo>
                    <a:pt x="86" y="195"/>
                  </a:lnTo>
                  <a:lnTo>
                    <a:pt x="76" y="194"/>
                  </a:lnTo>
                  <a:lnTo>
                    <a:pt x="67" y="192"/>
                  </a:lnTo>
                  <a:lnTo>
                    <a:pt x="57" y="188"/>
                  </a:lnTo>
                  <a:lnTo>
                    <a:pt x="49" y="184"/>
                  </a:lnTo>
                  <a:lnTo>
                    <a:pt x="41" y="179"/>
                  </a:lnTo>
                  <a:lnTo>
                    <a:pt x="35" y="173"/>
                  </a:lnTo>
                  <a:lnTo>
                    <a:pt x="28" y="168"/>
                  </a:lnTo>
                  <a:lnTo>
                    <a:pt x="22" y="160"/>
                  </a:lnTo>
                  <a:lnTo>
                    <a:pt x="16" y="153"/>
                  </a:lnTo>
                  <a:lnTo>
                    <a:pt x="12" y="145"/>
                  </a:lnTo>
                  <a:lnTo>
                    <a:pt x="8" y="136"/>
                  </a:lnTo>
                  <a:lnTo>
                    <a:pt x="5" y="128"/>
                  </a:lnTo>
                  <a:lnTo>
                    <a:pt x="2" y="117"/>
                  </a:lnTo>
                  <a:lnTo>
                    <a:pt x="1" y="10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1" y="88"/>
                  </a:lnTo>
                  <a:lnTo>
                    <a:pt x="2" y="78"/>
                  </a:lnTo>
                  <a:lnTo>
                    <a:pt x="5" y="69"/>
                  </a:lnTo>
                  <a:lnTo>
                    <a:pt x="8" y="60"/>
                  </a:lnTo>
                  <a:lnTo>
                    <a:pt x="12" y="51"/>
                  </a:lnTo>
                  <a:lnTo>
                    <a:pt x="16" y="43"/>
                  </a:lnTo>
                  <a:lnTo>
                    <a:pt x="22" y="36"/>
                  </a:lnTo>
                  <a:lnTo>
                    <a:pt x="28" y="29"/>
                  </a:lnTo>
                  <a:lnTo>
                    <a:pt x="35" y="22"/>
                  </a:lnTo>
                  <a:lnTo>
                    <a:pt x="41" y="16"/>
                  </a:lnTo>
                  <a:lnTo>
                    <a:pt x="49" y="12"/>
                  </a:lnTo>
                  <a:lnTo>
                    <a:pt x="57" y="8"/>
                  </a:lnTo>
                  <a:lnTo>
                    <a:pt x="67" y="5"/>
                  </a:lnTo>
                  <a:lnTo>
                    <a:pt x="76" y="3"/>
                  </a:lnTo>
                  <a:lnTo>
                    <a:pt x="86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107" y="0"/>
                  </a:lnTo>
                  <a:lnTo>
                    <a:pt x="118" y="3"/>
                  </a:lnTo>
                  <a:lnTo>
                    <a:pt x="127" y="6"/>
                  </a:lnTo>
                  <a:lnTo>
                    <a:pt x="138" y="10"/>
                  </a:lnTo>
                  <a:lnTo>
                    <a:pt x="146" y="15"/>
                  </a:lnTo>
                  <a:lnTo>
                    <a:pt x="154" y="21"/>
                  </a:lnTo>
                  <a:lnTo>
                    <a:pt x="162" y="28"/>
                  </a:lnTo>
                  <a:lnTo>
                    <a:pt x="169" y="36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2" y="51"/>
                  </a:lnTo>
                  <a:lnTo>
                    <a:pt x="138" y="45"/>
                  </a:lnTo>
                  <a:lnTo>
                    <a:pt x="132" y="41"/>
                  </a:lnTo>
                  <a:lnTo>
                    <a:pt x="126" y="37"/>
                  </a:lnTo>
                  <a:lnTo>
                    <a:pt x="119" y="34"/>
                  </a:lnTo>
                  <a:lnTo>
                    <a:pt x="111" y="31"/>
                  </a:lnTo>
                  <a:lnTo>
                    <a:pt x="104" y="30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88" y="30"/>
                  </a:lnTo>
                  <a:lnTo>
                    <a:pt x="83" y="30"/>
                  </a:lnTo>
                  <a:lnTo>
                    <a:pt x="76" y="33"/>
                  </a:lnTo>
                  <a:lnTo>
                    <a:pt x="70" y="35"/>
                  </a:lnTo>
                  <a:lnTo>
                    <a:pt x="59" y="41"/>
                  </a:lnTo>
                  <a:lnTo>
                    <a:pt x="49" y="50"/>
                  </a:lnTo>
                  <a:lnTo>
                    <a:pt x="43" y="59"/>
                  </a:lnTo>
                  <a:lnTo>
                    <a:pt x="37" y="71"/>
                  </a:lnTo>
                  <a:lnTo>
                    <a:pt x="33" y="84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3" y="112"/>
                  </a:lnTo>
                  <a:lnTo>
                    <a:pt x="37" y="125"/>
                  </a:lnTo>
                  <a:lnTo>
                    <a:pt x="43" y="137"/>
                  </a:lnTo>
                  <a:lnTo>
                    <a:pt x="49" y="147"/>
                  </a:lnTo>
                  <a:lnTo>
                    <a:pt x="59" y="155"/>
                  </a:lnTo>
                  <a:lnTo>
                    <a:pt x="70" y="161"/>
                  </a:lnTo>
                  <a:lnTo>
                    <a:pt x="76" y="163"/>
                  </a:lnTo>
                  <a:lnTo>
                    <a:pt x="83" y="165"/>
                  </a:lnTo>
                  <a:lnTo>
                    <a:pt x="88" y="167"/>
                  </a:lnTo>
                  <a:lnTo>
                    <a:pt x="95" y="167"/>
                  </a:lnTo>
                  <a:lnTo>
                    <a:pt x="95" y="1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7" name="Freeform 42"/>
            <p:cNvSpPr>
              <a:spLocks noEditPoints="1"/>
            </p:cNvSpPr>
            <p:nvPr userDrawn="1"/>
          </p:nvSpPr>
          <p:spPr bwMode="auto">
            <a:xfrm>
              <a:off x="1642" y="3769"/>
              <a:ext cx="47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7 w 140"/>
                <a:gd name="T13" fmla="*/ 105 h 140"/>
                <a:gd name="T14" fmla="*/ 138 w 140"/>
                <a:gd name="T15" fmla="*/ 99 h 140"/>
                <a:gd name="T16" fmla="*/ 133 w 140"/>
                <a:gd name="T17" fmla="*/ 108 h 140"/>
                <a:gd name="T18" fmla="*/ 121 w 140"/>
                <a:gd name="T19" fmla="*/ 123 h 140"/>
                <a:gd name="T20" fmla="*/ 103 w 140"/>
                <a:gd name="T21" fmla="*/ 135 h 140"/>
                <a:gd name="T22" fmla="*/ 83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3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3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1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8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3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3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1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90" y="109"/>
                  </a:lnTo>
                  <a:lnTo>
                    <a:pt x="97" y="105"/>
                  </a:lnTo>
                  <a:lnTo>
                    <a:pt x="102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1" y="123"/>
                  </a:lnTo>
                  <a:lnTo>
                    <a:pt x="113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3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50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2" y="109"/>
                  </a:lnTo>
                  <a:lnTo>
                    <a:pt x="6" y="98"/>
                  </a:lnTo>
                  <a:lnTo>
                    <a:pt x="4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2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3" y="6"/>
                  </a:lnTo>
                  <a:lnTo>
                    <a:pt x="50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1" y="4"/>
                  </a:lnTo>
                  <a:lnTo>
                    <a:pt x="98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8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5" y="49"/>
                  </a:lnTo>
                  <a:lnTo>
                    <a:pt x="101" y="44"/>
                  </a:lnTo>
                  <a:lnTo>
                    <a:pt x="98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3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8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3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8" name="Freeform 43"/>
            <p:cNvSpPr>
              <a:spLocks/>
            </p:cNvSpPr>
            <p:nvPr userDrawn="1"/>
          </p:nvSpPr>
          <p:spPr bwMode="auto">
            <a:xfrm>
              <a:off x="1698" y="3769"/>
              <a:ext cx="40" cy="47"/>
            </a:xfrm>
            <a:custGeom>
              <a:avLst/>
              <a:gdLst>
                <a:gd name="T0" fmla="*/ 0 w 121"/>
                <a:gd name="T1" fmla="*/ 2 h 139"/>
                <a:gd name="T2" fmla="*/ 30 w 121"/>
                <a:gd name="T3" fmla="*/ 2 h 139"/>
                <a:gd name="T4" fmla="*/ 30 w 121"/>
                <a:gd name="T5" fmla="*/ 18 h 139"/>
                <a:gd name="T6" fmla="*/ 30 w 121"/>
                <a:gd name="T7" fmla="*/ 18 h 139"/>
                <a:gd name="T8" fmla="*/ 36 w 121"/>
                <a:gd name="T9" fmla="*/ 12 h 139"/>
                <a:gd name="T10" fmla="*/ 44 w 121"/>
                <a:gd name="T11" fmla="*/ 6 h 139"/>
                <a:gd name="T12" fmla="*/ 50 w 121"/>
                <a:gd name="T13" fmla="*/ 4 h 139"/>
                <a:gd name="T14" fmla="*/ 55 w 121"/>
                <a:gd name="T15" fmla="*/ 2 h 139"/>
                <a:gd name="T16" fmla="*/ 61 w 121"/>
                <a:gd name="T17" fmla="*/ 0 h 139"/>
                <a:gd name="T18" fmla="*/ 68 w 121"/>
                <a:gd name="T19" fmla="*/ 0 h 139"/>
                <a:gd name="T20" fmla="*/ 68 w 121"/>
                <a:gd name="T21" fmla="*/ 0 h 139"/>
                <a:gd name="T22" fmla="*/ 79 w 121"/>
                <a:gd name="T23" fmla="*/ 2 h 139"/>
                <a:gd name="T24" fmla="*/ 91 w 121"/>
                <a:gd name="T25" fmla="*/ 4 h 139"/>
                <a:gd name="T26" fmla="*/ 99 w 121"/>
                <a:gd name="T27" fmla="*/ 8 h 139"/>
                <a:gd name="T28" fmla="*/ 107 w 121"/>
                <a:gd name="T29" fmla="*/ 15 h 139"/>
                <a:gd name="T30" fmla="*/ 113 w 121"/>
                <a:gd name="T31" fmla="*/ 23 h 139"/>
                <a:gd name="T32" fmla="*/ 117 w 121"/>
                <a:gd name="T33" fmla="*/ 33 h 139"/>
                <a:gd name="T34" fmla="*/ 120 w 121"/>
                <a:gd name="T35" fmla="*/ 44 h 139"/>
                <a:gd name="T36" fmla="*/ 121 w 121"/>
                <a:gd name="T37" fmla="*/ 57 h 139"/>
                <a:gd name="T38" fmla="*/ 121 w 121"/>
                <a:gd name="T39" fmla="*/ 139 h 139"/>
                <a:gd name="T40" fmla="*/ 91 w 121"/>
                <a:gd name="T41" fmla="*/ 139 h 139"/>
                <a:gd name="T42" fmla="*/ 91 w 121"/>
                <a:gd name="T43" fmla="*/ 63 h 139"/>
                <a:gd name="T44" fmla="*/ 91 w 121"/>
                <a:gd name="T45" fmla="*/ 63 h 139"/>
                <a:gd name="T46" fmla="*/ 90 w 121"/>
                <a:gd name="T47" fmla="*/ 55 h 139"/>
                <a:gd name="T48" fmla="*/ 89 w 121"/>
                <a:gd name="T49" fmla="*/ 47 h 139"/>
                <a:gd name="T50" fmla="*/ 86 w 121"/>
                <a:gd name="T51" fmla="*/ 42 h 139"/>
                <a:gd name="T52" fmla="*/ 83 w 121"/>
                <a:gd name="T53" fmla="*/ 37 h 139"/>
                <a:gd name="T54" fmla="*/ 78 w 121"/>
                <a:gd name="T55" fmla="*/ 34 h 139"/>
                <a:gd name="T56" fmla="*/ 74 w 121"/>
                <a:gd name="T57" fmla="*/ 30 h 139"/>
                <a:gd name="T58" fmla="*/ 67 w 121"/>
                <a:gd name="T59" fmla="*/ 29 h 139"/>
                <a:gd name="T60" fmla="*/ 60 w 121"/>
                <a:gd name="T61" fmla="*/ 29 h 139"/>
                <a:gd name="T62" fmla="*/ 60 w 121"/>
                <a:gd name="T63" fmla="*/ 29 h 139"/>
                <a:gd name="T64" fmla="*/ 53 w 121"/>
                <a:gd name="T65" fmla="*/ 29 h 139"/>
                <a:gd name="T66" fmla="*/ 47 w 121"/>
                <a:gd name="T67" fmla="*/ 31 h 139"/>
                <a:gd name="T68" fmla="*/ 42 w 121"/>
                <a:gd name="T69" fmla="*/ 35 h 139"/>
                <a:gd name="T70" fmla="*/ 38 w 121"/>
                <a:gd name="T71" fmla="*/ 38 h 139"/>
                <a:gd name="T72" fmla="*/ 35 w 121"/>
                <a:gd name="T73" fmla="*/ 44 h 139"/>
                <a:gd name="T74" fmla="*/ 32 w 121"/>
                <a:gd name="T75" fmla="*/ 50 h 139"/>
                <a:gd name="T76" fmla="*/ 30 w 121"/>
                <a:gd name="T77" fmla="*/ 57 h 139"/>
                <a:gd name="T78" fmla="*/ 30 w 121"/>
                <a:gd name="T79" fmla="*/ 63 h 139"/>
                <a:gd name="T80" fmla="*/ 30 w 121"/>
                <a:gd name="T81" fmla="*/ 139 h 139"/>
                <a:gd name="T82" fmla="*/ 0 w 121"/>
                <a:gd name="T83" fmla="*/ 139 h 139"/>
                <a:gd name="T84" fmla="*/ 0 w 121"/>
                <a:gd name="T85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39">
                  <a:moveTo>
                    <a:pt x="0" y="2"/>
                  </a:moveTo>
                  <a:lnTo>
                    <a:pt x="30" y="2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6"/>
                  </a:lnTo>
                  <a:lnTo>
                    <a:pt x="50" y="4"/>
                  </a:lnTo>
                  <a:lnTo>
                    <a:pt x="55" y="2"/>
                  </a:lnTo>
                  <a:lnTo>
                    <a:pt x="61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9" y="2"/>
                  </a:lnTo>
                  <a:lnTo>
                    <a:pt x="91" y="4"/>
                  </a:lnTo>
                  <a:lnTo>
                    <a:pt x="99" y="8"/>
                  </a:lnTo>
                  <a:lnTo>
                    <a:pt x="107" y="15"/>
                  </a:lnTo>
                  <a:lnTo>
                    <a:pt x="113" y="23"/>
                  </a:lnTo>
                  <a:lnTo>
                    <a:pt x="117" y="33"/>
                  </a:lnTo>
                  <a:lnTo>
                    <a:pt x="120" y="44"/>
                  </a:lnTo>
                  <a:lnTo>
                    <a:pt x="121" y="57"/>
                  </a:lnTo>
                  <a:lnTo>
                    <a:pt x="121" y="139"/>
                  </a:lnTo>
                  <a:lnTo>
                    <a:pt x="91" y="139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90" y="55"/>
                  </a:lnTo>
                  <a:lnTo>
                    <a:pt x="89" y="47"/>
                  </a:lnTo>
                  <a:lnTo>
                    <a:pt x="86" y="42"/>
                  </a:lnTo>
                  <a:lnTo>
                    <a:pt x="83" y="37"/>
                  </a:lnTo>
                  <a:lnTo>
                    <a:pt x="78" y="34"/>
                  </a:lnTo>
                  <a:lnTo>
                    <a:pt x="74" y="30"/>
                  </a:lnTo>
                  <a:lnTo>
                    <a:pt x="67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3" y="29"/>
                  </a:lnTo>
                  <a:lnTo>
                    <a:pt x="47" y="31"/>
                  </a:lnTo>
                  <a:lnTo>
                    <a:pt x="42" y="35"/>
                  </a:lnTo>
                  <a:lnTo>
                    <a:pt x="38" y="38"/>
                  </a:lnTo>
                  <a:lnTo>
                    <a:pt x="35" y="44"/>
                  </a:lnTo>
                  <a:lnTo>
                    <a:pt x="32" y="50"/>
                  </a:lnTo>
                  <a:lnTo>
                    <a:pt x="30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9" name="Freeform 44"/>
            <p:cNvSpPr>
              <a:spLocks/>
            </p:cNvSpPr>
            <p:nvPr userDrawn="1"/>
          </p:nvSpPr>
          <p:spPr bwMode="auto">
            <a:xfrm>
              <a:off x="1744" y="3750"/>
              <a:ext cx="33" cy="66"/>
            </a:xfrm>
            <a:custGeom>
              <a:avLst/>
              <a:gdLst>
                <a:gd name="T0" fmla="*/ 29 w 100"/>
                <a:gd name="T1" fmla="*/ 4 h 196"/>
                <a:gd name="T2" fmla="*/ 58 w 100"/>
                <a:gd name="T3" fmla="*/ 0 h 196"/>
                <a:gd name="T4" fmla="*/ 58 w 100"/>
                <a:gd name="T5" fmla="*/ 59 h 196"/>
                <a:gd name="T6" fmla="*/ 100 w 100"/>
                <a:gd name="T7" fmla="*/ 59 h 196"/>
                <a:gd name="T8" fmla="*/ 100 w 100"/>
                <a:gd name="T9" fmla="*/ 87 h 196"/>
                <a:gd name="T10" fmla="*/ 58 w 100"/>
                <a:gd name="T11" fmla="*/ 87 h 196"/>
                <a:gd name="T12" fmla="*/ 58 w 100"/>
                <a:gd name="T13" fmla="*/ 196 h 196"/>
                <a:gd name="T14" fmla="*/ 29 w 100"/>
                <a:gd name="T15" fmla="*/ 196 h 196"/>
                <a:gd name="T16" fmla="*/ 29 w 100"/>
                <a:gd name="T17" fmla="*/ 87 h 196"/>
                <a:gd name="T18" fmla="*/ 0 w 100"/>
                <a:gd name="T19" fmla="*/ 87 h 196"/>
                <a:gd name="T20" fmla="*/ 0 w 100"/>
                <a:gd name="T21" fmla="*/ 59 h 196"/>
                <a:gd name="T22" fmla="*/ 29 w 100"/>
                <a:gd name="T23" fmla="*/ 59 h 196"/>
                <a:gd name="T24" fmla="*/ 29 w 100"/>
                <a:gd name="T25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96">
                  <a:moveTo>
                    <a:pt x="29" y="4"/>
                  </a:moveTo>
                  <a:lnTo>
                    <a:pt x="58" y="0"/>
                  </a:lnTo>
                  <a:lnTo>
                    <a:pt x="58" y="59"/>
                  </a:lnTo>
                  <a:lnTo>
                    <a:pt x="100" y="59"/>
                  </a:lnTo>
                  <a:lnTo>
                    <a:pt x="100" y="87"/>
                  </a:lnTo>
                  <a:lnTo>
                    <a:pt x="58" y="87"/>
                  </a:lnTo>
                  <a:lnTo>
                    <a:pt x="58" y="196"/>
                  </a:lnTo>
                  <a:lnTo>
                    <a:pt x="29" y="196"/>
                  </a:lnTo>
                  <a:lnTo>
                    <a:pt x="29" y="87"/>
                  </a:lnTo>
                  <a:lnTo>
                    <a:pt x="0" y="87"/>
                  </a:lnTo>
                  <a:lnTo>
                    <a:pt x="0" y="59"/>
                  </a:lnTo>
                  <a:lnTo>
                    <a:pt x="29" y="59"/>
                  </a:lnTo>
                  <a:lnTo>
                    <a:pt x="2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0" name="Freeform 45"/>
            <p:cNvSpPr>
              <a:spLocks/>
            </p:cNvSpPr>
            <p:nvPr userDrawn="1"/>
          </p:nvSpPr>
          <p:spPr bwMode="auto">
            <a:xfrm>
              <a:off x="1785" y="3769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29 w 65"/>
                <a:gd name="T3" fmla="*/ 2 h 139"/>
                <a:gd name="T4" fmla="*/ 29 w 65"/>
                <a:gd name="T5" fmla="*/ 16 h 139"/>
                <a:gd name="T6" fmla="*/ 29 w 65"/>
                <a:gd name="T7" fmla="*/ 16 h 139"/>
                <a:gd name="T8" fmla="*/ 35 w 65"/>
                <a:gd name="T9" fmla="*/ 10 h 139"/>
                <a:gd name="T10" fmla="*/ 42 w 65"/>
                <a:gd name="T11" fmla="*/ 5 h 139"/>
                <a:gd name="T12" fmla="*/ 47 w 65"/>
                <a:gd name="T13" fmla="*/ 3 h 139"/>
                <a:gd name="T14" fmla="*/ 52 w 65"/>
                <a:gd name="T15" fmla="*/ 2 h 139"/>
                <a:gd name="T16" fmla="*/ 58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49 w 65"/>
                <a:gd name="T29" fmla="*/ 31 h 139"/>
                <a:gd name="T30" fmla="*/ 43 w 65"/>
                <a:gd name="T31" fmla="*/ 35 h 139"/>
                <a:gd name="T32" fmla="*/ 39 w 65"/>
                <a:gd name="T33" fmla="*/ 38 h 139"/>
                <a:gd name="T34" fmla="*/ 35 w 65"/>
                <a:gd name="T35" fmla="*/ 44 h 139"/>
                <a:gd name="T36" fmla="*/ 32 w 65"/>
                <a:gd name="T37" fmla="*/ 50 h 139"/>
                <a:gd name="T38" fmla="*/ 31 w 65"/>
                <a:gd name="T39" fmla="*/ 57 h 139"/>
                <a:gd name="T40" fmla="*/ 29 w 65"/>
                <a:gd name="T41" fmla="*/ 63 h 139"/>
                <a:gd name="T42" fmla="*/ 29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29" y="2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5" y="10"/>
                  </a:lnTo>
                  <a:lnTo>
                    <a:pt x="42" y="5"/>
                  </a:lnTo>
                  <a:lnTo>
                    <a:pt x="47" y="3"/>
                  </a:lnTo>
                  <a:lnTo>
                    <a:pt x="52" y="2"/>
                  </a:lnTo>
                  <a:lnTo>
                    <a:pt x="58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49" y="31"/>
                  </a:lnTo>
                  <a:lnTo>
                    <a:pt x="43" y="35"/>
                  </a:lnTo>
                  <a:lnTo>
                    <a:pt x="39" y="38"/>
                  </a:lnTo>
                  <a:lnTo>
                    <a:pt x="35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29" y="63"/>
                  </a:lnTo>
                  <a:lnTo>
                    <a:pt x="29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1" name="Freeform 46"/>
            <p:cNvSpPr>
              <a:spLocks noEditPoints="1"/>
            </p:cNvSpPr>
            <p:nvPr userDrawn="1"/>
          </p:nvSpPr>
          <p:spPr bwMode="auto">
            <a:xfrm>
              <a:off x="1812" y="3769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6 w 140"/>
                <a:gd name="T3" fmla="*/ 93 h 140"/>
                <a:gd name="T4" fmla="*/ 44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0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0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8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1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6" y="93"/>
                  </a:lnTo>
                  <a:lnTo>
                    <a:pt x="40" y="99"/>
                  </a:lnTo>
                  <a:lnTo>
                    <a:pt x="44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0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0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3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8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5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1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7640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7" name="Title Placeholder 1"/>
          <p:cNvSpPr>
            <a:spLocks noGrp="1"/>
          </p:cNvSpPr>
          <p:nvPr>
            <p:ph type="title"/>
          </p:nvPr>
        </p:nvSpPr>
        <p:spPr>
          <a:xfrm>
            <a:off x="3181350" y="5635663"/>
            <a:ext cx="8362949" cy="6020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19" t="19781" r="9238" b="29912"/>
          <a:stretch/>
        </p:blipFill>
        <p:spPr>
          <a:xfrm>
            <a:off x="771525" y="771525"/>
            <a:ext cx="10658475" cy="4435475"/>
          </a:xfrm>
          <a:prstGeom prst="rect">
            <a:avLst/>
          </a:prstGeom>
        </p:spPr>
      </p:pic>
      <p:sp>
        <p:nvSpPr>
          <p:cNvPr id="7" name="Tijdelijke aanduiding voor tekst 16">
            <a:extLst>
              <a:ext uri="{FF2B5EF4-FFF2-40B4-BE49-F238E27FC236}">
                <a16:creationId xmlns:a16="http://schemas.microsoft.com/office/drawing/2014/main" id="{84146CB0-6BC6-4934-BF0B-44A468D396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81350" y="5321300"/>
            <a:ext cx="8270421" cy="28578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BE" dirty="0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762000" y="5310188"/>
            <a:ext cx="2193925" cy="793750"/>
            <a:chOff x="480" y="3345"/>
            <a:chExt cx="1382" cy="50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80" y="3345"/>
              <a:ext cx="1382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480" y="3424"/>
              <a:ext cx="167" cy="236"/>
            </a:xfrm>
            <a:custGeom>
              <a:avLst/>
              <a:gdLst>
                <a:gd name="T0" fmla="*/ 116 w 502"/>
                <a:gd name="T1" fmla="*/ 486 h 709"/>
                <a:gd name="T2" fmla="*/ 156 w 502"/>
                <a:gd name="T3" fmla="*/ 539 h 709"/>
                <a:gd name="T4" fmla="*/ 181 w 502"/>
                <a:gd name="T5" fmla="*/ 557 h 709"/>
                <a:gd name="T6" fmla="*/ 210 w 502"/>
                <a:gd name="T7" fmla="*/ 568 h 709"/>
                <a:gd name="T8" fmla="*/ 243 w 502"/>
                <a:gd name="T9" fmla="*/ 574 h 709"/>
                <a:gd name="T10" fmla="*/ 275 w 502"/>
                <a:gd name="T11" fmla="*/ 573 h 709"/>
                <a:gd name="T12" fmla="*/ 313 w 502"/>
                <a:gd name="T13" fmla="*/ 560 h 709"/>
                <a:gd name="T14" fmla="*/ 330 w 502"/>
                <a:gd name="T15" fmla="*/ 548 h 709"/>
                <a:gd name="T16" fmla="*/ 340 w 502"/>
                <a:gd name="T17" fmla="*/ 531 h 709"/>
                <a:gd name="T18" fmla="*/ 344 w 502"/>
                <a:gd name="T19" fmla="*/ 511 h 709"/>
                <a:gd name="T20" fmla="*/ 343 w 502"/>
                <a:gd name="T21" fmla="*/ 497 h 709"/>
                <a:gd name="T22" fmla="*/ 335 w 502"/>
                <a:gd name="T23" fmla="*/ 478 h 709"/>
                <a:gd name="T24" fmla="*/ 321 w 502"/>
                <a:gd name="T25" fmla="*/ 462 h 709"/>
                <a:gd name="T26" fmla="*/ 274 w 502"/>
                <a:gd name="T27" fmla="*/ 433 h 709"/>
                <a:gd name="T28" fmla="*/ 204 w 502"/>
                <a:gd name="T29" fmla="*/ 406 h 709"/>
                <a:gd name="T30" fmla="*/ 144 w 502"/>
                <a:gd name="T31" fmla="*/ 377 h 709"/>
                <a:gd name="T32" fmla="*/ 99 w 502"/>
                <a:gd name="T33" fmla="*/ 343 h 709"/>
                <a:gd name="T34" fmla="*/ 66 w 502"/>
                <a:gd name="T35" fmla="*/ 304 h 709"/>
                <a:gd name="T36" fmla="*/ 46 w 502"/>
                <a:gd name="T37" fmla="*/ 260 h 709"/>
                <a:gd name="T38" fmla="*/ 37 w 502"/>
                <a:gd name="T39" fmla="*/ 211 h 709"/>
                <a:gd name="T40" fmla="*/ 37 w 502"/>
                <a:gd name="T41" fmla="*/ 173 h 709"/>
                <a:gd name="T42" fmla="*/ 53 w 502"/>
                <a:gd name="T43" fmla="*/ 117 h 709"/>
                <a:gd name="T44" fmla="*/ 85 w 502"/>
                <a:gd name="T45" fmla="*/ 69 h 709"/>
                <a:gd name="T46" fmla="*/ 131 w 502"/>
                <a:gd name="T47" fmla="*/ 32 h 709"/>
                <a:gd name="T48" fmla="*/ 189 w 502"/>
                <a:gd name="T49" fmla="*/ 8 h 709"/>
                <a:gd name="T50" fmla="*/ 257 w 502"/>
                <a:gd name="T51" fmla="*/ 0 h 709"/>
                <a:gd name="T52" fmla="*/ 290 w 502"/>
                <a:gd name="T53" fmla="*/ 1 h 709"/>
                <a:gd name="T54" fmla="*/ 336 w 502"/>
                <a:gd name="T55" fmla="*/ 10 h 709"/>
                <a:gd name="T56" fmla="*/ 378 w 502"/>
                <a:gd name="T57" fmla="*/ 28 h 709"/>
                <a:gd name="T58" fmla="*/ 417 w 502"/>
                <a:gd name="T59" fmla="*/ 54 h 709"/>
                <a:gd name="T60" fmla="*/ 451 w 502"/>
                <a:gd name="T61" fmla="*/ 89 h 709"/>
                <a:gd name="T62" fmla="*/ 360 w 502"/>
                <a:gd name="T63" fmla="*/ 196 h 709"/>
                <a:gd name="T64" fmla="*/ 340 w 502"/>
                <a:gd name="T65" fmla="*/ 169 h 709"/>
                <a:gd name="T66" fmla="*/ 305 w 502"/>
                <a:gd name="T67" fmla="*/ 143 h 709"/>
                <a:gd name="T68" fmla="*/ 260 w 502"/>
                <a:gd name="T69" fmla="*/ 134 h 709"/>
                <a:gd name="T70" fmla="*/ 231 w 502"/>
                <a:gd name="T71" fmla="*/ 139 h 709"/>
                <a:gd name="T72" fmla="*/ 197 w 502"/>
                <a:gd name="T73" fmla="*/ 157 h 709"/>
                <a:gd name="T74" fmla="*/ 188 w 502"/>
                <a:gd name="T75" fmla="*/ 172 h 709"/>
                <a:gd name="T76" fmla="*/ 184 w 502"/>
                <a:gd name="T77" fmla="*/ 189 h 709"/>
                <a:gd name="T78" fmla="*/ 189 w 502"/>
                <a:gd name="T79" fmla="*/ 214 h 709"/>
                <a:gd name="T80" fmla="*/ 204 w 502"/>
                <a:gd name="T81" fmla="*/ 235 h 709"/>
                <a:gd name="T82" fmla="*/ 250 w 502"/>
                <a:gd name="T83" fmla="*/ 264 h 709"/>
                <a:gd name="T84" fmla="*/ 322 w 502"/>
                <a:gd name="T85" fmla="*/ 291 h 709"/>
                <a:gd name="T86" fmla="*/ 381 w 502"/>
                <a:gd name="T87" fmla="*/ 319 h 709"/>
                <a:gd name="T88" fmla="*/ 430 w 502"/>
                <a:gd name="T89" fmla="*/ 351 h 709"/>
                <a:gd name="T90" fmla="*/ 465 w 502"/>
                <a:gd name="T91" fmla="*/ 387 h 709"/>
                <a:gd name="T92" fmla="*/ 489 w 502"/>
                <a:gd name="T93" fmla="*/ 432 h 709"/>
                <a:gd name="T94" fmla="*/ 501 w 502"/>
                <a:gd name="T95" fmla="*/ 485 h 709"/>
                <a:gd name="T96" fmla="*/ 501 w 502"/>
                <a:gd name="T97" fmla="*/ 526 h 709"/>
                <a:gd name="T98" fmla="*/ 483 w 502"/>
                <a:gd name="T99" fmla="*/ 587 h 709"/>
                <a:gd name="T100" fmla="*/ 449 w 502"/>
                <a:gd name="T101" fmla="*/ 638 h 709"/>
                <a:gd name="T102" fmla="*/ 398 w 502"/>
                <a:gd name="T103" fmla="*/ 676 h 709"/>
                <a:gd name="T104" fmla="*/ 332 w 502"/>
                <a:gd name="T105" fmla="*/ 700 h 709"/>
                <a:gd name="T106" fmla="*/ 255 w 502"/>
                <a:gd name="T107" fmla="*/ 709 h 709"/>
                <a:gd name="T108" fmla="*/ 215 w 502"/>
                <a:gd name="T109" fmla="*/ 707 h 709"/>
                <a:gd name="T110" fmla="*/ 159 w 502"/>
                <a:gd name="T111" fmla="*/ 696 h 709"/>
                <a:gd name="T112" fmla="*/ 108 w 502"/>
                <a:gd name="T113" fmla="*/ 675 h 709"/>
                <a:gd name="T114" fmla="*/ 62 w 502"/>
                <a:gd name="T115" fmla="*/ 644 h 709"/>
                <a:gd name="T116" fmla="*/ 23 w 502"/>
                <a:gd name="T117" fmla="*/ 6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709">
                  <a:moveTo>
                    <a:pt x="0" y="568"/>
                  </a:moveTo>
                  <a:lnTo>
                    <a:pt x="116" y="486"/>
                  </a:lnTo>
                  <a:lnTo>
                    <a:pt x="116" y="486"/>
                  </a:lnTo>
                  <a:lnTo>
                    <a:pt x="128" y="507"/>
                  </a:lnTo>
                  <a:lnTo>
                    <a:pt x="142" y="524"/>
                  </a:lnTo>
                  <a:lnTo>
                    <a:pt x="156" y="539"/>
                  </a:lnTo>
                  <a:lnTo>
                    <a:pt x="164" y="546"/>
                  </a:lnTo>
                  <a:lnTo>
                    <a:pt x="172" y="551"/>
                  </a:lnTo>
                  <a:lnTo>
                    <a:pt x="181" y="557"/>
                  </a:lnTo>
                  <a:lnTo>
                    <a:pt x="190" y="562"/>
                  </a:lnTo>
                  <a:lnTo>
                    <a:pt x="199" y="565"/>
                  </a:lnTo>
                  <a:lnTo>
                    <a:pt x="210" y="568"/>
                  </a:lnTo>
                  <a:lnTo>
                    <a:pt x="220" y="571"/>
                  </a:lnTo>
                  <a:lnTo>
                    <a:pt x="231" y="573"/>
                  </a:lnTo>
                  <a:lnTo>
                    <a:pt x="243" y="574"/>
                  </a:lnTo>
                  <a:lnTo>
                    <a:pt x="255" y="574"/>
                  </a:lnTo>
                  <a:lnTo>
                    <a:pt x="255" y="574"/>
                  </a:lnTo>
                  <a:lnTo>
                    <a:pt x="275" y="573"/>
                  </a:lnTo>
                  <a:lnTo>
                    <a:pt x="291" y="570"/>
                  </a:lnTo>
                  <a:lnTo>
                    <a:pt x="306" y="564"/>
                  </a:lnTo>
                  <a:lnTo>
                    <a:pt x="313" y="560"/>
                  </a:lnTo>
                  <a:lnTo>
                    <a:pt x="320" y="557"/>
                  </a:lnTo>
                  <a:lnTo>
                    <a:pt x="324" y="552"/>
                  </a:lnTo>
                  <a:lnTo>
                    <a:pt x="330" y="548"/>
                  </a:lnTo>
                  <a:lnTo>
                    <a:pt x="333" y="542"/>
                  </a:lnTo>
                  <a:lnTo>
                    <a:pt x="337" y="536"/>
                  </a:lnTo>
                  <a:lnTo>
                    <a:pt x="340" y="531"/>
                  </a:lnTo>
                  <a:lnTo>
                    <a:pt x="341" y="525"/>
                  </a:lnTo>
                  <a:lnTo>
                    <a:pt x="344" y="518"/>
                  </a:lnTo>
                  <a:lnTo>
                    <a:pt x="344" y="511"/>
                  </a:lnTo>
                  <a:lnTo>
                    <a:pt x="344" y="511"/>
                  </a:lnTo>
                  <a:lnTo>
                    <a:pt x="344" y="504"/>
                  </a:lnTo>
                  <a:lnTo>
                    <a:pt x="343" y="497"/>
                  </a:lnTo>
                  <a:lnTo>
                    <a:pt x="340" y="491"/>
                  </a:lnTo>
                  <a:lnTo>
                    <a:pt x="338" y="484"/>
                  </a:lnTo>
                  <a:lnTo>
                    <a:pt x="335" y="478"/>
                  </a:lnTo>
                  <a:lnTo>
                    <a:pt x="331" y="472"/>
                  </a:lnTo>
                  <a:lnTo>
                    <a:pt x="327" y="466"/>
                  </a:lnTo>
                  <a:lnTo>
                    <a:pt x="321" y="462"/>
                  </a:lnTo>
                  <a:lnTo>
                    <a:pt x="308" y="452"/>
                  </a:lnTo>
                  <a:lnTo>
                    <a:pt x="292" y="442"/>
                  </a:lnTo>
                  <a:lnTo>
                    <a:pt x="274" y="433"/>
                  </a:lnTo>
                  <a:lnTo>
                    <a:pt x="252" y="424"/>
                  </a:lnTo>
                  <a:lnTo>
                    <a:pt x="204" y="406"/>
                  </a:lnTo>
                  <a:lnTo>
                    <a:pt x="204" y="406"/>
                  </a:lnTo>
                  <a:lnTo>
                    <a:pt x="182" y="397"/>
                  </a:lnTo>
                  <a:lnTo>
                    <a:pt x="163" y="387"/>
                  </a:lnTo>
                  <a:lnTo>
                    <a:pt x="144" y="377"/>
                  </a:lnTo>
                  <a:lnTo>
                    <a:pt x="128" y="367"/>
                  </a:lnTo>
                  <a:lnTo>
                    <a:pt x="112" y="355"/>
                  </a:lnTo>
                  <a:lnTo>
                    <a:pt x="99" y="343"/>
                  </a:lnTo>
                  <a:lnTo>
                    <a:pt x="87" y="330"/>
                  </a:lnTo>
                  <a:lnTo>
                    <a:pt x="76" y="317"/>
                  </a:lnTo>
                  <a:lnTo>
                    <a:pt x="66" y="304"/>
                  </a:lnTo>
                  <a:lnTo>
                    <a:pt x="58" y="290"/>
                  </a:lnTo>
                  <a:lnTo>
                    <a:pt x="52" y="275"/>
                  </a:lnTo>
                  <a:lnTo>
                    <a:pt x="46" y="260"/>
                  </a:lnTo>
                  <a:lnTo>
                    <a:pt x="41" y="244"/>
                  </a:lnTo>
                  <a:lnTo>
                    <a:pt x="38" y="228"/>
                  </a:lnTo>
                  <a:lnTo>
                    <a:pt x="37" y="211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7" y="173"/>
                  </a:lnTo>
                  <a:lnTo>
                    <a:pt x="40" y="154"/>
                  </a:lnTo>
                  <a:lnTo>
                    <a:pt x="45" y="134"/>
                  </a:lnTo>
                  <a:lnTo>
                    <a:pt x="53" y="117"/>
                  </a:lnTo>
                  <a:lnTo>
                    <a:pt x="62" y="100"/>
                  </a:lnTo>
                  <a:lnTo>
                    <a:pt x="72" y="84"/>
                  </a:lnTo>
                  <a:lnTo>
                    <a:pt x="85" y="69"/>
                  </a:lnTo>
                  <a:lnTo>
                    <a:pt x="99" y="55"/>
                  </a:lnTo>
                  <a:lnTo>
                    <a:pt x="113" y="42"/>
                  </a:lnTo>
                  <a:lnTo>
                    <a:pt x="131" y="32"/>
                  </a:lnTo>
                  <a:lnTo>
                    <a:pt x="149" y="22"/>
                  </a:lnTo>
                  <a:lnTo>
                    <a:pt x="168" y="15"/>
                  </a:lnTo>
                  <a:lnTo>
                    <a:pt x="189" y="8"/>
                  </a:lnTo>
                  <a:lnTo>
                    <a:pt x="211" y="3"/>
                  </a:lnTo>
                  <a:lnTo>
                    <a:pt x="234" y="1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74" y="0"/>
                  </a:lnTo>
                  <a:lnTo>
                    <a:pt x="290" y="1"/>
                  </a:lnTo>
                  <a:lnTo>
                    <a:pt x="305" y="3"/>
                  </a:lnTo>
                  <a:lnTo>
                    <a:pt x="321" y="7"/>
                  </a:lnTo>
                  <a:lnTo>
                    <a:pt x="336" y="10"/>
                  </a:lnTo>
                  <a:lnTo>
                    <a:pt x="351" y="15"/>
                  </a:lnTo>
                  <a:lnTo>
                    <a:pt x="364" y="21"/>
                  </a:lnTo>
                  <a:lnTo>
                    <a:pt x="378" y="28"/>
                  </a:lnTo>
                  <a:lnTo>
                    <a:pt x="392" y="36"/>
                  </a:lnTo>
                  <a:lnTo>
                    <a:pt x="404" y="44"/>
                  </a:lnTo>
                  <a:lnTo>
                    <a:pt x="417" y="54"/>
                  </a:lnTo>
                  <a:lnTo>
                    <a:pt x="428" y="65"/>
                  </a:lnTo>
                  <a:lnTo>
                    <a:pt x="440" y="77"/>
                  </a:lnTo>
                  <a:lnTo>
                    <a:pt x="451" y="89"/>
                  </a:lnTo>
                  <a:lnTo>
                    <a:pt x="462" y="104"/>
                  </a:lnTo>
                  <a:lnTo>
                    <a:pt x="471" y="119"/>
                  </a:lnTo>
                  <a:lnTo>
                    <a:pt x="360" y="196"/>
                  </a:lnTo>
                  <a:lnTo>
                    <a:pt x="360" y="196"/>
                  </a:lnTo>
                  <a:lnTo>
                    <a:pt x="351" y="181"/>
                  </a:lnTo>
                  <a:lnTo>
                    <a:pt x="340" y="169"/>
                  </a:lnTo>
                  <a:lnTo>
                    <a:pt x="330" y="158"/>
                  </a:lnTo>
                  <a:lnTo>
                    <a:pt x="317" y="149"/>
                  </a:lnTo>
                  <a:lnTo>
                    <a:pt x="305" y="143"/>
                  </a:lnTo>
                  <a:lnTo>
                    <a:pt x="291" y="139"/>
                  </a:lnTo>
                  <a:lnTo>
                    <a:pt x="276" y="135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45" y="135"/>
                  </a:lnTo>
                  <a:lnTo>
                    <a:pt x="231" y="139"/>
                  </a:lnTo>
                  <a:lnTo>
                    <a:pt x="219" y="143"/>
                  </a:lnTo>
                  <a:lnTo>
                    <a:pt x="207" y="149"/>
                  </a:lnTo>
                  <a:lnTo>
                    <a:pt x="197" y="157"/>
                  </a:lnTo>
                  <a:lnTo>
                    <a:pt x="194" y="162"/>
                  </a:lnTo>
                  <a:lnTo>
                    <a:pt x="190" y="166"/>
                  </a:lnTo>
                  <a:lnTo>
                    <a:pt x="188" y="172"/>
                  </a:lnTo>
                  <a:lnTo>
                    <a:pt x="186" y="178"/>
                  </a:lnTo>
                  <a:lnTo>
                    <a:pt x="184" y="183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6" y="203"/>
                  </a:lnTo>
                  <a:lnTo>
                    <a:pt x="189" y="214"/>
                  </a:lnTo>
                  <a:lnTo>
                    <a:pt x="191" y="220"/>
                  </a:lnTo>
                  <a:lnTo>
                    <a:pt x="195" y="225"/>
                  </a:lnTo>
                  <a:lnTo>
                    <a:pt x="204" y="235"/>
                  </a:lnTo>
                  <a:lnTo>
                    <a:pt x="215" y="245"/>
                  </a:lnTo>
                  <a:lnTo>
                    <a:pt x="231" y="254"/>
                  </a:lnTo>
                  <a:lnTo>
                    <a:pt x="250" y="264"/>
                  </a:lnTo>
                  <a:lnTo>
                    <a:pt x="273" y="274"/>
                  </a:lnTo>
                  <a:lnTo>
                    <a:pt x="322" y="291"/>
                  </a:lnTo>
                  <a:lnTo>
                    <a:pt x="322" y="291"/>
                  </a:lnTo>
                  <a:lnTo>
                    <a:pt x="343" y="300"/>
                  </a:lnTo>
                  <a:lnTo>
                    <a:pt x="362" y="309"/>
                  </a:lnTo>
                  <a:lnTo>
                    <a:pt x="381" y="319"/>
                  </a:lnTo>
                  <a:lnTo>
                    <a:pt x="399" y="329"/>
                  </a:lnTo>
                  <a:lnTo>
                    <a:pt x="415" y="339"/>
                  </a:lnTo>
                  <a:lnTo>
                    <a:pt x="430" y="351"/>
                  </a:lnTo>
                  <a:lnTo>
                    <a:pt x="442" y="362"/>
                  </a:lnTo>
                  <a:lnTo>
                    <a:pt x="455" y="375"/>
                  </a:lnTo>
                  <a:lnTo>
                    <a:pt x="465" y="387"/>
                  </a:lnTo>
                  <a:lnTo>
                    <a:pt x="475" y="402"/>
                  </a:lnTo>
                  <a:lnTo>
                    <a:pt x="483" y="416"/>
                  </a:lnTo>
                  <a:lnTo>
                    <a:pt x="489" y="432"/>
                  </a:lnTo>
                  <a:lnTo>
                    <a:pt x="495" y="449"/>
                  </a:lnTo>
                  <a:lnTo>
                    <a:pt x="498" y="466"/>
                  </a:lnTo>
                  <a:lnTo>
                    <a:pt x="501" y="485"/>
                  </a:lnTo>
                  <a:lnTo>
                    <a:pt x="502" y="504"/>
                  </a:lnTo>
                  <a:lnTo>
                    <a:pt x="502" y="504"/>
                  </a:lnTo>
                  <a:lnTo>
                    <a:pt x="501" y="526"/>
                  </a:lnTo>
                  <a:lnTo>
                    <a:pt x="497" y="548"/>
                  </a:lnTo>
                  <a:lnTo>
                    <a:pt x="491" y="568"/>
                  </a:lnTo>
                  <a:lnTo>
                    <a:pt x="483" y="587"/>
                  </a:lnTo>
                  <a:lnTo>
                    <a:pt x="474" y="605"/>
                  </a:lnTo>
                  <a:lnTo>
                    <a:pt x="462" y="622"/>
                  </a:lnTo>
                  <a:lnTo>
                    <a:pt x="449" y="638"/>
                  </a:lnTo>
                  <a:lnTo>
                    <a:pt x="433" y="652"/>
                  </a:lnTo>
                  <a:lnTo>
                    <a:pt x="416" y="665"/>
                  </a:lnTo>
                  <a:lnTo>
                    <a:pt x="398" y="676"/>
                  </a:lnTo>
                  <a:lnTo>
                    <a:pt x="377" y="686"/>
                  </a:lnTo>
                  <a:lnTo>
                    <a:pt x="355" y="694"/>
                  </a:lnTo>
                  <a:lnTo>
                    <a:pt x="332" y="700"/>
                  </a:lnTo>
                  <a:lnTo>
                    <a:pt x="308" y="705"/>
                  </a:lnTo>
                  <a:lnTo>
                    <a:pt x="282" y="708"/>
                  </a:lnTo>
                  <a:lnTo>
                    <a:pt x="255" y="709"/>
                  </a:lnTo>
                  <a:lnTo>
                    <a:pt x="255" y="709"/>
                  </a:lnTo>
                  <a:lnTo>
                    <a:pt x="236" y="708"/>
                  </a:lnTo>
                  <a:lnTo>
                    <a:pt x="215" y="707"/>
                  </a:lnTo>
                  <a:lnTo>
                    <a:pt x="197" y="705"/>
                  </a:lnTo>
                  <a:lnTo>
                    <a:pt x="178" y="700"/>
                  </a:lnTo>
                  <a:lnTo>
                    <a:pt x="159" y="696"/>
                  </a:lnTo>
                  <a:lnTo>
                    <a:pt x="142" y="690"/>
                  </a:lnTo>
                  <a:lnTo>
                    <a:pt x="125" y="683"/>
                  </a:lnTo>
                  <a:lnTo>
                    <a:pt x="108" y="675"/>
                  </a:lnTo>
                  <a:lnTo>
                    <a:pt x="93" y="666"/>
                  </a:lnTo>
                  <a:lnTo>
                    <a:pt x="77" y="656"/>
                  </a:lnTo>
                  <a:lnTo>
                    <a:pt x="62" y="644"/>
                  </a:lnTo>
                  <a:lnTo>
                    <a:pt x="48" y="631"/>
                  </a:lnTo>
                  <a:lnTo>
                    <a:pt x="36" y="618"/>
                  </a:lnTo>
                  <a:lnTo>
                    <a:pt x="23" y="603"/>
                  </a:lnTo>
                  <a:lnTo>
                    <a:pt x="11" y="587"/>
                  </a:lnTo>
                  <a:lnTo>
                    <a:pt x="0" y="568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480" y="3424"/>
              <a:ext cx="167" cy="236"/>
            </a:xfrm>
            <a:custGeom>
              <a:avLst/>
              <a:gdLst>
                <a:gd name="T0" fmla="*/ 116 w 502"/>
                <a:gd name="T1" fmla="*/ 486 h 709"/>
                <a:gd name="T2" fmla="*/ 156 w 502"/>
                <a:gd name="T3" fmla="*/ 539 h 709"/>
                <a:gd name="T4" fmla="*/ 181 w 502"/>
                <a:gd name="T5" fmla="*/ 557 h 709"/>
                <a:gd name="T6" fmla="*/ 210 w 502"/>
                <a:gd name="T7" fmla="*/ 568 h 709"/>
                <a:gd name="T8" fmla="*/ 243 w 502"/>
                <a:gd name="T9" fmla="*/ 574 h 709"/>
                <a:gd name="T10" fmla="*/ 275 w 502"/>
                <a:gd name="T11" fmla="*/ 573 h 709"/>
                <a:gd name="T12" fmla="*/ 313 w 502"/>
                <a:gd name="T13" fmla="*/ 560 h 709"/>
                <a:gd name="T14" fmla="*/ 330 w 502"/>
                <a:gd name="T15" fmla="*/ 548 h 709"/>
                <a:gd name="T16" fmla="*/ 340 w 502"/>
                <a:gd name="T17" fmla="*/ 531 h 709"/>
                <a:gd name="T18" fmla="*/ 344 w 502"/>
                <a:gd name="T19" fmla="*/ 511 h 709"/>
                <a:gd name="T20" fmla="*/ 343 w 502"/>
                <a:gd name="T21" fmla="*/ 497 h 709"/>
                <a:gd name="T22" fmla="*/ 335 w 502"/>
                <a:gd name="T23" fmla="*/ 478 h 709"/>
                <a:gd name="T24" fmla="*/ 321 w 502"/>
                <a:gd name="T25" fmla="*/ 462 h 709"/>
                <a:gd name="T26" fmla="*/ 274 w 502"/>
                <a:gd name="T27" fmla="*/ 433 h 709"/>
                <a:gd name="T28" fmla="*/ 204 w 502"/>
                <a:gd name="T29" fmla="*/ 406 h 709"/>
                <a:gd name="T30" fmla="*/ 144 w 502"/>
                <a:gd name="T31" fmla="*/ 377 h 709"/>
                <a:gd name="T32" fmla="*/ 99 w 502"/>
                <a:gd name="T33" fmla="*/ 343 h 709"/>
                <a:gd name="T34" fmla="*/ 66 w 502"/>
                <a:gd name="T35" fmla="*/ 304 h 709"/>
                <a:gd name="T36" fmla="*/ 46 w 502"/>
                <a:gd name="T37" fmla="*/ 260 h 709"/>
                <a:gd name="T38" fmla="*/ 37 w 502"/>
                <a:gd name="T39" fmla="*/ 211 h 709"/>
                <a:gd name="T40" fmla="*/ 37 w 502"/>
                <a:gd name="T41" fmla="*/ 173 h 709"/>
                <a:gd name="T42" fmla="*/ 53 w 502"/>
                <a:gd name="T43" fmla="*/ 117 h 709"/>
                <a:gd name="T44" fmla="*/ 85 w 502"/>
                <a:gd name="T45" fmla="*/ 69 h 709"/>
                <a:gd name="T46" fmla="*/ 131 w 502"/>
                <a:gd name="T47" fmla="*/ 32 h 709"/>
                <a:gd name="T48" fmla="*/ 189 w 502"/>
                <a:gd name="T49" fmla="*/ 8 h 709"/>
                <a:gd name="T50" fmla="*/ 257 w 502"/>
                <a:gd name="T51" fmla="*/ 0 h 709"/>
                <a:gd name="T52" fmla="*/ 290 w 502"/>
                <a:gd name="T53" fmla="*/ 1 h 709"/>
                <a:gd name="T54" fmla="*/ 336 w 502"/>
                <a:gd name="T55" fmla="*/ 10 h 709"/>
                <a:gd name="T56" fmla="*/ 378 w 502"/>
                <a:gd name="T57" fmla="*/ 28 h 709"/>
                <a:gd name="T58" fmla="*/ 417 w 502"/>
                <a:gd name="T59" fmla="*/ 54 h 709"/>
                <a:gd name="T60" fmla="*/ 451 w 502"/>
                <a:gd name="T61" fmla="*/ 89 h 709"/>
                <a:gd name="T62" fmla="*/ 360 w 502"/>
                <a:gd name="T63" fmla="*/ 196 h 709"/>
                <a:gd name="T64" fmla="*/ 340 w 502"/>
                <a:gd name="T65" fmla="*/ 169 h 709"/>
                <a:gd name="T66" fmla="*/ 305 w 502"/>
                <a:gd name="T67" fmla="*/ 143 h 709"/>
                <a:gd name="T68" fmla="*/ 260 w 502"/>
                <a:gd name="T69" fmla="*/ 134 h 709"/>
                <a:gd name="T70" fmla="*/ 231 w 502"/>
                <a:gd name="T71" fmla="*/ 139 h 709"/>
                <a:gd name="T72" fmla="*/ 197 w 502"/>
                <a:gd name="T73" fmla="*/ 157 h 709"/>
                <a:gd name="T74" fmla="*/ 188 w 502"/>
                <a:gd name="T75" fmla="*/ 172 h 709"/>
                <a:gd name="T76" fmla="*/ 184 w 502"/>
                <a:gd name="T77" fmla="*/ 189 h 709"/>
                <a:gd name="T78" fmla="*/ 189 w 502"/>
                <a:gd name="T79" fmla="*/ 214 h 709"/>
                <a:gd name="T80" fmla="*/ 204 w 502"/>
                <a:gd name="T81" fmla="*/ 235 h 709"/>
                <a:gd name="T82" fmla="*/ 250 w 502"/>
                <a:gd name="T83" fmla="*/ 264 h 709"/>
                <a:gd name="T84" fmla="*/ 322 w 502"/>
                <a:gd name="T85" fmla="*/ 291 h 709"/>
                <a:gd name="T86" fmla="*/ 381 w 502"/>
                <a:gd name="T87" fmla="*/ 319 h 709"/>
                <a:gd name="T88" fmla="*/ 430 w 502"/>
                <a:gd name="T89" fmla="*/ 351 h 709"/>
                <a:gd name="T90" fmla="*/ 465 w 502"/>
                <a:gd name="T91" fmla="*/ 387 h 709"/>
                <a:gd name="T92" fmla="*/ 489 w 502"/>
                <a:gd name="T93" fmla="*/ 432 h 709"/>
                <a:gd name="T94" fmla="*/ 501 w 502"/>
                <a:gd name="T95" fmla="*/ 485 h 709"/>
                <a:gd name="T96" fmla="*/ 501 w 502"/>
                <a:gd name="T97" fmla="*/ 526 h 709"/>
                <a:gd name="T98" fmla="*/ 483 w 502"/>
                <a:gd name="T99" fmla="*/ 587 h 709"/>
                <a:gd name="T100" fmla="*/ 449 w 502"/>
                <a:gd name="T101" fmla="*/ 638 h 709"/>
                <a:gd name="T102" fmla="*/ 398 w 502"/>
                <a:gd name="T103" fmla="*/ 676 h 709"/>
                <a:gd name="T104" fmla="*/ 332 w 502"/>
                <a:gd name="T105" fmla="*/ 700 h 709"/>
                <a:gd name="T106" fmla="*/ 255 w 502"/>
                <a:gd name="T107" fmla="*/ 709 h 709"/>
                <a:gd name="T108" fmla="*/ 215 w 502"/>
                <a:gd name="T109" fmla="*/ 707 h 709"/>
                <a:gd name="T110" fmla="*/ 159 w 502"/>
                <a:gd name="T111" fmla="*/ 696 h 709"/>
                <a:gd name="T112" fmla="*/ 108 w 502"/>
                <a:gd name="T113" fmla="*/ 675 h 709"/>
                <a:gd name="T114" fmla="*/ 62 w 502"/>
                <a:gd name="T115" fmla="*/ 644 h 709"/>
                <a:gd name="T116" fmla="*/ 23 w 502"/>
                <a:gd name="T117" fmla="*/ 6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709">
                  <a:moveTo>
                    <a:pt x="0" y="568"/>
                  </a:moveTo>
                  <a:lnTo>
                    <a:pt x="116" y="486"/>
                  </a:lnTo>
                  <a:lnTo>
                    <a:pt x="116" y="486"/>
                  </a:lnTo>
                  <a:lnTo>
                    <a:pt x="128" y="507"/>
                  </a:lnTo>
                  <a:lnTo>
                    <a:pt x="142" y="524"/>
                  </a:lnTo>
                  <a:lnTo>
                    <a:pt x="156" y="539"/>
                  </a:lnTo>
                  <a:lnTo>
                    <a:pt x="164" y="546"/>
                  </a:lnTo>
                  <a:lnTo>
                    <a:pt x="172" y="551"/>
                  </a:lnTo>
                  <a:lnTo>
                    <a:pt x="181" y="557"/>
                  </a:lnTo>
                  <a:lnTo>
                    <a:pt x="190" y="562"/>
                  </a:lnTo>
                  <a:lnTo>
                    <a:pt x="199" y="565"/>
                  </a:lnTo>
                  <a:lnTo>
                    <a:pt x="210" y="568"/>
                  </a:lnTo>
                  <a:lnTo>
                    <a:pt x="220" y="571"/>
                  </a:lnTo>
                  <a:lnTo>
                    <a:pt x="231" y="573"/>
                  </a:lnTo>
                  <a:lnTo>
                    <a:pt x="243" y="574"/>
                  </a:lnTo>
                  <a:lnTo>
                    <a:pt x="255" y="574"/>
                  </a:lnTo>
                  <a:lnTo>
                    <a:pt x="255" y="574"/>
                  </a:lnTo>
                  <a:lnTo>
                    <a:pt x="275" y="573"/>
                  </a:lnTo>
                  <a:lnTo>
                    <a:pt x="291" y="570"/>
                  </a:lnTo>
                  <a:lnTo>
                    <a:pt x="306" y="564"/>
                  </a:lnTo>
                  <a:lnTo>
                    <a:pt x="313" y="560"/>
                  </a:lnTo>
                  <a:lnTo>
                    <a:pt x="320" y="557"/>
                  </a:lnTo>
                  <a:lnTo>
                    <a:pt x="324" y="552"/>
                  </a:lnTo>
                  <a:lnTo>
                    <a:pt x="330" y="548"/>
                  </a:lnTo>
                  <a:lnTo>
                    <a:pt x="333" y="542"/>
                  </a:lnTo>
                  <a:lnTo>
                    <a:pt x="337" y="536"/>
                  </a:lnTo>
                  <a:lnTo>
                    <a:pt x="340" y="531"/>
                  </a:lnTo>
                  <a:lnTo>
                    <a:pt x="341" y="525"/>
                  </a:lnTo>
                  <a:lnTo>
                    <a:pt x="344" y="518"/>
                  </a:lnTo>
                  <a:lnTo>
                    <a:pt x="344" y="511"/>
                  </a:lnTo>
                  <a:lnTo>
                    <a:pt x="344" y="511"/>
                  </a:lnTo>
                  <a:lnTo>
                    <a:pt x="344" y="504"/>
                  </a:lnTo>
                  <a:lnTo>
                    <a:pt x="343" y="497"/>
                  </a:lnTo>
                  <a:lnTo>
                    <a:pt x="340" y="491"/>
                  </a:lnTo>
                  <a:lnTo>
                    <a:pt x="338" y="484"/>
                  </a:lnTo>
                  <a:lnTo>
                    <a:pt x="335" y="478"/>
                  </a:lnTo>
                  <a:lnTo>
                    <a:pt x="331" y="472"/>
                  </a:lnTo>
                  <a:lnTo>
                    <a:pt x="327" y="466"/>
                  </a:lnTo>
                  <a:lnTo>
                    <a:pt x="321" y="462"/>
                  </a:lnTo>
                  <a:lnTo>
                    <a:pt x="308" y="452"/>
                  </a:lnTo>
                  <a:lnTo>
                    <a:pt x="292" y="442"/>
                  </a:lnTo>
                  <a:lnTo>
                    <a:pt x="274" y="433"/>
                  </a:lnTo>
                  <a:lnTo>
                    <a:pt x="252" y="424"/>
                  </a:lnTo>
                  <a:lnTo>
                    <a:pt x="204" y="406"/>
                  </a:lnTo>
                  <a:lnTo>
                    <a:pt x="204" y="406"/>
                  </a:lnTo>
                  <a:lnTo>
                    <a:pt x="182" y="397"/>
                  </a:lnTo>
                  <a:lnTo>
                    <a:pt x="163" y="387"/>
                  </a:lnTo>
                  <a:lnTo>
                    <a:pt x="144" y="377"/>
                  </a:lnTo>
                  <a:lnTo>
                    <a:pt x="128" y="367"/>
                  </a:lnTo>
                  <a:lnTo>
                    <a:pt x="112" y="355"/>
                  </a:lnTo>
                  <a:lnTo>
                    <a:pt x="99" y="343"/>
                  </a:lnTo>
                  <a:lnTo>
                    <a:pt x="87" y="330"/>
                  </a:lnTo>
                  <a:lnTo>
                    <a:pt x="76" y="317"/>
                  </a:lnTo>
                  <a:lnTo>
                    <a:pt x="66" y="304"/>
                  </a:lnTo>
                  <a:lnTo>
                    <a:pt x="58" y="290"/>
                  </a:lnTo>
                  <a:lnTo>
                    <a:pt x="52" y="275"/>
                  </a:lnTo>
                  <a:lnTo>
                    <a:pt x="46" y="260"/>
                  </a:lnTo>
                  <a:lnTo>
                    <a:pt x="41" y="244"/>
                  </a:lnTo>
                  <a:lnTo>
                    <a:pt x="38" y="228"/>
                  </a:lnTo>
                  <a:lnTo>
                    <a:pt x="37" y="211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7" y="173"/>
                  </a:lnTo>
                  <a:lnTo>
                    <a:pt x="40" y="154"/>
                  </a:lnTo>
                  <a:lnTo>
                    <a:pt x="45" y="134"/>
                  </a:lnTo>
                  <a:lnTo>
                    <a:pt x="53" y="117"/>
                  </a:lnTo>
                  <a:lnTo>
                    <a:pt x="62" y="100"/>
                  </a:lnTo>
                  <a:lnTo>
                    <a:pt x="72" y="84"/>
                  </a:lnTo>
                  <a:lnTo>
                    <a:pt x="85" y="69"/>
                  </a:lnTo>
                  <a:lnTo>
                    <a:pt x="99" y="55"/>
                  </a:lnTo>
                  <a:lnTo>
                    <a:pt x="113" y="42"/>
                  </a:lnTo>
                  <a:lnTo>
                    <a:pt x="131" y="32"/>
                  </a:lnTo>
                  <a:lnTo>
                    <a:pt x="149" y="22"/>
                  </a:lnTo>
                  <a:lnTo>
                    <a:pt x="168" y="15"/>
                  </a:lnTo>
                  <a:lnTo>
                    <a:pt x="189" y="8"/>
                  </a:lnTo>
                  <a:lnTo>
                    <a:pt x="211" y="3"/>
                  </a:lnTo>
                  <a:lnTo>
                    <a:pt x="234" y="1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74" y="0"/>
                  </a:lnTo>
                  <a:lnTo>
                    <a:pt x="290" y="1"/>
                  </a:lnTo>
                  <a:lnTo>
                    <a:pt x="305" y="3"/>
                  </a:lnTo>
                  <a:lnTo>
                    <a:pt x="321" y="7"/>
                  </a:lnTo>
                  <a:lnTo>
                    <a:pt x="336" y="10"/>
                  </a:lnTo>
                  <a:lnTo>
                    <a:pt x="351" y="15"/>
                  </a:lnTo>
                  <a:lnTo>
                    <a:pt x="364" y="21"/>
                  </a:lnTo>
                  <a:lnTo>
                    <a:pt x="378" y="28"/>
                  </a:lnTo>
                  <a:lnTo>
                    <a:pt x="392" y="36"/>
                  </a:lnTo>
                  <a:lnTo>
                    <a:pt x="404" y="44"/>
                  </a:lnTo>
                  <a:lnTo>
                    <a:pt x="417" y="54"/>
                  </a:lnTo>
                  <a:lnTo>
                    <a:pt x="428" y="65"/>
                  </a:lnTo>
                  <a:lnTo>
                    <a:pt x="440" y="77"/>
                  </a:lnTo>
                  <a:lnTo>
                    <a:pt x="451" y="89"/>
                  </a:lnTo>
                  <a:lnTo>
                    <a:pt x="462" y="104"/>
                  </a:lnTo>
                  <a:lnTo>
                    <a:pt x="471" y="119"/>
                  </a:lnTo>
                  <a:lnTo>
                    <a:pt x="360" y="196"/>
                  </a:lnTo>
                  <a:lnTo>
                    <a:pt x="360" y="196"/>
                  </a:lnTo>
                  <a:lnTo>
                    <a:pt x="351" y="181"/>
                  </a:lnTo>
                  <a:lnTo>
                    <a:pt x="340" y="169"/>
                  </a:lnTo>
                  <a:lnTo>
                    <a:pt x="330" y="158"/>
                  </a:lnTo>
                  <a:lnTo>
                    <a:pt x="317" y="149"/>
                  </a:lnTo>
                  <a:lnTo>
                    <a:pt x="305" y="143"/>
                  </a:lnTo>
                  <a:lnTo>
                    <a:pt x="291" y="139"/>
                  </a:lnTo>
                  <a:lnTo>
                    <a:pt x="276" y="135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45" y="135"/>
                  </a:lnTo>
                  <a:lnTo>
                    <a:pt x="231" y="139"/>
                  </a:lnTo>
                  <a:lnTo>
                    <a:pt x="219" y="143"/>
                  </a:lnTo>
                  <a:lnTo>
                    <a:pt x="207" y="149"/>
                  </a:lnTo>
                  <a:lnTo>
                    <a:pt x="197" y="157"/>
                  </a:lnTo>
                  <a:lnTo>
                    <a:pt x="194" y="162"/>
                  </a:lnTo>
                  <a:lnTo>
                    <a:pt x="190" y="166"/>
                  </a:lnTo>
                  <a:lnTo>
                    <a:pt x="188" y="172"/>
                  </a:lnTo>
                  <a:lnTo>
                    <a:pt x="186" y="178"/>
                  </a:lnTo>
                  <a:lnTo>
                    <a:pt x="184" y="183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6" y="203"/>
                  </a:lnTo>
                  <a:lnTo>
                    <a:pt x="189" y="214"/>
                  </a:lnTo>
                  <a:lnTo>
                    <a:pt x="191" y="220"/>
                  </a:lnTo>
                  <a:lnTo>
                    <a:pt x="195" y="225"/>
                  </a:lnTo>
                  <a:lnTo>
                    <a:pt x="204" y="235"/>
                  </a:lnTo>
                  <a:lnTo>
                    <a:pt x="215" y="245"/>
                  </a:lnTo>
                  <a:lnTo>
                    <a:pt x="231" y="254"/>
                  </a:lnTo>
                  <a:lnTo>
                    <a:pt x="250" y="264"/>
                  </a:lnTo>
                  <a:lnTo>
                    <a:pt x="273" y="274"/>
                  </a:lnTo>
                  <a:lnTo>
                    <a:pt x="322" y="291"/>
                  </a:lnTo>
                  <a:lnTo>
                    <a:pt x="322" y="291"/>
                  </a:lnTo>
                  <a:lnTo>
                    <a:pt x="343" y="300"/>
                  </a:lnTo>
                  <a:lnTo>
                    <a:pt x="362" y="309"/>
                  </a:lnTo>
                  <a:lnTo>
                    <a:pt x="381" y="319"/>
                  </a:lnTo>
                  <a:lnTo>
                    <a:pt x="399" y="329"/>
                  </a:lnTo>
                  <a:lnTo>
                    <a:pt x="415" y="339"/>
                  </a:lnTo>
                  <a:lnTo>
                    <a:pt x="430" y="351"/>
                  </a:lnTo>
                  <a:lnTo>
                    <a:pt x="442" y="362"/>
                  </a:lnTo>
                  <a:lnTo>
                    <a:pt x="455" y="375"/>
                  </a:lnTo>
                  <a:lnTo>
                    <a:pt x="465" y="387"/>
                  </a:lnTo>
                  <a:lnTo>
                    <a:pt x="475" y="402"/>
                  </a:lnTo>
                  <a:lnTo>
                    <a:pt x="483" y="416"/>
                  </a:lnTo>
                  <a:lnTo>
                    <a:pt x="489" y="432"/>
                  </a:lnTo>
                  <a:lnTo>
                    <a:pt x="495" y="449"/>
                  </a:lnTo>
                  <a:lnTo>
                    <a:pt x="498" y="466"/>
                  </a:lnTo>
                  <a:lnTo>
                    <a:pt x="501" y="485"/>
                  </a:lnTo>
                  <a:lnTo>
                    <a:pt x="502" y="504"/>
                  </a:lnTo>
                  <a:lnTo>
                    <a:pt x="502" y="504"/>
                  </a:lnTo>
                  <a:lnTo>
                    <a:pt x="501" y="526"/>
                  </a:lnTo>
                  <a:lnTo>
                    <a:pt x="497" y="548"/>
                  </a:lnTo>
                  <a:lnTo>
                    <a:pt x="491" y="568"/>
                  </a:lnTo>
                  <a:lnTo>
                    <a:pt x="483" y="587"/>
                  </a:lnTo>
                  <a:lnTo>
                    <a:pt x="474" y="605"/>
                  </a:lnTo>
                  <a:lnTo>
                    <a:pt x="462" y="622"/>
                  </a:lnTo>
                  <a:lnTo>
                    <a:pt x="449" y="638"/>
                  </a:lnTo>
                  <a:lnTo>
                    <a:pt x="433" y="652"/>
                  </a:lnTo>
                  <a:lnTo>
                    <a:pt x="416" y="665"/>
                  </a:lnTo>
                  <a:lnTo>
                    <a:pt x="398" y="676"/>
                  </a:lnTo>
                  <a:lnTo>
                    <a:pt x="377" y="686"/>
                  </a:lnTo>
                  <a:lnTo>
                    <a:pt x="355" y="694"/>
                  </a:lnTo>
                  <a:lnTo>
                    <a:pt x="332" y="700"/>
                  </a:lnTo>
                  <a:lnTo>
                    <a:pt x="308" y="705"/>
                  </a:lnTo>
                  <a:lnTo>
                    <a:pt x="282" y="708"/>
                  </a:lnTo>
                  <a:lnTo>
                    <a:pt x="255" y="709"/>
                  </a:lnTo>
                  <a:lnTo>
                    <a:pt x="255" y="709"/>
                  </a:lnTo>
                  <a:lnTo>
                    <a:pt x="236" y="708"/>
                  </a:lnTo>
                  <a:lnTo>
                    <a:pt x="215" y="707"/>
                  </a:lnTo>
                  <a:lnTo>
                    <a:pt x="197" y="705"/>
                  </a:lnTo>
                  <a:lnTo>
                    <a:pt x="178" y="700"/>
                  </a:lnTo>
                  <a:lnTo>
                    <a:pt x="159" y="696"/>
                  </a:lnTo>
                  <a:lnTo>
                    <a:pt x="142" y="690"/>
                  </a:lnTo>
                  <a:lnTo>
                    <a:pt x="125" y="683"/>
                  </a:lnTo>
                  <a:lnTo>
                    <a:pt x="108" y="675"/>
                  </a:lnTo>
                  <a:lnTo>
                    <a:pt x="93" y="666"/>
                  </a:lnTo>
                  <a:lnTo>
                    <a:pt x="77" y="656"/>
                  </a:lnTo>
                  <a:lnTo>
                    <a:pt x="62" y="644"/>
                  </a:lnTo>
                  <a:lnTo>
                    <a:pt x="48" y="631"/>
                  </a:lnTo>
                  <a:lnTo>
                    <a:pt x="36" y="618"/>
                  </a:lnTo>
                  <a:lnTo>
                    <a:pt x="23" y="603"/>
                  </a:lnTo>
                  <a:lnTo>
                    <a:pt x="11" y="587"/>
                  </a:lnTo>
                  <a:lnTo>
                    <a:pt x="0" y="56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662" y="3424"/>
              <a:ext cx="206" cy="236"/>
            </a:xfrm>
            <a:custGeom>
              <a:avLst/>
              <a:gdLst>
                <a:gd name="T0" fmla="*/ 1 w 618"/>
                <a:gd name="T1" fmla="*/ 336 h 709"/>
                <a:gd name="T2" fmla="*/ 7 w 618"/>
                <a:gd name="T3" fmla="*/ 282 h 709"/>
                <a:gd name="T4" fmla="*/ 21 w 618"/>
                <a:gd name="T5" fmla="*/ 230 h 709"/>
                <a:gd name="T6" fmla="*/ 42 w 618"/>
                <a:gd name="T7" fmla="*/ 183 h 709"/>
                <a:gd name="T8" fmla="*/ 69 w 618"/>
                <a:gd name="T9" fmla="*/ 140 h 709"/>
                <a:gd name="T10" fmla="*/ 101 w 618"/>
                <a:gd name="T11" fmla="*/ 102 h 709"/>
                <a:gd name="T12" fmla="*/ 140 w 618"/>
                <a:gd name="T13" fmla="*/ 69 h 709"/>
                <a:gd name="T14" fmla="*/ 182 w 618"/>
                <a:gd name="T15" fmla="*/ 41 h 709"/>
                <a:gd name="T16" fmla="*/ 231 w 618"/>
                <a:gd name="T17" fmla="*/ 21 h 709"/>
                <a:gd name="T18" fmla="*/ 282 w 618"/>
                <a:gd name="T19" fmla="*/ 7 h 709"/>
                <a:gd name="T20" fmla="*/ 336 w 618"/>
                <a:gd name="T21" fmla="*/ 0 h 709"/>
                <a:gd name="T22" fmla="*/ 376 w 618"/>
                <a:gd name="T23" fmla="*/ 0 h 709"/>
                <a:gd name="T24" fmla="*/ 433 w 618"/>
                <a:gd name="T25" fmla="*/ 8 h 709"/>
                <a:gd name="T26" fmla="*/ 487 w 618"/>
                <a:gd name="T27" fmla="*/ 24 h 709"/>
                <a:gd name="T28" fmla="*/ 535 w 618"/>
                <a:gd name="T29" fmla="*/ 48 h 709"/>
                <a:gd name="T30" fmla="*/ 579 w 618"/>
                <a:gd name="T31" fmla="*/ 78 h 709"/>
                <a:gd name="T32" fmla="*/ 618 w 618"/>
                <a:gd name="T33" fmla="*/ 114 h 709"/>
                <a:gd name="T34" fmla="*/ 501 w 618"/>
                <a:gd name="T35" fmla="*/ 205 h 709"/>
                <a:gd name="T36" fmla="*/ 448 w 618"/>
                <a:gd name="T37" fmla="*/ 167 h 709"/>
                <a:gd name="T38" fmla="*/ 405 w 618"/>
                <a:gd name="T39" fmla="*/ 152 h 709"/>
                <a:gd name="T40" fmla="*/ 368 w 618"/>
                <a:gd name="T41" fmla="*/ 147 h 709"/>
                <a:gd name="T42" fmla="*/ 334 w 618"/>
                <a:gd name="T43" fmla="*/ 148 h 709"/>
                <a:gd name="T44" fmla="*/ 275 w 618"/>
                <a:gd name="T45" fmla="*/ 163 h 709"/>
                <a:gd name="T46" fmla="*/ 226 w 618"/>
                <a:gd name="T47" fmla="*/ 193 h 709"/>
                <a:gd name="T48" fmla="*/ 188 w 618"/>
                <a:gd name="T49" fmla="*/ 236 h 709"/>
                <a:gd name="T50" fmla="*/ 164 w 618"/>
                <a:gd name="T51" fmla="*/ 291 h 709"/>
                <a:gd name="T52" fmla="*/ 156 w 618"/>
                <a:gd name="T53" fmla="*/ 354 h 709"/>
                <a:gd name="T54" fmla="*/ 160 w 618"/>
                <a:gd name="T55" fmla="*/ 398 h 709"/>
                <a:gd name="T56" fmla="*/ 179 w 618"/>
                <a:gd name="T57" fmla="*/ 456 h 709"/>
                <a:gd name="T58" fmla="*/ 212 w 618"/>
                <a:gd name="T59" fmla="*/ 503 h 709"/>
                <a:gd name="T60" fmla="*/ 257 w 618"/>
                <a:gd name="T61" fmla="*/ 537 h 709"/>
                <a:gd name="T62" fmla="*/ 313 w 618"/>
                <a:gd name="T63" fmla="*/ 558 h 709"/>
                <a:gd name="T64" fmla="*/ 355 w 618"/>
                <a:gd name="T65" fmla="*/ 562 h 709"/>
                <a:gd name="T66" fmla="*/ 393 w 618"/>
                <a:gd name="T67" fmla="*/ 559 h 709"/>
                <a:gd name="T68" fmla="*/ 428 w 618"/>
                <a:gd name="T69" fmla="*/ 550 h 709"/>
                <a:gd name="T70" fmla="*/ 485 w 618"/>
                <a:gd name="T71" fmla="*/ 518 h 709"/>
                <a:gd name="T72" fmla="*/ 618 w 618"/>
                <a:gd name="T73" fmla="*/ 595 h 709"/>
                <a:gd name="T74" fmla="*/ 593 w 618"/>
                <a:gd name="T75" fmla="*/ 620 h 709"/>
                <a:gd name="T76" fmla="*/ 551 w 618"/>
                <a:gd name="T77" fmla="*/ 652 h 709"/>
                <a:gd name="T78" fmla="*/ 504 w 618"/>
                <a:gd name="T79" fmla="*/ 677 h 709"/>
                <a:gd name="T80" fmla="*/ 452 w 618"/>
                <a:gd name="T81" fmla="*/ 697 h 709"/>
                <a:gd name="T82" fmla="*/ 396 w 618"/>
                <a:gd name="T83" fmla="*/ 707 h 709"/>
                <a:gd name="T84" fmla="*/ 355 w 618"/>
                <a:gd name="T85" fmla="*/ 709 h 709"/>
                <a:gd name="T86" fmla="*/ 299 w 618"/>
                <a:gd name="T87" fmla="*/ 705 h 709"/>
                <a:gd name="T88" fmla="*/ 247 w 618"/>
                <a:gd name="T89" fmla="*/ 693 h 709"/>
                <a:gd name="T90" fmla="*/ 199 w 618"/>
                <a:gd name="T91" fmla="*/ 675 h 709"/>
                <a:gd name="T92" fmla="*/ 154 w 618"/>
                <a:gd name="T93" fmla="*/ 650 h 709"/>
                <a:gd name="T94" fmla="*/ 114 w 618"/>
                <a:gd name="T95" fmla="*/ 619 h 709"/>
                <a:gd name="T96" fmla="*/ 79 w 618"/>
                <a:gd name="T97" fmla="*/ 582 h 709"/>
                <a:gd name="T98" fmla="*/ 51 w 618"/>
                <a:gd name="T99" fmla="*/ 541 h 709"/>
                <a:gd name="T100" fmla="*/ 28 w 618"/>
                <a:gd name="T101" fmla="*/ 495 h 709"/>
                <a:gd name="T102" fmla="*/ 12 w 618"/>
                <a:gd name="T103" fmla="*/ 445 h 709"/>
                <a:gd name="T104" fmla="*/ 3 w 618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8" h="709">
                  <a:moveTo>
                    <a:pt x="0" y="354"/>
                  </a:moveTo>
                  <a:lnTo>
                    <a:pt x="0" y="354"/>
                  </a:lnTo>
                  <a:lnTo>
                    <a:pt x="1" y="336"/>
                  </a:lnTo>
                  <a:lnTo>
                    <a:pt x="3" y="317"/>
                  </a:lnTo>
                  <a:lnTo>
                    <a:pt x="5" y="299"/>
                  </a:lnTo>
                  <a:lnTo>
                    <a:pt x="7" y="282"/>
                  </a:lnTo>
                  <a:lnTo>
                    <a:pt x="12" y="265"/>
                  </a:lnTo>
                  <a:lnTo>
                    <a:pt x="16" y="248"/>
                  </a:lnTo>
                  <a:lnTo>
                    <a:pt x="21" y="230"/>
                  </a:lnTo>
                  <a:lnTo>
                    <a:pt x="28" y="214"/>
                  </a:lnTo>
                  <a:lnTo>
                    <a:pt x="35" y="198"/>
                  </a:lnTo>
                  <a:lnTo>
                    <a:pt x="42" y="183"/>
                  </a:lnTo>
                  <a:lnTo>
                    <a:pt x="51" y="169"/>
                  </a:lnTo>
                  <a:lnTo>
                    <a:pt x="59" y="154"/>
                  </a:lnTo>
                  <a:lnTo>
                    <a:pt x="69" y="140"/>
                  </a:lnTo>
                  <a:lnTo>
                    <a:pt x="79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40" y="69"/>
                  </a:lnTo>
                  <a:lnTo>
                    <a:pt x="154" y="60"/>
                  </a:lnTo>
                  <a:lnTo>
                    <a:pt x="168" y="50"/>
                  </a:lnTo>
                  <a:lnTo>
                    <a:pt x="182" y="41"/>
                  </a:lnTo>
                  <a:lnTo>
                    <a:pt x="199" y="34"/>
                  </a:lnTo>
                  <a:lnTo>
                    <a:pt x="215" y="28"/>
                  </a:lnTo>
                  <a:lnTo>
                    <a:pt x="231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2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76" y="0"/>
                  </a:lnTo>
                  <a:lnTo>
                    <a:pt x="396" y="2"/>
                  </a:lnTo>
                  <a:lnTo>
                    <a:pt x="415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70" y="18"/>
                  </a:lnTo>
                  <a:lnTo>
                    <a:pt x="487" y="24"/>
                  </a:lnTo>
                  <a:lnTo>
                    <a:pt x="504" y="31"/>
                  </a:lnTo>
                  <a:lnTo>
                    <a:pt x="520" y="39"/>
                  </a:lnTo>
                  <a:lnTo>
                    <a:pt x="535" y="48"/>
                  </a:lnTo>
                  <a:lnTo>
                    <a:pt x="551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8" y="114"/>
                  </a:lnTo>
                  <a:lnTo>
                    <a:pt x="515" y="220"/>
                  </a:lnTo>
                  <a:lnTo>
                    <a:pt x="515" y="220"/>
                  </a:lnTo>
                  <a:lnTo>
                    <a:pt x="501" y="205"/>
                  </a:lnTo>
                  <a:lnTo>
                    <a:pt x="485" y="191"/>
                  </a:lnTo>
                  <a:lnTo>
                    <a:pt x="468" y="179"/>
                  </a:lnTo>
                  <a:lnTo>
                    <a:pt x="448" y="167"/>
                  </a:lnTo>
                  <a:lnTo>
                    <a:pt x="428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4" y="156"/>
                  </a:lnTo>
                  <a:lnTo>
                    <a:pt x="275" y="163"/>
                  </a:lnTo>
                  <a:lnTo>
                    <a:pt x="257" y="171"/>
                  </a:lnTo>
                  <a:lnTo>
                    <a:pt x="241" y="181"/>
                  </a:lnTo>
                  <a:lnTo>
                    <a:pt x="226" y="193"/>
                  </a:lnTo>
                  <a:lnTo>
                    <a:pt x="212" y="206"/>
                  </a:lnTo>
                  <a:lnTo>
                    <a:pt x="200" y="220"/>
                  </a:lnTo>
                  <a:lnTo>
                    <a:pt x="188" y="236"/>
                  </a:lnTo>
                  <a:lnTo>
                    <a:pt x="179" y="253"/>
                  </a:lnTo>
                  <a:lnTo>
                    <a:pt x="171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7" y="332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57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1" y="438"/>
                  </a:lnTo>
                  <a:lnTo>
                    <a:pt x="179" y="456"/>
                  </a:lnTo>
                  <a:lnTo>
                    <a:pt x="188" y="472"/>
                  </a:lnTo>
                  <a:lnTo>
                    <a:pt x="200" y="488"/>
                  </a:lnTo>
                  <a:lnTo>
                    <a:pt x="212" y="503"/>
                  </a:lnTo>
                  <a:lnTo>
                    <a:pt x="226" y="516"/>
                  </a:lnTo>
                  <a:lnTo>
                    <a:pt x="241" y="528"/>
                  </a:lnTo>
                  <a:lnTo>
                    <a:pt x="257" y="537"/>
                  </a:lnTo>
                  <a:lnTo>
                    <a:pt x="275" y="547"/>
                  </a:lnTo>
                  <a:lnTo>
                    <a:pt x="294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5" y="562"/>
                  </a:lnTo>
                  <a:lnTo>
                    <a:pt x="355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8" y="550"/>
                  </a:lnTo>
                  <a:lnTo>
                    <a:pt x="448" y="541"/>
                  </a:lnTo>
                  <a:lnTo>
                    <a:pt x="468" y="531"/>
                  </a:lnTo>
                  <a:lnTo>
                    <a:pt x="485" y="518"/>
                  </a:lnTo>
                  <a:lnTo>
                    <a:pt x="501" y="504"/>
                  </a:lnTo>
                  <a:lnTo>
                    <a:pt x="515" y="489"/>
                  </a:lnTo>
                  <a:lnTo>
                    <a:pt x="618" y="595"/>
                  </a:lnTo>
                  <a:lnTo>
                    <a:pt x="618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1" y="652"/>
                  </a:lnTo>
                  <a:lnTo>
                    <a:pt x="535" y="661"/>
                  </a:lnTo>
                  <a:lnTo>
                    <a:pt x="520" y="670"/>
                  </a:lnTo>
                  <a:lnTo>
                    <a:pt x="504" y="677"/>
                  </a:lnTo>
                  <a:lnTo>
                    <a:pt x="487" y="685"/>
                  </a:lnTo>
                  <a:lnTo>
                    <a:pt x="470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5" y="705"/>
                  </a:lnTo>
                  <a:lnTo>
                    <a:pt x="396" y="707"/>
                  </a:lnTo>
                  <a:lnTo>
                    <a:pt x="376" y="708"/>
                  </a:lnTo>
                  <a:lnTo>
                    <a:pt x="355" y="709"/>
                  </a:lnTo>
                  <a:lnTo>
                    <a:pt x="355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2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31" y="688"/>
                  </a:lnTo>
                  <a:lnTo>
                    <a:pt x="215" y="682"/>
                  </a:lnTo>
                  <a:lnTo>
                    <a:pt x="199" y="675"/>
                  </a:lnTo>
                  <a:lnTo>
                    <a:pt x="182" y="667"/>
                  </a:lnTo>
                  <a:lnTo>
                    <a:pt x="168" y="659"/>
                  </a:lnTo>
                  <a:lnTo>
                    <a:pt x="154" y="650"/>
                  </a:lnTo>
                  <a:lnTo>
                    <a:pt x="140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9" y="582"/>
                  </a:lnTo>
                  <a:lnTo>
                    <a:pt x="69" y="568"/>
                  </a:lnTo>
                  <a:lnTo>
                    <a:pt x="59" y="555"/>
                  </a:lnTo>
                  <a:lnTo>
                    <a:pt x="51" y="541"/>
                  </a:lnTo>
                  <a:lnTo>
                    <a:pt x="42" y="526"/>
                  </a:lnTo>
                  <a:lnTo>
                    <a:pt x="35" y="510"/>
                  </a:lnTo>
                  <a:lnTo>
                    <a:pt x="28" y="495"/>
                  </a:lnTo>
                  <a:lnTo>
                    <a:pt x="21" y="478"/>
                  </a:lnTo>
                  <a:lnTo>
                    <a:pt x="16" y="462"/>
                  </a:lnTo>
                  <a:lnTo>
                    <a:pt x="12" y="445"/>
                  </a:lnTo>
                  <a:lnTo>
                    <a:pt x="7" y="427"/>
                  </a:lnTo>
                  <a:lnTo>
                    <a:pt x="5" y="409"/>
                  </a:lnTo>
                  <a:lnTo>
                    <a:pt x="3" y="392"/>
                  </a:lnTo>
                  <a:lnTo>
                    <a:pt x="1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662" y="3424"/>
              <a:ext cx="206" cy="236"/>
            </a:xfrm>
            <a:custGeom>
              <a:avLst/>
              <a:gdLst>
                <a:gd name="T0" fmla="*/ 1 w 618"/>
                <a:gd name="T1" fmla="*/ 336 h 709"/>
                <a:gd name="T2" fmla="*/ 7 w 618"/>
                <a:gd name="T3" fmla="*/ 282 h 709"/>
                <a:gd name="T4" fmla="*/ 21 w 618"/>
                <a:gd name="T5" fmla="*/ 230 h 709"/>
                <a:gd name="T6" fmla="*/ 42 w 618"/>
                <a:gd name="T7" fmla="*/ 183 h 709"/>
                <a:gd name="T8" fmla="*/ 69 w 618"/>
                <a:gd name="T9" fmla="*/ 140 h 709"/>
                <a:gd name="T10" fmla="*/ 101 w 618"/>
                <a:gd name="T11" fmla="*/ 102 h 709"/>
                <a:gd name="T12" fmla="*/ 140 w 618"/>
                <a:gd name="T13" fmla="*/ 69 h 709"/>
                <a:gd name="T14" fmla="*/ 182 w 618"/>
                <a:gd name="T15" fmla="*/ 41 h 709"/>
                <a:gd name="T16" fmla="*/ 231 w 618"/>
                <a:gd name="T17" fmla="*/ 21 h 709"/>
                <a:gd name="T18" fmla="*/ 282 w 618"/>
                <a:gd name="T19" fmla="*/ 7 h 709"/>
                <a:gd name="T20" fmla="*/ 336 w 618"/>
                <a:gd name="T21" fmla="*/ 0 h 709"/>
                <a:gd name="T22" fmla="*/ 376 w 618"/>
                <a:gd name="T23" fmla="*/ 0 h 709"/>
                <a:gd name="T24" fmla="*/ 433 w 618"/>
                <a:gd name="T25" fmla="*/ 8 h 709"/>
                <a:gd name="T26" fmla="*/ 487 w 618"/>
                <a:gd name="T27" fmla="*/ 24 h 709"/>
                <a:gd name="T28" fmla="*/ 535 w 618"/>
                <a:gd name="T29" fmla="*/ 48 h 709"/>
                <a:gd name="T30" fmla="*/ 579 w 618"/>
                <a:gd name="T31" fmla="*/ 78 h 709"/>
                <a:gd name="T32" fmla="*/ 618 w 618"/>
                <a:gd name="T33" fmla="*/ 114 h 709"/>
                <a:gd name="T34" fmla="*/ 501 w 618"/>
                <a:gd name="T35" fmla="*/ 205 h 709"/>
                <a:gd name="T36" fmla="*/ 448 w 618"/>
                <a:gd name="T37" fmla="*/ 167 h 709"/>
                <a:gd name="T38" fmla="*/ 405 w 618"/>
                <a:gd name="T39" fmla="*/ 152 h 709"/>
                <a:gd name="T40" fmla="*/ 368 w 618"/>
                <a:gd name="T41" fmla="*/ 147 h 709"/>
                <a:gd name="T42" fmla="*/ 334 w 618"/>
                <a:gd name="T43" fmla="*/ 148 h 709"/>
                <a:gd name="T44" fmla="*/ 275 w 618"/>
                <a:gd name="T45" fmla="*/ 163 h 709"/>
                <a:gd name="T46" fmla="*/ 226 w 618"/>
                <a:gd name="T47" fmla="*/ 193 h 709"/>
                <a:gd name="T48" fmla="*/ 188 w 618"/>
                <a:gd name="T49" fmla="*/ 236 h 709"/>
                <a:gd name="T50" fmla="*/ 164 w 618"/>
                <a:gd name="T51" fmla="*/ 291 h 709"/>
                <a:gd name="T52" fmla="*/ 156 w 618"/>
                <a:gd name="T53" fmla="*/ 354 h 709"/>
                <a:gd name="T54" fmla="*/ 160 w 618"/>
                <a:gd name="T55" fmla="*/ 398 h 709"/>
                <a:gd name="T56" fmla="*/ 179 w 618"/>
                <a:gd name="T57" fmla="*/ 456 h 709"/>
                <a:gd name="T58" fmla="*/ 212 w 618"/>
                <a:gd name="T59" fmla="*/ 503 h 709"/>
                <a:gd name="T60" fmla="*/ 257 w 618"/>
                <a:gd name="T61" fmla="*/ 537 h 709"/>
                <a:gd name="T62" fmla="*/ 313 w 618"/>
                <a:gd name="T63" fmla="*/ 558 h 709"/>
                <a:gd name="T64" fmla="*/ 355 w 618"/>
                <a:gd name="T65" fmla="*/ 562 h 709"/>
                <a:gd name="T66" fmla="*/ 393 w 618"/>
                <a:gd name="T67" fmla="*/ 559 h 709"/>
                <a:gd name="T68" fmla="*/ 428 w 618"/>
                <a:gd name="T69" fmla="*/ 550 h 709"/>
                <a:gd name="T70" fmla="*/ 485 w 618"/>
                <a:gd name="T71" fmla="*/ 518 h 709"/>
                <a:gd name="T72" fmla="*/ 618 w 618"/>
                <a:gd name="T73" fmla="*/ 595 h 709"/>
                <a:gd name="T74" fmla="*/ 593 w 618"/>
                <a:gd name="T75" fmla="*/ 620 h 709"/>
                <a:gd name="T76" fmla="*/ 551 w 618"/>
                <a:gd name="T77" fmla="*/ 652 h 709"/>
                <a:gd name="T78" fmla="*/ 504 w 618"/>
                <a:gd name="T79" fmla="*/ 677 h 709"/>
                <a:gd name="T80" fmla="*/ 452 w 618"/>
                <a:gd name="T81" fmla="*/ 697 h 709"/>
                <a:gd name="T82" fmla="*/ 396 w 618"/>
                <a:gd name="T83" fmla="*/ 707 h 709"/>
                <a:gd name="T84" fmla="*/ 355 w 618"/>
                <a:gd name="T85" fmla="*/ 709 h 709"/>
                <a:gd name="T86" fmla="*/ 299 w 618"/>
                <a:gd name="T87" fmla="*/ 705 h 709"/>
                <a:gd name="T88" fmla="*/ 247 w 618"/>
                <a:gd name="T89" fmla="*/ 693 h 709"/>
                <a:gd name="T90" fmla="*/ 199 w 618"/>
                <a:gd name="T91" fmla="*/ 675 h 709"/>
                <a:gd name="T92" fmla="*/ 154 w 618"/>
                <a:gd name="T93" fmla="*/ 650 h 709"/>
                <a:gd name="T94" fmla="*/ 114 w 618"/>
                <a:gd name="T95" fmla="*/ 619 h 709"/>
                <a:gd name="T96" fmla="*/ 79 w 618"/>
                <a:gd name="T97" fmla="*/ 582 h 709"/>
                <a:gd name="T98" fmla="*/ 51 w 618"/>
                <a:gd name="T99" fmla="*/ 541 h 709"/>
                <a:gd name="T100" fmla="*/ 28 w 618"/>
                <a:gd name="T101" fmla="*/ 495 h 709"/>
                <a:gd name="T102" fmla="*/ 12 w 618"/>
                <a:gd name="T103" fmla="*/ 445 h 709"/>
                <a:gd name="T104" fmla="*/ 3 w 618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8" h="709">
                  <a:moveTo>
                    <a:pt x="0" y="354"/>
                  </a:moveTo>
                  <a:lnTo>
                    <a:pt x="0" y="354"/>
                  </a:lnTo>
                  <a:lnTo>
                    <a:pt x="1" y="336"/>
                  </a:lnTo>
                  <a:lnTo>
                    <a:pt x="3" y="317"/>
                  </a:lnTo>
                  <a:lnTo>
                    <a:pt x="5" y="299"/>
                  </a:lnTo>
                  <a:lnTo>
                    <a:pt x="7" y="282"/>
                  </a:lnTo>
                  <a:lnTo>
                    <a:pt x="12" y="265"/>
                  </a:lnTo>
                  <a:lnTo>
                    <a:pt x="16" y="248"/>
                  </a:lnTo>
                  <a:lnTo>
                    <a:pt x="21" y="230"/>
                  </a:lnTo>
                  <a:lnTo>
                    <a:pt x="28" y="214"/>
                  </a:lnTo>
                  <a:lnTo>
                    <a:pt x="35" y="198"/>
                  </a:lnTo>
                  <a:lnTo>
                    <a:pt x="42" y="183"/>
                  </a:lnTo>
                  <a:lnTo>
                    <a:pt x="51" y="169"/>
                  </a:lnTo>
                  <a:lnTo>
                    <a:pt x="59" y="154"/>
                  </a:lnTo>
                  <a:lnTo>
                    <a:pt x="69" y="140"/>
                  </a:lnTo>
                  <a:lnTo>
                    <a:pt x="79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40" y="69"/>
                  </a:lnTo>
                  <a:lnTo>
                    <a:pt x="154" y="60"/>
                  </a:lnTo>
                  <a:lnTo>
                    <a:pt x="168" y="50"/>
                  </a:lnTo>
                  <a:lnTo>
                    <a:pt x="182" y="41"/>
                  </a:lnTo>
                  <a:lnTo>
                    <a:pt x="199" y="34"/>
                  </a:lnTo>
                  <a:lnTo>
                    <a:pt x="215" y="28"/>
                  </a:lnTo>
                  <a:lnTo>
                    <a:pt x="231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2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76" y="0"/>
                  </a:lnTo>
                  <a:lnTo>
                    <a:pt x="396" y="2"/>
                  </a:lnTo>
                  <a:lnTo>
                    <a:pt x="415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70" y="18"/>
                  </a:lnTo>
                  <a:lnTo>
                    <a:pt x="487" y="24"/>
                  </a:lnTo>
                  <a:lnTo>
                    <a:pt x="504" y="31"/>
                  </a:lnTo>
                  <a:lnTo>
                    <a:pt x="520" y="39"/>
                  </a:lnTo>
                  <a:lnTo>
                    <a:pt x="535" y="48"/>
                  </a:lnTo>
                  <a:lnTo>
                    <a:pt x="551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8" y="114"/>
                  </a:lnTo>
                  <a:lnTo>
                    <a:pt x="515" y="220"/>
                  </a:lnTo>
                  <a:lnTo>
                    <a:pt x="515" y="220"/>
                  </a:lnTo>
                  <a:lnTo>
                    <a:pt x="501" y="205"/>
                  </a:lnTo>
                  <a:lnTo>
                    <a:pt x="485" y="191"/>
                  </a:lnTo>
                  <a:lnTo>
                    <a:pt x="468" y="179"/>
                  </a:lnTo>
                  <a:lnTo>
                    <a:pt x="448" y="167"/>
                  </a:lnTo>
                  <a:lnTo>
                    <a:pt x="428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4" y="156"/>
                  </a:lnTo>
                  <a:lnTo>
                    <a:pt x="275" y="163"/>
                  </a:lnTo>
                  <a:lnTo>
                    <a:pt x="257" y="171"/>
                  </a:lnTo>
                  <a:lnTo>
                    <a:pt x="241" y="181"/>
                  </a:lnTo>
                  <a:lnTo>
                    <a:pt x="226" y="193"/>
                  </a:lnTo>
                  <a:lnTo>
                    <a:pt x="212" y="206"/>
                  </a:lnTo>
                  <a:lnTo>
                    <a:pt x="200" y="220"/>
                  </a:lnTo>
                  <a:lnTo>
                    <a:pt x="188" y="236"/>
                  </a:lnTo>
                  <a:lnTo>
                    <a:pt x="179" y="253"/>
                  </a:lnTo>
                  <a:lnTo>
                    <a:pt x="171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7" y="332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57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1" y="438"/>
                  </a:lnTo>
                  <a:lnTo>
                    <a:pt x="179" y="456"/>
                  </a:lnTo>
                  <a:lnTo>
                    <a:pt x="188" y="472"/>
                  </a:lnTo>
                  <a:lnTo>
                    <a:pt x="200" y="488"/>
                  </a:lnTo>
                  <a:lnTo>
                    <a:pt x="212" y="503"/>
                  </a:lnTo>
                  <a:lnTo>
                    <a:pt x="226" y="516"/>
                  </a:lnTo>
                  <a:lnTo>
                    <a:pt x="241" y="528"/>
                  </a:lnTo>
                  <a:lnTo>
                    <a:pt x="257" y="537"/>
                  </a:lnTo>
                  <a:lnTo>
                    <a:pt x="275" y="547"/>
                  </a:lnTo>
                  <a:lnTo>
                    <a:pt x="294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5" y="562"/>
                  </a:lnTo>
                  <a:lnTo>
                    <a:pt x="355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8" y="550"/>
                  </a:lnTo>
                  <a:lnTo>
                    <a:pt x="448" y="541"/>
                  </a:lnTo>
                  <a:lnTo>
                    <a:pt x="468" y="531"/>
                  </a:lnTo>
                  <a:lnTo>
                    <a:pt x="485" y="518"/>
                  </a:lnTo>
                  <a:lnTo>
                    <a:pt x="501" y="504"/>
                  </a:lnTo>
                  <a:lnTo>
                    <a:pt x="515" y="489"/>
                  </a:lnTo>
                  <a:lnTo>
                    <a:pt x="618" y="595"/>
                  </a:lnTo>
                  <a:lnTo>
                    <a:pt x="618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1" y="652"/>
                  </a:lnTo>
                  <a:lnTo>
                    <a:pt x="535" y="661"/>
                  </a:lnTo>
                  <a:lnTo>
                    <a:pt x="520" y="670"/>
                  </a:lnTo>
                  <a:lnTo>
                    <a:pt x="504" y="677"/>
                  </a:lnTo>
                  <a:lnTo>
                    <a:pt x="487" y="685"/>
                  </a:lnTo>
                  <a:lnTo>
                    <a:pt x="470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5" y="705"/>
                  </a:lnTo>
                  <a:lnTo>
                    <a:pt x="396" y="707"/>
                  </a:lnTo>
                  <a:lnTo>
                    <a:pt x="376" y="708"/>
                  </a:lnTo>
                  <a:lnTo>
                    <a:pt x="355" y="709"/>
                  </a:lnTo>
                  <a:lnTo>
                    <a:pt x="355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2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31" y="688"/>
                  </a:lnTo>
                  <a:lnTo>
                    <a:pt x="215" y="682"/>
                  </a:lnTo>
                  <a:lnTo>
                    <a:pt x="199" y="675"/>
                  </a:lnTo>
                  <a:lnTo>
                    <a:pt x="182" y="667"/>
                  </a:lnTo>
                  <a:lnTo>
                    <a:pt x="168" y="659"/>
                  </a:lnTo>
                  <a:lnTo>
                    <a:pt x="154" y="650"/>
                  </a:lnTo>
                  <a:lnTo>
                    <a:pt x="140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9" y="582"/>
                  </a:lnTo>
                  <a:lnTo>
                    <a:pt x="69" y="568"/>
                  </a:lnTo>
                  <a:lnTo>
                    <a:pt x="59" y="555"/>
                  </a:lnTo>
                  <a:lnTo>
                    <a:pt x="51" y="541"/>
                  </a:lnTo>
                  <a:lnTo>
                    <a:pt x="42" y="526"/>
                  </a:lnTo>
                  <a:lnTo>
                    <a:pt x="35" y="510"/>
                  </a:lnTo>
                  <a:lnTo>
                    <a:pt x="28" y="495"/>
                  </a:lnTo>
                  <a:lnTo>
                    <a:pt x="21" y="478"/>
                  </a:lnTo>
                  <a:lnTo>
                    <a:pt x="16" y="462"/>
                  </a:lnTo>
                  <a:lnTo>
                    <a:pt x="12" y="445"/>
                  </a:lnTo>
                  <a:lnTo>
                    <a:pt x="7" y="427"/>
                  </a:lnTo>
                  <a:lnTo>
                    <a:pt x="5" y="409"/>
                  </a:lnTo>
                  <a:lnTo>
                    <a:pt x="3" y="392"/>
                  </a:lnTo>
                  <a:lnTo>
                    <a:pt x="1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956" y="3536"/>
              <a:ext cx="176" cy="123"/>
            </a:xfrm>
            <a:custGeom>
              <a:avLst/>
              <a:gdLst>
                <a:gd name="T0" fmla="*/ 529 w 529"/>
                <a:gd name="T1" fmla="*/ 370 h 370"/>
                <a:gd name="T2" fmla="*/ 203 w 529"/>
                <a:gd name="T3" fmla="*/ 0 h 370"/>
                <a:gd name="T4" fmla="*/ 0 w 529"/>
                <a:gd name="T5" fmla="*/ 0 h 370"/>
                <a:gd name="T6" fmla="*/ 322 w 529"/>
                <a:gd name="T7" fmla="*/ 370 h 370"/>
                <a:gd name="T8" fmla="*/ 529 w 529"/>
                <a:gd name="T9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0">
                  <a:moveTo>
                    <a:pt x="529" y="370"/>
                  </a:moveTo>
                  <a:lnTo>
                    <a:pt x="203" y="0"/>
                  </a:lnTo>
                  <a:lnTo>
                    <a:pt x="0" y="0"/>
                  </a:lnTo>
                  <a:lnTo>
                    <a:pt x="322" y="370"/>
                  </a:lnTo>
                  <a:lnTo>
                    <a:pt x="529" y="37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893" y="3345"/>
              <a:ext cx="50" cy="314"/>
            </a:xfrm>
            <a:custGeom>
              <a:avLst/>
              <a:gdLst>
                <a:gd name="T0" fmla="*/ 0 w 152"/>
                <a:gd name="T1" fmla="*/ 0 h 943"/>
                <a:gd name="T2" fmla="*/ 0 w 152"/>
                <a:gd name="T3" fmla="*/ 943 h 943"/>
                <a:gd name="T4" fmla="*/ 152 w 152"/>
                <a:gd name="T5" fmla="*/ 943 h 943"/>
                <a:gd name="T6" fmla="*/ 152 w 152"/>
                <a:gd name="T7" fmla="*/ 599 h 943"/>
                <a:gd name="T8" fmla="*/ 152 w 152"/>
                <a:gd name="T9" fmla="*/ 600 h 943"/>
                <a:gd name="T10" fmla="*/ 152 w 152"/>
                <a:gd name="T11" fmla="*/ 565 h 943"/>
                <a:gd name="T12" fmla="*/ 152 w 152"/>
                <a:gd name="T13" fmla="*/ 565 h 943"/>
                <a:gd name="T14" fmla="*/ 152 w 152"/>
                <a:gd name="T15" fmla="*/ 0 h 943"/>
                <a:gd name="T16" fmla="*/ 0 w 152"/>
                <a:gd name="T1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943">
                  <a:moveTo>
                    <a:pt x="0" y="0"/>
                  </a:moveTo>
                  <a:lnTo>
                    <a:pt x="0" y="943"/>
                  </a:lnTo>
                  <a:lnTo>
                    <a:pt x="152" y="943"/>
                  </a:lnTo>
                  <a:lnTo>
                    <a:pt x="152" y="599"/>
                  </a:lnTo>
                  <a:lnTo>
                    <a:pt x="152" y="600"/>
                  </a:lnTo>
                  <a:lnTo>
                    <a:pt x="152" y="565"/>
                  </a:lnTo>
                  <a:lnTo>
                    <a:pt x="152" y="565"/>
                  </a:lnTo>
                  <a:lnTo>
                    <a:pt x="15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1202" y="3424"/>
              <a:ext cx="206" cy="236"/>
            </a:xfrm>
            <a:custGeom>
              <a:avLst/>
              <a:gdLst>
                <a:gd name="T0" fmla="*/ 0 w 617"/>
                <a:gd name="T1" fmla="*/ 336 h 709"/>
                <a:gd name="T2" fmla="*/ 7 w 617"/>
                <a:gd name="T3" fmla="*/ 282 h 709"/>
                <a:gd name="T4" fmla="*/ 21 w 617"/>
                <a:gd name="T5" fmla="*/ 230 h 709"/>
                <a:gd name="T6" fmla="*/ 42 w 617"/>
                <a:gd name="T7" fmla="*/ 183 h 709"/>
                <a:gd name="T8" fmla="*/ 68 w 617"/>
                <a:gd name="T9" fmla="*/ 140 h 709"/>
                <a:gd name="T10" fmla="*/ 101 w 617"/>
                <a:gd name="T11" fmla="*/ 102 h 709"/>
                <a:gd name="T12" fmla="*/ 139 w 617"/>
                <a:gd name="T13" fmla="*/ 69 h 709"/>
                <a:gd name="T14" fmla="*/ 183 w 617"/>
                <a:gd name="T15" fmla="*/ 41 h 709"/>
                <a:gd name="T16" fmla="*/ 229 w 617"/>
                <a:gd name="T17" fmla="*/ 21 h 709"/>
                <a:gd name="T18" fmla="*/ 281 w 617"/>
                <a:gd name="T19" fmla="*/ 7 h 709"/>
                <a:gd name="T20" fmla="*/ 336 w 617"/>
                <a:gd name="T21" fmla="*/ 0 h 709"/>
                <a:gd name="T22" fmla="*/ 375 w 617"/>
                <a:gd name="T23" fmla="*/ 0 h 709"/>
                <a:gd name="T24" fmla="*/ 433 w 617"/>
                <a:gd name="T25" fmla="*/ 8 h 709"/>
                <a:gd name="T26" fmla="*/ 486 w 617"/>
                <a:gd name="T27" fmla="*/ 24 h 709"/>
                <a:gd name="T28" fmla="*/ 535 w 617"/>
                <a:gd name="T29" fmla="*/ 48 h 709"/>
                <a:gd name="T30" fmla="*/ 579 w 617"/>
                <a:gd name="T31" fmla="*/ 78 h 709"/>
                <a:gd name="T32" fmla="*/ 617 w 617"/>
                <a:gd name="T33" fmla="*/ 114 h 709"/>
                <a:gd name="T34" fmla="*/ 500 w 617"/>
                <a:gd name="T35" fmla="*/ 205 h 709"/>
                <a:gd name="T36" fmla="*/ 448 w 617"/>
                <a:gd name="T37" fmla="*/ 167 h 709"/>
                <a:gd name="T38" fmla="*/ 405 w 617"/>
                <a:gd name="T39" fmla="*/ 152 h 709"/>
                <a:gd name="T40" fmla="*/ 368 w 617"/>
                <a:gd name="T41" fmla="*/ 147 h 709"/>
                <a:gd name="T42" fmla="*/ 334 w 617"/>
                <a:gd name="T43" fmla="*/ 148 h 709"/>
                <a:gd name="T44" fmla="*/ 274 w 617"/>
                <a:gd name="T45" fmla="*/ 163 h 709"/>
                <a:gd name="T46" fmla="*/ 225 w 617"/>
                <a:gd name="T47" fmla="*/ 193 h 709"/>
                <a:gd name="T48" fmla="*/ 187 w 617"/>
                <a:gd name="T49" fmla="*/ 236 h 709"/>
                <a:gd name="T50" fmla="*/ 164 w 617"/>
                <a:gd name="T51" fmla="*/ 291 h 709"/>
                <a:gd name="T52" fmla="*/ 155 w 617"/>
                <a:gd name="T53" fmla="*/ 354 h 709"/>
                <a:gd name="T54" fmla="*/ 160 w 617"/>
                <a:gd name="T55" fmla="*/ 398 h 709"/>
                <a:gd name="T56" fmla="*/ 178 w 617"/>
                <a:gd name="T57" fmla="*/ 456 h 709"/>
                <a:gd name="T58" fmla="*/ 211 w 617"/>
                <a:gd name="T59" fmla="*/ 503 h 709"/>
                <a:gd name="T60" fmla="*/ 257 w 617"/>
                <a:gd name="T61" fmla="*/ 537 h 709"/>
                <a:gd name="T62" fmla="*/ 313 w 617"/>
                <a:gd name="T63" fmla="*/ 558 h 709"/>
                <a:gd name="T64" fmla="*/ 354 w 617"/>
                <a:gd name="T65" fmla="*/ 562 h 709"/>
                <a:gd name="T66" fmla="*/ 393 w 617"/>
                <a:gd name="T67" fmla="*/ 559 h 709"/>
                <a:gd name="T68" fmla="*/ 427 w 617"/>
                <a:gd name="T69" fmla="*/ 550 h 709"/>
                <a:gd name="T70" fmla="*/ 484 w 617"/>
                <a:gd name="T71" fmla="*/ 518 h 709"/>
                <a:gd name="T72" fmla="*/ 617 w 617"/>
                <a:gd name="T73" fmla="*/ 595 h 709"/>
                <a:gd name="T74" fmla="*/ 593 w 617"/>
                <a:gd name="T75" fmla="*/ 620 h 709"/>
                <a:gd name="T76" fmla="*/ 550 w 617"/>
                <a:gd name="T77" fmla="*/ 652 h 709"/>
                <a:gd name="T78" fmla="*/ 503 w 617"/>
                <a:gd name="T79" fmla="*/ 677 h 709"/>
                <a:gd name="T80" fmla="*/ 452 w 617"/>
                <a:gd name="T81" fmla="*/ 697 h 709"/>
                <a:gd name="T82" fmla="*/ 394 w 617"/>
                <a:gd name="T83" fmla="*/ 707 h 709"/>
                <a:gd name="T84" fmla="*/ 354 w 617"/>
                <a:gd name="T85" fmla="*/ 709 h 709"/>
                <a:gd name="T86" fmla="*/ 299 w 617"/>
                <a:gd name="T87" fmla="*/ 705 h 709"/>
                <a:gd name="T88" fmla="*/ 247 w 617"/>
                <a:gd name="T89" fmla="*/ 693 h 709"/>
                <a:gd name="T90" fmla="*/ 197 w 617"/>
                <a:gd name="T91" fmla="*/ 675 h 709"/>
                <a:gd name="T92" fmla="*/ 153 w 617"/>
                <a:gd name="T93" fmla="*/ 650 h 709"/>
                <a:gd name="T94" fmla="*/ 114 w 617"/>
                <a:gd name="T95" fmla="*/ 619 h 709"/>
                <a:gd name="T96" fmla="*/ 78 w 617"/>
                <a:gd name="T97" fmla="*/ 582 h 709"/>
                <a:gd name="T98" fmla="*/ 50 w 617"/>
                <a:gd name="T99" fmla="*/ 541 h 709"/>
                <a:gd name="T100" fmla="*/ 27 w 617"/>
                <a:gd name="T101" fmla="*/ 495 h 709"/>
                <a:gd name="T102" fmla="*/ 11 w 617"/>
                <a:gd name="T103" fmla="*/ 445 h 709"/>
                <a:gd name="T104" fmla="*/ 2 w 617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7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2" y="317"/>
                  </a:lnTo>
                  <a:lnTo>
                    <a:pt x="4" y="299"/>
                  </a:lnTo>
                  <a:lnTo>
                    <a:pt x="7" y="282"/>
                  </a:lnTo>
                  <a:lnTo>
                    <a:pt x="11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7" y="214"/>
                  </a:lnTo>
                  <a:lnTo>
                    <a:pt x="34" y="198"/>
                  </a:lnTo>
                  <a:lnTo>
                    <a:pt x="42" y="183"/>
                  </a:lnTo>
                  <a:lnTo>
                    <a:pt x="50" y="169"/>
                  </a:lnTo>
                  <a:lnTo>
                    <a:pt x="59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39" y="69"/>
                  </a:lnTo>
                  <a:lnTo>
                    <a:pt x="153" y="60"/>
                  </a:lnTo>
                  <a:lnTo>
                    <a:pt x="168" y="50"/>
                  </a:lnTo>
                  <a:lnTo>
                    <a:pt x="183" y="41"/>
                  </a:lnTo>
                  <a:lnTo>
                    <a:pt x="197" y="34"/>
                  </a:lnTo>
                  <a:lnTo>
                    <a:pt x="213" y="28"/>
                  </a:lnTo>
                  <a:lnTo>
                    <a:pt x="229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1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75" y="0"/>
                  </a:lnTo>
                  <a:lnTo>
                    <a:pt x="394" y="2"/>
                  </a:lnTo>
                  <a:lnTo>
                    <a:pt x="414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69" y="18"/>
                  </a:lnTo>
                  <a:lnTo>
                    <a:pt x="486" y="24"/>
                  </a:lnTo>
                  <a:lnTo>
                    <a:pt x="503" y="31"/>
                  </a:lnTo>
                  <a:lnTo>
                    <a:pt x="519" y="39"/>
                  </a:lnTo>
                  <a:lnTo>
                    <a:pt x="535" y="48"/>
                  </a:lnTo>
                  <a:lnTo>
                    <a:pt x="550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7" y="114"/>
                  </a:lnTo>
                  <a:lnTo>
                    <a:pt x="514" y="220"/>
                  </a:lnTo>
                  <a:lnTo>
                    <a:pt x="514" y="220"/>
                  </a:lnTo>
                  <a:lnTo>
                    <a:pt x="500" y="205"/>
                  </a:lnTo>
                  <a:lnTo>
                    <a:pt x="484" y="191"/>
                  </a:lnTo>
                  <a:lnTo>
                    <a:pt x="467" y="179"/>
                  </a:lnTo>
                  <a:lnTo>
                    <a:pt x="448" y="167"/>
                  </a:lnTo>
                  <a:lnTo>
                    <a:pt x="427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4" y="147"/>
                  </a:lnTo>
                  <a:lnTo>
                    <a:pt x="354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3" y="156"/>
                  </a:lnTo>
                  <a:lnTo>
                    <a:pt x="274" y="163"/>
                  </a:lnTo>
                  <a:lnTo>
                    <a:pt x="257" y="171"/>
                  </a:lnTo>
                  <a:lnTo>
                    <a:pt x="240" y="181"/>
                  </a:lnTo>
                  <a:lnTo>
                    <a:pt x="225" y="193"/>
                  </a:lnTo>
                  <a:lnTo>
                    <a:pt x="211" y="206"/>
                  </a:lnTo>
                  <a:lnTo>
                    <a:pt x="199" y="220"/>
                  </a:lnTo>
                  <a:lnTo>
                    <a:pt x="187" y="236"/>
                  </a:lnTo>
                  <a:lnTo>
                    <a:pt x="178" y="253"/>
                  </a:lnTo>
                  <a:lnTo>
                    <a:pt x="170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6" y="332"/>
                  </a:lnTo>
                  <a:lnTo>
                    <a:pt x="155" y="354"/>
                  </a:lnTo>
                  <a:lnTo>
                    <a:pt x="155" y="354"/>
                  </a:lnTo>
                  <a:lnTo>
                    <a:pt x="156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0" y="438"/>
                  </a:lnTo>
                  <a:lnTo>
                    <a:pt x="178" y="456"/>
                  </a:lnTo>
                  <a:lnTo>
                    <a:pt x="187" y="472"/>
                  </a:lnTo>
                  <a:lnTo>
                    <a:pt x="199" y="488"/>
                  </a:lnTo>
                  <a:lnTo>
                    <a:pt x="211" y="503"/>
                  </a:lnTo>
                  <a:lnTo>
                    <a:pt x="225" y="516"/>
                  </a:lnTo>
                  <a:lnTo>
                    <a:pt x="240" y="528"/>
                  </a:lnTo>
                  <a:lnTo>
                    <a:pt x="257" y="537"/>
                  </a:lnTo>
                  <a:lnTo>
                    <a:pt x="274" y="547"/>
                  </a:lnTo>
                  <a:lnTo>
                    <a:pt x="293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4" y="562"/>
                  </a:lnTo>
                  <a:lnTo>
                    <a:pt x="354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7" y="550"/>
                  </a:lnTo>
                  <a:lnTo>
                    <a:pt x="448" y="541"/>
                  </a:lnTo>
                  <a:lnTo>
                    <a:pt x="467" y="531"/>
                  </a:lnTo>
                  <a:lnTo>
                    <a:pt x="484" y="518"/>
                  </a:lnTo>
                  <a:lnTo>
                    <a:pt x="500" y="504"/>
                  </a:lnTo>
                  <a:lnTo>
                    <a:pt x="514" y="489"/>
                  </a:lnTo>
                  <a:lnTo>
                    <a:pt x="617" y="595"/>
                  </a:lnTo>
                  <a:lnTo>
                    <a:pt x="617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0" y="652"/>
                  </a:lnTo>
                  <a:lnTo>
                    <a:pt x="535" y="661"/>
                  </a:lnTo>
                  <a:lnTo>
                    <a:pt x="519" y="670"/>
                  </a:lnTo>
                  <a:lnTo>
                    <a:pt x="503" y="677"/>
                  </a:lnTo>
                  <a:lnTo>
                    <a:pt x="486" y="685"/>
                  </a:lnTo>
                  <a:lnTo>
                    <a:pt x="469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4" y="705"/>
                  </a:lnTo>
                  <a:lnTo>
                    <a:pt x="394" y="707"/>
                  </a:lnTo>
                  <a:lnTo>
                    <a:pt x="375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3" y="667"/>
                  </a:lnTo>
                  <a:lnTo>
                    <a:pt x="168" y="659"/>
                  </a:lnTo>
                  <a:lnTo>
                    <a:pt x="153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9" y="555"/>
                  </a:lnTo>
                  <a:lnTo>
                    <a:pt x="50" y="541"/>
                  </a:lnTo>
                  <a:lnTo>
                    <a:pt x="42" y="526"/>
                  </a:lnTo>
                  <a:lnTo>
                    <a:pt x="34" y="510"/>
                  </a:lnTo>
                  <a:lnTo>
                    <a:pt x="27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1" y="445"/>
                  </a:lnTo>
                  <a:lnTo>
                    <a:pt x="7" y="427"/>
                  </a:lnTo>
                  <a:lnTo>
                    <a:pt x="4" y="409"/>
                  </a:lnTo>
                  <a:lnTo>
                    <a:pt x="2" y="392"/>
                  </a:lnTo>
                  <a:lnTo>
                    <a:pt x="0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202" y="3424"/>
              <a:ext cx="206" cy="236"/>
            </a:xfrm>
            <a:custGeom>
              <a:avLst/>
              <a:gdLst>
                <a:gd name="T0" fmla="*/ 0 w 617"/>
                <a:gd name="T1" fmla="*/ 336 h 709"/>
                <a:gd name="T2" fmla="*/ 7 w 617"/>
                <a:gd name="T3" fmla="*/ 282 h 709"/>
                <a:gd name="T4" fmla="*/ 21 w 617"/>
                <a:gd name="T5" fmla="*/ 230 h 709"/>
                <a:gd name="T6" fmla="*/ 42 w 617"/>
                <a:gd name="T7" fmla="*/ 183 h 709"/>
                <a:gd name="T8" fmla="*/ 68 w 617"/>
                <a:gd name="T9" fmla="*/ 140 h 709"/>
                <a:gd name="T10" fmla="*/ 101 w 617"/>
                <a:gd name="T11" fmla="*/ 102 h 709"/>
                <a:gd name="T12" fmla="*/ 139 w 617"/>
                <a:gd name="T13" fmla="*/ 69 h 709"/>
                <a:gd name="T14" fmla="*/ 183 w 617"/>
                <a:gd name="T15" fmla="*/ 41 h 709"/>
                <a:gd name="T16" fmla="*/ 229 w 617"/>
                <a:gd name="T17" fmla="*/ 21 h 709"/>
                <a:gd name="T18" fmla="*/ 281 w 617"/>
                <a:gd name="T19" fmla="*/ 7 h 709"/>
                <a:gd name="T20" fmla="*/ 336 w 617"/>
                <a:gd name="T21" fmla="*/ 0 h 709"/>
                <a:gd name="T22" fmla="*/ 375 w 617"/>
                <a:gd name="T23" fmla="*/ 0 h 709"/>
                <a:gd name="T24" fmla="*/ 433 w 617"/>
                <a:gd name="T25" fmla="*/ 8 h 709"/>
                <a:gd name="T26" fmla="*/ 486 w 617"/>
                <a:gd name="T27" fmla="*/ 24 h 709"/>
                <a:gd name="T28" fmla="*/ 535 w 617"/>
                <a:gd name="T29" fmla="*/ 48 h 709"/>
                <a:gd name="T30" fmla="*/ 579 w 617"/>
                <a:gd name="T31" fmla="*/ 78 h 709"/>
                <a:gd name="T32" fmla="*/ 617 w 617"/>
                <a:gd name="T33" fmla="*/ 114 h 709"/>
                <a:gd name="T34" fmla="*/ 500 w 617"/>
                <a:gd name="T35" fmla="*/ 205 h 709"/>
                <a:gd name="T36" fmla="*/ 448 w 617"/>
                <a:gd name="T37" fmla="*/ 167 h 709"/>
                <a:gd name="T38" fmla="*/ 405 w 617"/>
                <a:gd name="T39" fmla="*/ 152 h 709"/>
                <a:gd name="T40" fmla="*/ 368 w 617"/>
                <a:gd name="T41" fmla="*/ 147 h 709"/>
                <a:gd name="T42" fmla="*/ 334 w 617"/>
                <a:gd name="T43" fmla="*/ 148 h 709"/>
                <a:gd name="T44" fmla="*/ 274 w 617"/>
                <a:gd name="T45" fmla="*/ 163 h 709"/>
                <a:gd name="T46" fmla="*/ 225 w 617"/>
                <a:gd name="T47" fmla="*/ 193 h 709"/>
                <a:gd name="T48" fmla="*/ 187 w 617"/>
                <a:gd name="T49" fmla="*/ 236 h 709"/>
                <a:gd name="T50" fmla="*/ 164 w 617"/>
                <a:gd name="T51" fmla="*/ 291 h 709"/>
                <a:gd name="T52" fmla="*/ 155 w 617"/>
                <a:gd name="T53" fmla="*/ 354 h 709"/>
                <a:gd name="T54" fmla="*/ 160 w 617"/>
                <a:gd name="T55" fmla="*/ 398 h 709"/>
                <a:gd name="T56" fmla="*/ 178 w 617"/>
                <a:gd name="T57" fmla="*/ 456 h 709"/>
                <a:gd name="T58" fmla="*/ 211 w 617"/>
                <a:gd name="T59" fmla="*/ 503 h 709"/>
                <a:gd name="T60" fmla="*/ 257 w 617"/>
                <a:gd name="T61" fmla="*/ 537 h 709"/>
                <a:gd name="T62" fmla="*/ 313 w 617"/>
                <a:gd name="T63" fmla="*/ 558 h 709"/>
                <a:gd name="T64" fmla="*/ 354 w 617"/>
                <a:gd name="T65" fmla="*/ 562 h 709"/>
                <a:gd name="T66" fmla="*/ 393 w 617"/>
                <a:gd name="T67" fmla="*/ 559 h 709"/>
                <a:gd name="T68" fmla="*/ 427 w 617"/>
                <a:gd name="T69" fmla="*/ 550 h 709"/>
                <a:gd name="T70" fmla="*/ 484 w 617"/>
                <a:gd name="T71" fmla="*/ 518 h 709"/>
                <a:gd name="T72" fmla="*/ 617 w 617"/>
                <a:gd name="T73" fmla="*/ 595 h 709"/>
                <a:gd name="T74" fmla="*/ 593 w 617"/>
                <a:gd name="T75" fmla="*/ 620 h 709"/>
                <a:gd name="T76" fmla="*/ 550 w 617"/>
                <a:gd name="T77" fmla="*/ 652 h 709"/>
                <a:gd name="T78" fmla="*/ 503 w 617"/>
                <a:gd name="T79" fmla="*/ 677 h 709"/>
                <a:gd name="T80" fmla="*/ 452 w 617"/>
                <a:gd name="T81" fmla="*/ 697 h 709"/>
                <a:gd name="T82" fmla="*/ 394 w 617"/>
                <a:gd name="T83" fmla="*/ 707 h 709"/>
                <a:gd name="T84" fmla="*/ 354 w 617"/>
                <a:gd name="T85" fmla="*/ 709 h 709"/>
                <a:gd name="T86" fmla="*/ 299 w 617"/>
                <a:gd name="T87" fmla="*/ 705 h 709"/>
                <a:gd name="T88" fmla="*/ 247 w 617"/>
                <a:gd name="T89" fmla="*/ 693 h 709"/>
                <a:gd name="T90" fmla="*/ 197 w 617"/>
                <a:gd name="T91" fmla="*/ 675 h 709"/>
                <a:gd name="T92" fmla="*/ 153 w 617"/>
                <a:gd name="T93" fmla="*/ 650 h 709"/>
                <a:gd name="T94" fmla="*/ 114 w 617"/>
                <a:gd name="T95" fmla="*/ 619 h 709"/>
                <a:gd name="T96" fmla="*/ 78 w 617"/>
                <a:gd name="T97" fmla="*/ 582 h 709"/>
                <a:gd name="T98" fmla="*/ 50 w 617"/>
                <a:gd name="T99" fmla="*/ 541 h 709"/>
                <a:gd name="T100" fmla="*/ 27 w 617"/>
                <a:gd name="T101" fmla="*/ 495 h 709"/>
                <a:gd name="T102" fmla="*/ 11 w 617"/>
                <a:gd name="T103" fmla="*/ 445 h 709"/>
                <a:gd name="T104" fmla="*/ 2 w 617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7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2" y="317"/>
                  </a:lnTo>
                  <a:lnTo>
                    <a:pt x="4" y="299"/>
                  </a:lnTo>
                  <a:lnTo>
                    <a:pt x="7" y="282"/>
                  </a:lnTo>
                  <a:lnTo>
                    <a:pt x="11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7" y="214"/>
                  </a:lnTo>
                  <a:lnTo>
                    <a:pt x="34" y="198"/>
                  </a:lnTo>
                  <a:lnTo>
                    <a:pt x="42" y="183"/>
                  </a:lnTo>
                  <a:lnTo>
                    <a:pt x="50" y="169"/>
                  </a:lnTo>
                  <a:lnTo>
                    <a:pt x="59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39" y="69"/>
                  </a:lnTo>
                  <a:lnTo>
                    <a:pt x="153" y="60"/>
                  </a:lnTo>
                  <a:lnTo>
                    <a:pt x="168" y="50"/>
                  </a:lnTo>
                  <a:lnTo>
                    <a:pt x="183" y="41"/>
                  </a:lnTo>
                  <a:lnTo>
                    <a:pt x="197" y="34"/>
                  </a:lnTo>
                  <a:lnTo>
                    <a:pt x="213" y="28"/>
                  </a:lnTo>
                  <a:lnTo>
                    <a:pt x="229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1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75" y="0"/>
                  </a:lnTo>
                  <a:lnTo>
                    <a:pt x="394" y="2"/>
                  </a:lnTo>
                  <a:lnTo>
                    <a:pt x="414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69" y="18"/>
                  </a:lnTo>
                  <a:lnTo>
                    <a:pt x="486" y="24"/>
                  </a:lnTo>
                  <a:lnTo>
                    <a:pt x="503" y="31"/>
                  </a:lnTo>
                  <a:lnTo>
                    <a:pt x="519" y="39"/>
                  </a:lnTo>
                  <a:lnTo>
                    <a:pt x="535" y="48"/>
                  </a:lnTo>
                  <a:lnTo>
                    <a:pt x="550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7" y="114"/>
                  </a:lnTo>
                  <a:lnTo>
                    <a:pt x="514" y="220"/>
                  </a:lnTo>
                  <a:lnTo>
                    <a:pt x="514" y="220"/>
                  </a:lnTo>
                  <a:lnTo>
                    <a:pt x="500" y="205"/>
                  </a:lnTo>
                  <a:lnTo>
                    <a:pt x="484" y="191"/>
                  </a:lnTo>
                  <a:lnTo>
                    <a:pt x="467" y="179"/>
                  </a:lnTo>
                  <a:lnTo>
                    <a:pt x="448" y="167"/>
                  </a:lnTo>
                  <a:lnTo>
                    <a:pt x="427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4" y="147"/>
                  </a:lnTo>
                  <a:lnTo>
                    <a:pt x="354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3" y="156"/>
                  </a:lnTo>
                  <a:lnTo>
                    <a:pt x="274" y="163"/>
                  </a:lnTo>
                  <a:lnTo>
                    <a:pt x="257" y="171"/>
                  </a:lnTo>
                  <a:lnTo>
                    <a:pt x="240" y="181"/>
                  </a:lnTo>
                  <a:lnTo>
                    <a:pt x="225" y="193"/>
                  </a:lnTo>
                  <a:lnTo>
                    <a:pt x="211" y="206"/>
                  </a:lnTo>
                  <a:lnTo>
                    <a:pt x="199" y="220"/>
                  </a:lnTo>
                  <a:lnTo>
                    <a:pt x="187" y="236"/>
                  </a:lnTo>
                  <a:lnTo>
                    <a:pt x="178" y="253"/>
                  </a:lnTo>
                  <a:lnTo>
                    <a:pt x="170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6" y="332"/>
                  </a:lnTo>
                  <a:lnTo>
                    <a:pt x="155" y="354"/>
                  </a:lnTo>
                  <a:lnTo>
                    <a:pt x="155" y="354"/>
                  </a:lnTo>
                  <a:lnTo>
                    <a:pt x="156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0" y="438"/>
                  </a:lnTo>
                  <a:lnTo>
                    <a:pt x="178" y="456"/>
                  </a:lnTo>
                  <a:lnTo>
                    <a:pt x="187" y="472"/>
                  </a:lnTo>
                  <a:lnTo>
                    <a:pt x="199" y="488"/>
                  </a:lnTo>
                  <a:lnTo>
                    <a:pt x="211" y="503"/>
                  </a:lnTo>
                  <a:lnTo>
                    <a:pt x="225" y="516"/>
                  </a:lnTo>
                  <a:lnTo>
                    <a:pt x="240" y="528"/>
                  </a:lnTo>
                  <a:lnTo>
                    <a:pt x="257" y="537"/>
                  </a:lnTo>
                  <a:lnTo>
                    <a:pt x="274" y="547"/>
                  </a:lnTo>
                  <a:lnTo>
                    <a:pt x="293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4" y="562"/>
                  </a:lnTo>
                  <a:lnTo>
                    <a:pt x="354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7" y="550"/>
                  </a:lnTo>
                  <a:lnTo>
                    <a:pt x="448" y="541"/>
                  </a:lnTo>
                  <a:lnTo>
                    <a:pt x="467" y="531"/>
                  </a:lnTo>
                  <a:lnTo>
                    <a:pt x="484" y="518"/>
                  </a:lnTo>
                  <a:lnTo>
                    <a:pt x="500" y="504"/>
                  </a:lnTo>
                  <a:lnTo>
                    <a:pt x="514" y="489"/>
                  </a:lnTo>
                  <a:lnTo>
                    <a:pt x="617" y="595"/>
                  </a:lnTo>
                  <a:lnTo>
                    <a:pt x="617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0" y="652"/>
                  </a:lnTo>
                  <a:lnTo>
                    <a:pt x="535" y="661"/>
                  </a:lnTo>
                  <a:lnTo>
                    <a:pt x="519" y="670"/>
                  </a:lnTo>
                  <a:lnTo>
                    <a:pt x="503" y="677"/>
                  </a:lnTo>
                  <a:lnTo>
                    <a:pt x="486" y="685"/>
                  </a:lnTo>
                  <a:lnTo>
                    <a:pt x="469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4" y="705"/>
                  </a:lnTo>
                  <a:lnTo>
                    <a:pt x="394" y="707"/>
                  </a:lnTo>
                  <a:lnTo>
                    <a:pt x="375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3" y="667"/>
                  </a:lnTo>
                  <a:lnTo>
                    <a:pt x="168" y="659"/>
                  </a:lnTo>
                  <a:lnTo>
                    <a:pt x="153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9" y="555"/>
                  </a:lnTo>
                  <a:lnTo>
                    <a:pt x="50" y="541"/>
                  </a:lnTo>
                  <a:lnTo>
                    <a:pt x="42" y="526"/>
                  </a:lnTo>
                  <a:lnTo>
                    <a:pt x="34" y="510"/>
                  </a:lnTo>
                  <a:lnTo>
                    <a:pt x="27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1" y="445"/>
                  </a:lnTo>
                  <a:lnTo>
                    <a:pt x="7" y="427"/>
                  </a:lnTo>
                  <a:lnTo>
                    <a:pt x="4" y="409"/>
                  </a:lnTo>
                  <a:lnTo>
                    <a:pt x="2" y="392"/>
                  </a:lnTo>
                  <a:lnTo>
                    <a:pt x="0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 noEditPoints="1"/>
            </p:cNvSpPr>
            <p:nvPr userDrawn="1"/>
          </p:nvSpPr>
          <p:spPr bwMode="auto">
            <a:xfrm>
              <a:off x="1411" y="3424"/>
              <a:ext cx="227" cy="236"/>
            </a:xfrm>
            <a:custGeom>
              <a:avLst/>
              <a:gdLst>
                <a:gd name="T0" fmla="*/ 513 w 681"/>
                <a:gd name="T1" fmla="*/ 279 h 709"/>
                <a:gd name="T2" fmla="*/ 500 w 681"/>
                <a:gd name="T3" fmla="*/ 232 h 709"/>
                <a:gd name="T4" fmla="*/ 475 w 681"/>
                <a:gd name="T5" fmla="*/ 194 h 709"/>
                <a:gd name="T6" fmla="*/ 443 w 681"/>
                <a:gd name="T7" fmla="*/ 165 h 709"/>
                <a:gd name="T8" fmla="*/ 403 w 681"/>
                <a:gd name="T9" fmla="*/ 148 h 709"/>
                <a:gd name="T10" fmla="*/ 357 w 681"/>
                <a:gd name="T11" fmla="*/ 139 h 709"/>
                <a:gd name="T12" fmla="*/ 325 w 681"/>
                <a:gd name="T13" fmla="*/ 140 h 709"/>
                <a:gd name="T14" fmla="*/ 282 w 681"/>
                <a:gd name="T15" fmla="*/ 148 h 709"/>
                <a:gd name="T16" fmla="*/ 242 w 681"/>
                <a:gd name="T17" fmla="*/ 167 h 709"/>
                <a:gd name="T18" fmla="*/ 207 w 681"/>
                <a:gd name="T19" fmla="*/ 196 h 709"/>
                <a:gd name="T20" fmla="*/ 180 w 681"/>
                <a:gd name="T21" fmla="*/ 234 h 709"/>
                <a:gd name="T22" fmla="*/ 160 w 681"/>
                <a:gd name="T23" fmla="*/ 279 h 709"/>
                <a:gd name="T24" fmla="*/ 0 w 681"/>
                <a:gd name="T25" fmla="*/ 336 h 709"/>
                <a:gd name="T26" fmla="*/ 7 w 681"/>
                <a:gd name="T27" fmla="*/ 282 h 709"/>
                <a:gd name="T28" fmla="*/ 21 w 681"/>
                <a:gd name="T29" fmla="*/ 230 h 709"/>
                <a:gd name="T30" fmla="*/ 41 w 681"/>
                <a:gd name="T31" fmla="*/ 183 h 709"/>
                <a:gd name="T32" fmla="*/ 68 w 681"/>
                <a:gd name="T33" fmla="*/ 140 h 709"/>
                <a:gd name="T34" fmla="*/ 101 w 681"/>
                <a:gd name="T35" fmla="*/ 102 h 709"/>
                <a:gd name="T36" fmla="*/ 139 w 681"/>
                <a:gd name="T37" fmla="*/ 69 h 709"/>
                <a:gd name="T38" fmla="*/ 181 w 681"/>
                <a:gd name="T39" fmla="*/ 41 h 709"/>
                <a:gd name="T40" fmla="*/ 228 w 681"/>
                <a:gd name="T41" fmla="*/ 21 h 709"/>
                <a:gd name="T42" fmla="*/ 278 w 681"/>
                <a:gd name="T43" fmla="*/ 7 h 709"/>
                <a:gd name="T44" fmla="*/ 333 w 681"/>
                <a:gd name="T45" fmla="*/ 0 h 709"/>
                <a:gd name="T46" fmla="*/ 369 w 681"/>
                <a:gd name="T47" fmla="*/ 0 h 709"/>
                <a:gd name="T48" fmla="*/ 420 w 681"/>
                <a:gd name="T49" fmla="*/ 6 h 709"/>
                <a:gd name="T50" fmla="*/ 467 w 681"/>
                <a:gd name="T51" fmla="*/ 18 h 709"/>
                <a:gd name="T52" fmla="*/ 511 w 681"/>
                <a:gd name="T53" fmla="*/ 38 h 709"/>
                <a:gd name="T54" fmla="*/ 550 w 681"/>
                <a:gd name="T55" fmla="*/ 63 h 709"/>
                <a:gd name="T56" fmla="*/ 584 w 681"/>
                <a:gd name="T57" fmla="*/ 95 h 709"/>
                <a:gd name="T58" fmla="*/ 614 w 681"/>
                <a:gd name="T59" fmla="*/ 132 h 709"/>
                <a:gd name="T60" fmla="*/ 638 w 681"/>
                <a:gd name="T61" fmla="*/ 174 h 709"/>
                <a:gd name="T62" fmla="*/ 658 w 681"/>
                <a:gd name="T63" fmla="*/ 222 h 709"/>
                <a:gd name="T64" fmla="*/ 671 w 681"/>
                <a:gd name="T65" fmla="*/ 276 h 709"/>
                <a:gd name="T66" fmla="*/ 679 w 681"/>
                <a:gd name="T67" fmla="*/ 335 h 709"/>
                <a:gd name="T68" fmla="*/ 157 w 681"/>
                <a:gd name="T69" fmla="*/ 395 h 709"/>
                <a:gd name="T70" fmla="*/ 165 w 681"/>
                <a:gd name="T71" fmla="*/ 431 h 709"/>
                <a:gd name="T72" fmla="*/ 188 w 681"/>
                <a:gd name="T73" fmla="*/ 477 h 709"/>
                <a:gd name="T74" fmla="*/ 222 w 681"/>
                <a:gd name="T75" fmla="*/ 515 h 709"/>
                <a:gd name="T76" fmla="*/ 266 w 681"/>
                <a:gd name="T77" fmla="*/ 541 h 709"/>
                <a:gd name="T78" fmla="*/ 317 w 681"/>
                <a:gd name="T79" fmla="*/ 556 h 709"/>
                <a:gd name="T80" fmla="*/ 354 w 681"/>
                <a:gd name="T81" fmla="*/ 559 h 709"/>
                <a:gd name="T82" fmla="*/ 399 w 681"/>
                <a:gd name="T83" fmla="*/ 556 h 709"/>
                <a:gd name="T84" fmla="*/ 438 w 681"/>
                <a:gd name="T85" fmla="*/ 546 h 709"/>
                <a:gd name="T86" fmla="*/ 482 w 681"/>
                <a:gd name="T87" fmla="*/ 524 h 709"/>
                <a:gd name="T88" fmla="*/ 533 w 681"/>
                <a:gd name="T89" fmla="*/ 481 h 709"/>
                <a:gd name="T90" fmla="*/ 623 w 681"/>
                <a:gd name="T91" fmla="*/ 602 h 709"/>
                <a:gd name="T92" fmla="*/ 583 w 681"/>
                <a:gd name="T93" fmla="*/ 637 h 709"/>
                <a:gd name="T94" fmla="*/ 535 w 681"/>
                <a:gd name="T95" fmla="*/ 667 h 709"/>
                <a:gd name="T96" fmla="*/ 481 w 681"/>
                <a:gd name="T97" fmla="*/ 690 h 709"/>
                <a:gd name="T98" fmla="*/ 420 w 681"/>
                <a:gd name="T99" fmla="*/ 704 h 709"/>
                <a:gd name="T100" fmla="*/ 354 w 681"/>
                <a:gd name="T101" fmla="*/ 709 h 709"/>
                <a:gd name="T102" fmla="*/ 317 w 681"/>
                <a:gd name="T103" fmla="*/ 707 h 709"/>
                <a:gd name="T104" fmla="*/ 264 w 681"/>
                <a:gd name="T105" fmla="*/ 698 h 709"/>
                <a:gd name="T106" fmla="*/ 213 w 681"/>
                <a:gd name="T107" fmla="*/ 682 h 709"/>
                <a:gd name="T108" fmla="*/ 167 w 681"/>
                <a:gd name="T109" fmla="*/ 659 h 709"/>
                <a:gd name="T110" fmla="*/ 126 w 681"/>
                <a:gd name="T111" fmla="*/ 629 h 709"/>
                <a:gd name="T112" fmla="*/ 89 w 681"/>
                <a:gd name="T113" fmla="*/ 595 h 709"/>
                <a:gd name="T114" fmla="*/ 58 w 681"/>
                <a:gd name="T115" fmla="*/ 555 h 709"/>
                <a:gd name="T116" fmla="*/ 33 w 681"/>
                <a:gd name="T117" fmla="*/ 510 h 709"/>
                <a:gd name="T118" fmla="*/ 15 w 681"/>
                <a:gd name="T119" fmla="*/ 462 h 709"/>
                <a:gd name="T120" fmla="*/ 3 w 681"/>
                <a:gd name="T121" fmla="*/ 409 h 709"/>
                <a:gd name="T122" fmla="*/ 0 w 681"/>
                <a:gd name="T123" fmla="*/ 35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81" h="709">
                  <a:moveTo>
                    <a:pt x="160" y="279"/>
                  </a:moveTo>
                  <a:lnTo>
                    <a:pt x="513" y="279"/>
                  </a:lnTo>
                  <a:lnTo>
                    <a:pt x="513" y="279"/>
                  </a:lnTo>
                  <a:lnTo>
                    <a:pt x="510" y="262"/>
                  </a:lnTo>
                  <a:lnTo>
                    <a:pt x="505" y="246"/>
                  </a:lnTo>
                  <a:lnTo>
                    <a:pt x="500" y="232"/>
                  </a:lnTo>
                  <a:lnTo>
                    <a:pt x="491" y="218"/>
                  </a:lnTo>
                  <a:lnTo>
                    <a:pt x="483" y="205"/>
                  </a:lnTo>
                  <a:lnTo>
                    <a:pt x="475" y="194"/>
                  </a:lnTo>
                  <a:lnTo>
                    <a:pt x="465" y="183"/>
                  </a:lnTo>
                  <a:lnTo>
                    <a:pt x="455" y="174"/>
                  </a:lnTo>
                  <a:lnTo>
                    <a:pt x="443" y="165"/>
                  </a:lnTo>
                  <a:lnTo>
                    <a:pt x="431" y="158"/>
                  </a:lnTo>
                  <a:lnTo>
                    <a:pt x="417" y="152"/>
                  </a:lnTo>
                  <a:lnTo>
                    <a:pt x="403" y="148"/>
                  </a:lnTo>
                  <a:lnTo>
                    <a:pt x="388" y="143"/>
                  </a:lnTo>
                  <a:lnTo>
                    <a:pt x="373" y="141"/>
                  </a:lnTo>
                  <a:lnTo>
                    <a:pt x="357" y="139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25" y="140"/>
                  </a:lnTo>
                  <a:lnTo>
                    <a:pt x="310" y="141"/>
                  </a:lnTo>
                  <a:lnTo>
                    <a:pt x="296" y="144"/>
                  </a:lnTo>
                  <a:lnTo>
                    <a:pt x="282" y="148"/>
                  </a:lnTo>
                  <a:lnTo>
                    <a:pt x="268" y="154"/>
                  </a:lnTo>
                  <a:lnTo>
                    <a:pt x="254" y="160"/>
                  </a:lnTo>
                  <a:lnTo>
                    <a:pt x="242" y="167"/>
                  </a:lnTo>
                  <a:lnTo>
                    <a:pt x="229" y="177"/>
                  </a:lnTo>
                  <a:lnTo>
                    <a:pt x="218" y="186"/>
                  </a:lnTo>
                  <a:lnTo>
                    <a:pt x="207" y="196"/>
                  </a:lnTo>
                  <a:lnTo>
                    <a:pt x="197" y="207"/>
                  </a:lnTo>
                  <a:lnTo>
                    <a:pt x="188" y="220"/>
                  </a:lnTo>
                  <a:lnTo>
                    <a:pt x="180" y="234"/>
                  </a:lnTo>
                  <a:lnTo>
                    <a:pt x="172" y="248"/>
                  </a:lnTo>
                  <a:lnTo>
                    <a:pt x="166" y="264"/>
                  </a:lnTo>
                  <a:lnTo>
                    <a:pt x="160" y="279"/>
                  </a:lnTo>
                  <a:close/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1" y="317"/>
                  </a:lnTo>
                  <a:lnTo>
                    <a:pt x="3" y="299"/>
                  </a:lnTo>
                  <a:lnTo>
                    <a:pt x="7" y="282"/>
                  </a:lnTo>
                  <a:lnTo>
                    <a:pt x="10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6" y="214"/>
                  </a:lnTo>
                  <a:lnTo>
                    <a:pt x="33" y="198"/>
                  </a:lnTo>
                  <a:lnTo>
                    <a:pt x="41" y="183"/>
                  </a:lnTo>
                  <a:lnTo>
                    <a:pt x="49" y="169"/>
                  </a:lnTo>
                  <a:lnTo>
                    <a:pt x="58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89" y="115"/>
                  </a:lnTo>
                  <a:lnTo>
                    <a:pt x="101" y="102"/>
                  </a:lnTo>
                  <a:lnTo>
                    <a:pt x="112" y="91"/>
                  </a:lnTo>
                  <a:lnTo>
                    <a:pt x="125" y="79"/>
                  </a:lnTo>
                  <a:lnTo>
                    <a:pt x="139" y="69"/>
                  </a:lnTo>
                  <a:lnTo>
                    <a:pt x="152" y="60"/>
                  </a:lnTo>
                  <a:lnTo>
                    <a:pt x="166" y="50"/>
                  </a:lnTo>
                  <a:lnTo>
                    <a:pt x="181" y="41"/>
                  </a:lnTo>
                  <a:lnTo>
                    <a:pt x="196" y="34"/>
                  </a:lnTo>
                  <a:lnTo>
                    <a:pt x="212" y="28"/>
                  </a:lnTo>
                  <a:lnTo>
                    <a:pt x="228" y="21"/>
                  </a:lnTo>
                  <a:lnTo>
                    <a:pt x="245" y="15"/>
                  </a:lnTo>
                  <a:lnTo>
                    <a:pt x="261" y="10"/>
                  </a:lnTo>
                  <a:lnTo>
                    <a:pt x="278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69" y="0"/>
                  </a:lnTo>
                  <a:lnTo>
                    <a:pt x="387" y="1"/>
                  </a:lnTo>
                  <a:lnTo>
                    <a:pt x="403" y="3"/>
                  </a:lnTo>
                  <a:lnTo>
                    <a:pt x="420" y="6"/>
                  </a:lnTo>
                  <a:lnTo>
                    <a:pt x="437" y="9"/>
                  </a:lnTo>
                  <a:lnTo>
                    <a:pt x="453" y="14"/>
                  </a:lnTo>
                  <a:lnTo>
                    <a:pt x="467" y="18"/>
                  </a:lnTo>
                  <a:lnTo>
                    <a:pt x="482" y="24"/>
                  </a:lnTo>
                  <a:lnTo>
                    <a:pt x="496" y="31"/>
                  </a:lnTo>
                  <a:lnTo>
                    <a:pt x="511" y="38"/>
                  </a:lnTo>
                  <a:lnTo>
                    <a:pt x="524" y="46"/>
                  </a:lnTo>
                  <a:lnTo>
                    <a:pt x="537" y="54"/>
                  </a:lnTo>
                  <a:lnTo>
                    <a:pt x="550" y="63"/>
                  </a:lnTo>
                  <a:lnTo>
                    <a:pt x="561" y="73"/>
                  </a:lnTo>
                  <a:lnTo>
                    <a:pt x="573" y="84"/>
                  </a:lnTo>
                  <a:lnTo>
                    <a:pt x="584" y="95"/>
                  </a:lnTo>
                  <a:lnTo>
                    <a:pt x="595" y="107"/>
                  </a:lnTo>
                  <a:lnTo>
                    <a:pt x="604" y="119"/>
                  </a:lnTo>
                  <a:lnTo>
                    <a:pt x="614" y="132"/>
                  </a:lnTo>
                  <a:lnTo>
                    <a:pt x="622" y="146"/>
                  </a:lnTo>
                  <a:lnTo>
                    <a:pt x="630" y="160"/>
                  </a:lnTo>
                  <a:lnTo>
                    <a:pt x="638" y="174"/>
                  </a:lnTo>
                  <a:lnTo>
                    <a:pt x="645" y="190"/>
                  </a:lnTo>
                  <a:lnTo>
                    <a:pt x="652" y="206"/>
                  </a:lnTo>
                  <a:lnTo>
                    <a:pt x="658" y="222"/>
                  </a:lnTo>
                  <a:lnTo>
                    <a:pt x="662" y="240"/>
                  </a:lnTo>
                  <a:lnTo>
                    <a:pt x="667" y="258"/>
                  </a:lnTo>
                  <a:lnTo>
                    <a:pt x="671" y="276"/>
                  </a:lnTo>
                  <a:lnTo>
                    <a:pt x="675" y="295"/>
                  </a:lnTo>
                  <a:lnTo>
                    <a:pt x="677" y="314"/>
                  </a:lnTo>
                  <a:lnTo>
                    <a:pt x="679" y="335"/>
                  </a:lnTo>
                  <a:lnTo>
                    <a:pt x="681" y="354"/>
                  </a:lnTo>
                  <a:lnTo>
                    <a:pt x="681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60" y="414"/>
                  </a:lnTo>
                  <a:lnTo>
                    <a:pt x="165" y="431"/>
                  </a:lnTo>
                  <a:lnTo>
                    <a:pt x="172" y="447"/>
                  </a:lnTo>
                  <a:lnTo>
                    <a:pt x="180" y="463"/>
                  </a:lnTo>
                  <a:lnTo>
                    <a:pt x="188" y="477"/>
                  </a:lnTo>
                  <a:lnTo>
                    <a:pt x="198" y="491"/>
                  </a:lnTo>
                  <a:lnTo>
                    <a:pt x="210" y="503"/>
                  </a:lnTo>
                  <a:lnTo>
                    <a:pt x="222" y="515"/>
                  </a:lnTo>
                  <a:lnTo>
                    <a:pt x="236" y="524"/>
                  </a:lnTo>
                  <a:lnTo>
                    <a:pt x="251" y="533"/>
                  </a:lnTo>
                  <a:lnTo>
                    <a:pt x="266" y="541"/>
                  </a:lnTo>
                  <a:lnTo>
                    <a:pt x="282" y="548"/>
                  </a:lnTo>
                  <a:lnTo>
                    <a:pt x="299" y="552"/>
                  </a:lnTo>
                  <a:lnTo>
                    <a:pt x="317" y="556"/>
                  </a:lnTo>
                  <a:lnTo>
                    <a:pt x="336" y="558"/>
                  </a:lnTo>
                  <a:lnTo>
                    <a:pt x="354" y="559"/>
                  </a:lnTo>
                  <a:lnTo>
                    <a:pt x="354" y="559"/>
                  </a:lnTo>
                  <a:lnTo>
                    <a:pt x="370" y="559"/>
                  </a:lnTo>
                  <a:lnTo>
                    <a:pt x="384" y="558"/>
                  </a:lnTo>
                  <a:lnTo>
                    <a:pt x="399" y="556"/>
                  </a:lnTo>
                  <a:lnTo>
                    <a:pt x="412" y="552"/>
                  </a:lnTo>
                  <a:lnTo>
                    <a:pt x="425" y="549"/>
                  </a:lnTo>
                  <a:lnTo>
                    <a:pt x="438" y="546"/>
                  </a:lnTo>
                  <a:lnTo>
                    <a:pt x="450" y="540"/>
                  </a:lnTo>
                  <a:lnTo>
                    <a:pt x="462" y="535"/>
                  </a:lnTo>
                  <a:lnTo>
                    <a:pt x="482" y="524"/>
                  </a:lnTo>
                  <a:lnTo>
                    <a:pt x="502" y="510"/>
                  </a:lnTo>
                  <a:lnTo>
                    <a:pt x="519" y="496"/>
                  </a:lnTo>
                  <a:lnTo>
                    <a:pt x="533" y="481"/>
                  </a:lnTo>
                  <a:lnTo>
                    <a:pt x="635" y="589"/>
                  </a:lnTo>
                  <a:lnTo>
                    <a:pt x="635" y="589"/>
                  </a:lnTo>
                  <a:lnTo>
                    <a:pt x="623" y="602"/>
                  </a:lnTo>
                  <a:lnTo>
                    <a:pt x="611" y="614"/>
                  </a:lnTo>
                  <a:lnTo>
                    <a:pt x="597" y="626"/>
                  </a:lnTo>
                  <a:lnTo>
                    <a:pt x="583" y="637"/>
                  </a:lnTo>
                  <a:lnTo>
                    <a:pt x="568" y="647"/>
                  </a:lnTo>
                  <a:lnTo>
                    <a:pt x="552" y="658"/>
                  </a:lnTo>
                  <a:lnTo>
                    <a:pt x="535" y="667"/>
                  </a:lnTo>
                  <a:lnTo>
                    <a:pt x="518" y="675"/>
                  </a:lnTo>
                  <a:lnTo>
                    <a:pt x="500" y="683"/>
                  </a:lnTo>
                  <a:lnTo>
                    <a:pt x="481" y="690"/>
                  </a:lnTo>
                  <a:lnTo>
                    <a:pt x="461" y="696"/>
                  </a:lnTo>
                  <a:lnTo>
                    <a:pt x="441" y="700"/>
                  </a:lnTo>
                  <a:lnTo>
                    <a:pt x="420" y="704"/>
                  </a:lnTo>
                  <a:lnTo>
                    <a:pt x="399" y="707"/>
                  </a:lnTo>
                  <a:lnTo>
                    <a:pt x="377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7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6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2" y="667"/>
                  </a:lnTo>
                  <a:lnTo>
                    <a:pt x="167" y="659"/>
                  </a:lnTo>
                  <a:lnTo>
                    <a:pt x="152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3" y="619"/>
                  </a:lnTo>
                  <a:lnTo>
                    <a:pt x="101" y="607"/>
                  </a:lnTo>
                  <a:lnTo>
                    <a:pt x="89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8" y="555"/>
                  </a:lnTo>
                  <a:lnTo>
                    <a:pt x="49" y="541"/>
                  </a:lnTo>
                  <a:lnTo>
                    <a:pt x="41" y="526"/>
                  </a:lnTo>
                  <a:lnTo>
                    <a:pt x="33" y="510"/>
                  </a:lnTo>
                  <a:lnTo>
                    <a:pt x="26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0" y="445"/>
                  </a:lnTo>
                  <a:lnTo>
                    <a:pt x="7" y="427"/>
                  </a:lnTo>
                  <a:lnTo>
                    <a:pt x="3" y="409"/>
                  </a:lnTo>
                  <a:lnTo>
                    <a:pt x="1" y="392"/>
                  </a:lnTo>
                  <a:lnTo>
                    <a:pt x="0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464" y="3470"/>
              <a:ext cx="118" cy="47"/>
            </a:xfrm>
            <a:custGeom>
              <a:avLst/>
              <a:gdLst>
                <a:gd name="T0" fmla="*/ 0 w 353"/>
                <a:gd name="T1" fmla="*/ 140 h 140"/>
                <a:gd name="T2" fmla="*/ 353 w 353"/>
                <a:gd name="T3" fmla="*/ 140 h 140"/>
                <a:gd name="T4" fmla="*/ 353 w 353"/>
                <a:gd name="T5" fmla="*/ 140 h 140"/>
                <a:gd name="T6" fmla="*/ 350 w 353"/>
                <a:gd name="T7" fmla="*/ 123 h 140"/>
                <a:gd name="T8" fmla="*/ 345 w 353"/>
                <a:gd name="T9" fmla="*/ 107 h 140"/>
                <a:gd name="T10" fmla="*/ 340 w 353"/>
                <a:gd name="T11" fmla="*/ 93 h 140"/>
                <a:gd name="T12" fmla="*/ 331 w 353"/>
                <a:gd name="T13" fmla="*/ 79 h 140"/>
                <a:gd name="T14" fmla="*/ 323 w 353"/>
                <a:gd name="T15" fmla="*/ 66 h 140"/>
                <a:gd name="T16" fmla="*/ 315 w 353"/>
                <a:gd name="T17" fmla="*/ 55 h 140"/>
                <a:gd name="T18" fmla="*/ 305 w 353"/>
                <a:gd name="T19" fmla="*/ 44 h 140"/>
                <a:gd name="T20" fmla="*/ 295 w 353"/>
                <a:gd name="T21" fmla="*/ 35 h 140"/>
                <a:gd name="T22" fmla="*/ 283 w 353"/>
                <a:gd name="T23" fmla="*/ 26 h 140"/>
                <a:gd name="T24" fmla="*/ 271 w 353"/>
                <a:gd name="T25" fmla="*/ 19 h 140"/>
                <a:gd name="T26" fmla="*/ 257 w 353"/>
                <a:gd name="T27" fmla="*/ 13 h 140"/>
                <a:gd name="T28" fmla="*/ 243 w 353"/>
                <a:gd name="T29" fmla="*/ 9 h 140"/>
                <a:gd name="T30" fmla="*/ 228 w 353"/>
                <a:gd name="T31" fmla="*/ 4 h 140"/>
                <a:gd name="T32" fmla="*/ 213 w 353"/>
                <a:gd name="T33" fmla="*/ 2 h 140"/>
                <a:gd name="T34" fmla="*/ 197 w 353"/>
                <a:gd name="T35" fmla="*/ 0 h 140"/>
                <a:gd name="T36" fmla="*/ 180 w 353"/>
                <a:gd name="T37" fmla="*/ 0 h 140"/>
                <a:gd name="T38" fmla="*/ 180 w 353"/>
                <a:gd name="T39" fmla="*/ 0 h 140"/>
                <a:gd name="T40" fmla="*/ 165 w 353"/>
                <a:gd name="T41" fmla="*/ 1 h 140"/>
                <a:gd name="T42" fmla="*/ 150 w 353"/>
                <a:gd name="T43" fmla="*/ 2 h 140"/>
                <a:gd name="T44" fmla="*/ 136 w 353"/>
                <a:gd name="T45" fmla="*/ 5 h 140"/>
                <a:gd name="T46" fmla="*/ 122 w 353"/>
                <a:gd name="T47" fmla="*/ 9 h 140"/>
                <a:gd name="T48" fmla="*/ 108 w 353"/>
                <a:gd name="T49" fmla="*/ 15 h 140"/>
                <a:gd name="T50" fmla="*/ 94 w 353"/>
                <a:gd name="T51" fmla="*/ 21 h 140"/>
                <a:gd name="T52" fmla="*/ 82 w 353"/>
                <a:gd name="T53" fmla="*/ 28 h 140"/>
                <a:gd name="T54" fmla="*/ 69 w 353"/>
                <a:gd name="T55" fmla="*/ 38 h 140"/>
                <a:gd name="T56" fmla="*/ 58 w 353"/>
                <a:gd name="T57" fmla="*/ 47 h 140"/>
                <a:gd name="T58" fmla="*/ 47 w 353"/>
                <a:gd name="T59" fmla="*/ 57 h 140"/>
                <a:gd name="T60" fmla="*/ 37 w 353"/>
                <a:gd name="T61" fmla="*/ 68 h 140"/>
                <a:gd name="T62" fmla="*/ 28 w 353"/>
                <a:gd name="T63" fmla="*/ 81 h 140"/>
                <a:gd name="T64" fmla="*/ 20 w 353"/>
                <a:gd name="T65" fmla="*/ 95 h 140"/>
                <a:gd name="T66" fmla="*/ 12 w 353"/>
                <a:gd name="T67" fmla="*/ 109 h 140"/>
                <a:gd name="T68" fmla="*/ 6 w 353"/>
                <a:gd name="T69" fmla="*/ 125 h 140"/>
                <a:gd name="T70" fmla="*/ 0 w 353"/>
                <a:gd name="T71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140">
                  <a:moveTo>
                    <a:pt x="0" y="140"/>
                  </a:moveTo>
                  <a:lnTo>
                    <a:pt x="353" y="140"/>
                  </a:lnTo>
                  <a:lnTo>
                    <a:pt x="353" y="140"/>
                  </a:lnTo>
                  <a:lnTo>
                    <a:pt x="350" y="123"/>
                  </a:lnTo>
                  <a:lnTo>
                    <a:pt x="345" y="107"/>
                  </a:lnTo>
                  <a:lnTo>
                    <a:pt x="340" y="93"/>
                  </a:lnTo>
                  <a:lnTo>
                    <a:pt x="331" y="79"/>
                  </a:lnTo>
                  <a:lnTo>
                    <a:pt x="323" y="66"/>
                  </a:lnTo>
                  <a:lnTo>
                    <a:pt x="315" y="55"/>
                  </a:lnTo>
                  <a:lnTo>
                    <a:pt x="305" y="44"/>
                  </a:lnTo>
                  <a:lnTo>
                    <a:pt x="295" y="35"/>
                  </a:lnTo>
                  <a:lnTo>
                    <a:pt x="283" y="26"/>
                  </a:lnTo>
                  <a:lnTo>
                    <a:pt x="271" y="19"/>
                  </a:lnTo>
                  <a:lnTo>
                    <a:pt x="257" y="13"/>
                  </a:lnTo>
                  <a:lnTo>
                    <a:pt x="243" y="9"/>
                  </a:lnTo>
                  <a:lnTo>
                    <a:pt x="228" y="4"/>
                  </a:lnTo>
                  <a:lnTo>
                    <a:pt x="213" y="2"/>
                  </a:lnTo>
                  <a:lnTo>
                    <a:pt x="197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65" y="1"/>
                  </a:lnTo>
                  <a:lnTo>
                    <a:pt x="150" y="2"/>
                  </a:lnTo>
                  <a:lnTo>
                    <a:pt x="136" y="5"/>
                  </a:lnTo>
                  <a:lnTo>
                    <a:pt x="122" y="9"/>
                  </a:lnTo>
                  <a:lnTo>
                    <a:pt x="108" y="15"/>
                  </a:lnTo>
                  <a:lnTo>
                    <a:pt x="94" y="21"/>
                  </a:lnTo>
                  <a:lnTo>
                    <a:pt x="82" y="28"/>
                  </a:lnTo>
                  <a:lnTo>
                    <a:pt x="69" y="38"/>
                  </a:lnTo>
                  <a:lnTo>
                    <a:pt x="58" y="47"/>
                  </a:lnTo>
                  <a:lnTo>
                    <a:pt x="47" y="57"/>
                  </a:lnTo>
                  <a:lnTo>
                    <a:pt x="37" y="68"/>
                  </a:lnTo>
                  <a:lnTo>
                    <a:pt x="28" y="81"/>
                  </a:lnTo>
                  <a:lnTo>
                    <a:pt x="20" y="95"/>
                  </a:lnTo>
                  <a:lnTo>
                    <a:pt x="12" y="109"/>
                  </a:lnTo>
                  <a:lnTo>
                    <a:pt x="6" y="125"/>
                  </a:lnTo>
                  <a:lnTo>
                    <a:pt x="0" y="1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1411" y="3424"/>
              <a:ext cx="227" cy="236"/>
            </a:xfrm>
            <a:custGeom>
              <a:avLst/>
              <a:gdLst>
                <a:gd name="T0" fmla="*/ 0 w 681"/>
                <a:gd name="T1" fmla="*/ 336 h 709"/>
                <a:gd name="T2" fmla="*/ 7 w 681"/>
                <a:gd name="T3" fmla="*/ 282 h 709"/>
                <a:gd name="T4" fmla="*/ 21 w 681"/>
                <a:gd name="T5" fmla="*/ 230 h 709"/>
                <a:gd name="T6" fmla="*/ 41 w 681"/>
                <a:gd name="T7" fmla="*/ 183 h 709"/>
                <a:gd name="T8" fmla="*/ 68 w 681"/>
                <a:gd name="T9" fmla="*/ 140 h 709"/>
                <a:gd name="T10" fmla="*/ 101 w 681"/>
                <a:gd name="T11" fmla="*/ 102 h 709"/>
                <a:gd name="T12" fmla="*/ 139 w 681"/>
                <a:gd name="T13" fmla="*/ 69 h 709"/>
                <a:gd name="T14" fmla="*/ 181 w 681"/>
                <a:gd name="T15" fmla="*/ 41 h 709"/>
                <a:gd name="T16" fmla="*/ 228 w 681"/>
                <a:gd name="T17" fmla="*/ 21 h 709"/>
                <a:gd name="T18" fmla="*/ 278 w 681"/>
                <a:gd name="T19" fmla="*/ 7 h 709"/>
                <a:gd name="T20" fmla="*/ 333 w 681"/>
                <a:gd name="T21" fmla="*/ 0 h 709"/>
                <a:gd name="T22" fmla="*/ 369 w 681"/>
                <a:gd name="T23" fmla="*/ 0 h 709"/>
                <a:gd name="T24" fmla="*/ 420 w 681"/>
                <a:gd name="T25" fmla="*/ 6 h 709"/>
                <a:gd name="T26" fmla="*/ 467 w 681"/>
                <a:gd name="T27" fmla="*/ 18 h 709"/>
                <a:gd name="T28" fmla="*/ 511 w 681"/>
                <a:gd name="T29" fmla="*/ 38 h 709"/>
                <a:gd name="T30" fmla="*/ 550 w 681"/>
                <a:gd name="T31" fmla="*/ 63 h 709"/>
                <a:gd name="T32" fmla="*/ 584 w 681"/>
                <a:gd name="T33" fmla="*/ 95 h 709"/>
                <a:gd name="T34" fmla="*/ 614 w 681"/>
                <a:gd name="T35" fmla="*/ 132 h 709"/>
                <a:gd name="T36" fmla="*/ 638 w 681"/>
                <a:gd name="T37" fmla="*/ 174 h 709"/>
                <a:gd name="T38" fmla="*/ 658 w 681"/>
                <a:gd name="T39" fmla="*/ 222 h 709"/>
                <a:gd name="T40" fmla="*/ 671 w 681"/>
                <a:gd name="T41" fmla="*/ 276 h 709"/>
                <a:gd name="T42" fmla="*/ 679 w 681"/>
                <a:gd name="T43" fmla="*/ 335 h 709"/>
                <a:gd name="T44" fmla="*/ 157 w 681"/>
                <a:gd name="T45" fmla="*/ 395 h 709"/>
                <a:gd name="T46" fmla="*/ 165 w 681"/>
                <a:gd name="T47" fmla="*/ 431 h 709"/>
                <a:gd name="T48" fmla="*/ 188 w 681"/>
                <a:gd name="T49" fmla="*/ 477 h 709"/>
                <a:gd name="T50" fmla="*/ 222 w 681"/>
                <a:gd name="T51" fmla="*/ 515 h 709"/>
                <a:gd name="T52" fmla="*/ 266 w 681"/>
                <a:gd name="T53" fmla="*/ 541 h 709"/>
                <a:gd name="T54" fmla="*/ 317 w 681"/>
                <a:gd name="T55" fmla="*/ 556 h 709"/>
                <a:gd name="T56" fmla="*/ 354 w 681"/>
                <a:gd name="T57" fmla="*/ 559 h 709"/>
                <a:gd name="T58" fmla="*/ 399 w 681"/>
                <a:gd name="T59" fmla="*/ 556 h 709"/>
                <a:gd name="T60" fmla="*/ 438 w 681"/>
                <a:gd name="T61" fmla="*/ 546 h 709"/>
                <a:gd name="T62" fmla="*/ 482 w 681"/>
                <a:gd name="T63" fmla="*/ 524 h 709"/>
                <a:gd name="T64" fmla="*/ 533 w 681"/>
                <a:gd name="T65" fmla="*/ 481 h 709"/>
                <a:gd name="T66" fmla="*/ 623 w 681"/>
                <a:gd name="T67" fmla="*/ 602 h 709"/>
                <a:gd name="T68" fmla="*/ 583 w 681"/>
                <a:gd name="T69" fmla="*/ 637 h 709"/>
                <a:gd name="T70" fmla="*/ 535 w 681"/>
                <a:gd name="T71" fmla="*/ 667 h 709"/>
                <a:gd name="T72" fmla="*/ 481 w 681"/>
                <a:gd name="T73" fmla="*/ 690 h 709"/>
                <a:gd name="T74" fmla="*/ 420 w 681"/>
                <a:gd name="T75" fmla="*/ 704 h 709"/>
                <a:gd name="T76" fmla="*/ 354 w 681"/>
                <a:gd name="T77" fmla="*/ 709 h 709"/>
                <a:gd name="T78" fmla="*/ 317 w 681"/>
                <a:gd name="T79" fmla="*/ 707 h 709"/>
                <a:gd name="T80" fmla="*/ 264 w 681"/>
                <a:gd name="T81" fmla="*/ 698 h 709"/>
                <a:gd name="T82" fmla="*/ 213 w 681"/>
                <a:gd name="T83" fmla="*/ 682 h 709"/>
                <a:gd name="T84" fmla="*/ 167 w 681"/>
                <a:gd name="T85" fmla="*/ 659 h 709"/>
                <a:gd name="T86" fmla="*/ 126 w 681"/>
                <a:gd name="T87" fmla="*/ 629 h 709"/>
                <a:gd name="T88" fmla="*/ 89 w 681"/>
                <a:gd name="T89" fmla="*/ 595 h 709"/>
                <a:gd name="T90" fmla="*/ 58 w 681"/>
                <a:gd name="T91" fmla="*/ 555 h 709"/>
                <a:gd name="T92" fmla="*/ 33 w 681"/>
                <a:gd name="T93" fmla="*/ 510 h 709"/>
                <a:gd name="T94" fmla="*/ 15 w 681"/>
                <a:gd name="T95" fmla="*/ 462 h 709"/>
                <a:gd name="T96" fmla="*/ 3 w 681"/>
                <a:gd name="T97" fmla="*/ 409 h 709"/>
                <a:gd name="T98" fmla="*/ 0 w 681"/>
                <a:gd name="T99" fmla="*/ 35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1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1" y="317"/>
                  </a:lnTo>
                  <a:lnTo>
                    <a:pt x="3" y="299"/>
                  </a:lnTo>
                  <a:lnTo>
                    <a:pt x="7" y="282"/>
                  </a:lnTo>
                  <a:lnTo>
                    <a:pt x="10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6" y="214"/>
                  </a:lnTo>
                  <a:lnTo>
                    <a:pt x="33" y="198"/>
                  </a:lnTo>
                  <a:lnTo>
                    <a:pt x="41" y="183"/>
                  </a:lnTo>
                  <a:lnTo>
                    <a:pt x="49" y="169"/>
                  </a:lnTo>
                  <a:lnTo>
                    <a:pt x="58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89" y="115"/>
                  </a:lnTo>
                  <a:lnTo>
                    <a:pt x="101" y="102"/>
                  </a:lnTo>
                  <a:lnTo>
                    <a:pt x="112" y="91"/>
                  </a:lnTo>
                  <a:lnTo>
                    <a:pt x="125" y="79"/>
                  </a:lnTo>
                  <a:lnTo>
                    <a:pt x="139" y="69"/>
                  </a:lnTo>
                  <a:lnTo>
                    <a:pt x="152" y="60"/>
                  </a:lnTo>
                  <a:lnTo>
                    <a:pt x="166" y="50"/>
                  </a:lnTo>
                  <a:lnTo>
                    <a:pt x="181" y="41"/>
                  </a:lnTo>
                  <a:lnTo>
                    <a:pt x="196" y="34"/>
                  </a:lnTo>
                  <a:lnTo>
                    <a:pt x="212" y="28"/>
                  </a:lnTo>
                  <a:lnTo>
                    <a:pt x="228" y="21"/>
                  </a:lnTo>
                  <a:lnTo>
                    <a:pt x="245" y="15"/>
                  </a:lnTo>
                  <a:lnTo>
                    <a:pt x="261" y="10"/>
                  </a:lnTo>
                  <a:lnTo>
                    <a:pt x="278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69" y="0"/>
                  </a:lnTo>
                  <a:lnTo>
                    <a:pt x="387" y="1"/>
                  </a:lnTo>
                  <a:lnTo>
                    <a:pt x="403" y="3"/>
                  </a:lnTo>
                  <a:lnTo>
                    <a:pt x="420" y="6"/>
                  </a:lnTo>
                  <a:lnTo>
                    <a:pt x="437" y="9"/>
                  </a:lnTo>
                  <a:lnTo>
                    <a:pt x="453" y="14"/>
                  </a:lnTo>
                  <a:lnTo>
                    <a:pt x="467" y="18"/>
                  </a:lnTo>
                  <a:lnTo>
                    <a:pt x="482" y="24"/>
                  </a:lnTo>
                  <a:lnTo>
                    <a:pt x="496" y="31"/>
                  </a:lnTo>
                  <a:lnTo>
                    <a:pt x="511" y="38"/>
                  </a:lnTo>
                  <a:lnTo>
                    <a:pt x="524" y="46"/>
                  </a:lnTo>
                  <a:lnTo>
                    <a:pt x="537" y="54"/>
                  </a:lnTo>
                  <a:lnTo>
                    <a:pt x="550" y="63"/>
                  </a:lnTo>
                  <a:lnTo>
                    <a:pt x="561" y="73"/>
                  </a:lnTo>
                  <a:lnTo>
                    <a:pt x="573" y="84"/>
                  </a:lnTo>
                  <a:lnTo>
                    <a:pt x="584" y="95"/>
                  </a:lnTo>
                  <a:lnTo>
                    <a:pt x="595" y="107"/>
                  </a:lnTo>
                  <a:lnTo>
                    <a:pt x="604" y="119"/>
                  </a:lnTo>
                  <a:lnTo>
                    <a:pt x="614" y="132"/>
                  </a:lnTo>
                  <a:lnTo>
                    <a:pt x="622" y="146"/>
                  </a:lnTo>
                  <a:lnTo>
                    <a:pt x="630" y="160"/>
                  </a:lnTo>
                  <a:lnTo>
                    <a:pt x="638" y="174"/>
                  </a:lnTo>
                  <a:lnTo>
                    <a:pt x="645" y="190"/>
                  </a:lnTo>
                  <a:lnTo>
                    <a:pt x="652" y="206"/>
                  </a:lnTo>
                  <a:lnTo>
                    <a:pt x="658" y="222"/>
                  </a:lnTo>
                  <a:lnTo>
                    <a:pt x="662" y="240"/>
                  </a:lnTo>
                  <a:lnTo>
                    <a:pt x="667" y="258"/>
                  </a:lnTo>
                  <a:lnTo>
                    <a:pt x="671" y="276"/>
                  </a:lnTo>
                  <a:lnTo>
                    <a:pt x="675" y="295"/>
                  </a:lnTo>
                  <a:lnTo>
                    <a:pt x="677" y="314"/>
                  </a:lnTo>
                  <a:lnTo>
                    <a:pt x="679" y="335"/>
                  </a:lnTo>
                  <a:lnTo>
                    <a:pt x="681" y="354"/>
                  </a:lnTo>
                  <a:lnTo>
                    <a:pt x="681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60" y="414"/>
                  </a:lnTo>
                  <a:lnTo>
                    <a:pt x="165" y="431"/>
                  </a:lnTo>
                  <a:lnTo>
                    <a:pt x="172" y="447"/>
                  </a:lnTo>
                  <a:lnTo>
                    <a:pt x="180" y="463"/>
                  </a:lnTo>
                  <a:lnTo>
                    <a:pt x="188" y="477"/>
                  </a:lnTo>
                  <a:lnTo>
                    <a:pt x="198" y="491"/>
                  </a:lnTo>
                  <a:lnTo>
                    <a:pt x="210" y="503"/>
                  </a:lnTo>
                  <a:lnTo>
                    <a:pt x="222" y="515"/>
                  </a:lnTo>
                  <a:lnTo>
                    <a:pt x="236" y="524"/>
                  </a:lnTo>
                  <a:lnTo>
                    <a:pt x="251" y="533"/>
                  </a:lnTo>
                  <a:lnTo>
                    <a:pt x="266" y="541"/>
                  </a:lnTo>
                  <a:lnTo>
                    <a:pt x="282" y="548"/>
                  </a:lnTo>
                  <a:lnTo>
                    <a:pt x="299" y="552"/>
                  </a:lnTo>
                  <a:lnTo>
                    <a:pt x="317" y="556"/>
                  </a:lnTo>
                  <a:lnTo>
                    <a:pt x="336" y="558"/>
                  </a:lnTo>
                  <a:lnTo>
                    <a:pt x="354" y="559"/>
                  </a:lnTo>
                  <a:lnTo>
                    <a:pt x="354" y="559"/>
                  </a:lnTo>
                  <a:lnTo>
                    <a:pt x="370" y="559"/>
                  </a:lnTo>
                  <a:lnTo>
                    <a:pt x="384" y="558"/>
                  </a:lnTo>
                  <a:lnTo>
                    <a:pt x="399" y="556"/>
                  </a:lnTo>
                  <a:lnTo>
                    <a:pt x="412" y="552"/>
                  </a:lnTo>
                  <a:lnTo>
                    <a:pt x="425" y="549"/>
                  </a:lnTo>
                  <a:lnTo>
                    <a:pt x="438" y="546"/>
                  </a:lnTo>
                  <a:lnTo>
                    <a:pt x="450" y="540"/>
                  </a:lnTo>
                  <a:lnTo>
                    <a:pt x="462" y="535"/>
                  </a:lnTo>
                  <a:lnTo>
                    <a:pt x="482" y="524"/>
                  </a:lnTo>
                  <a:lnTo>
                    <a:pt x="502" y="510"/>
                  </a:lnTo>
                  <a:lnTo>
                    <a:pt x="519" y="496"/>
                  </a:lnTo>
                  <a:lnTo>
                    <a:pt x="533" y="481"/>
                  </a:lnTo>
                  <a:lnTo>
                    <a:pt x="635" y="589"/>
                  </a:lnTo>
                  <a:lnTo>
                    <a:pt x="635" y="589"/>
                  </a:lnTo>
                  <a:lnTo>
                    <a:pt x="623" y="602"/>
                  </a:lnTo>
                  <a:lnTo>
                    <a:pt x="611" y="614"/>
                  </a:lnTo>
                  <a:lnTo>
                    <a:pt x="597" y="626"/>
                  </a:lnTo>
                  <a:lnTo>
                    <a:pt x="583" y="637"/>
                  </a:lnTo>
                  <a:lnTo>
                    <a:pt x="568" y="647"/>
                  </a:lnTo>
                  <a:lnTo>
                    <a:pt x="552" y="658"/>
                  </a:lnTo>
                  <a:lnTo>
                    <a:pt x="535" y="667"/>
                  </a:lnTo>
                  <a:lnTo>
                    <a:pt x="518" y="675"/>
                  </a:lnTo>
                  <a:lnTo>
                    <a:pt x="500" y="683"/>
                  </a:lnTo>
                  <a:lnTo>
                    <a:pt x="481" y="690"/>
                  </a:lnTo>
                  <a:lnTo>
                    <a:pt x="461" y="696"/>
                  </a:lnTo>
                  <a:lnTo>
                    <a:pt x="441" y="700"/>
                  </a:lnTo>
                  <a:lnTo>
                    <a:pt x="420" y="704"/>
                  </a:lnTo>
                  <a:lnTo>
                    <a:pt x="399" y="707"/>
                  </a:lnTo>
                  <a:lnTo>
                    <a:pt x="377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7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6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2" y="667"/>
                  </a:lnTo>
                  <a:lnTo>
                    <a:pt x="167" y="659"/>
                  </a:lnTo>
                  <a:lnTo>
                    <a:pt x="152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3" y="619"/>
                  </a:lnTo>
                  <a:lnTo>
                    <a:pt x="101" y="607"/>
                  </a:lnTo>
                  <a:lnTo>
                    <a:pt x="89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8" y="555"/>
                  </a:lnTo>
                  <a:lnTo>
                    <a:pt x="49" y="541"/>
                  </a:lnTo>
                  <a:lnTo>
                    <a:pt x="41" y="526"/>
                  </a:lnTo>
                  <a:lnTo>
                    <a:pt x="33" y="510"/>
                  </a:lnTo>
                  <a:lnTo>
                    <a:pt x="26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0" y="445"/>
                  </a:lnTo>
                  <a:lnTo>
                    <a:pt x="7" y="427"/>
                  </a:lnTo>
                  <a:lnTo>
                    <a:pt x="3" y="409"/>
                  </a:lnTo>
                  <a:lnTo>
                    <a:pt x="1" y="392"/>
                  </a:lnTo>
                  <a:lnTo>
                    <a:pt x="0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1665" y="3424"/>
              <a:ext cx="197" cy="235"/>
            </a:xfrm>
            <a:custGeom>
              <a:avLst/>
              <a:gdLst>
                <a:gd name="T0" fmla="*/ 431 w 591"/>
                <a:gd name="T1" fmla="*/ 707 h 707"/>
                <a:gd name="T2" fmla="*/ 431 w 591"/>
                <a:gd name="T3" fmla="*/ 296 h 707"/>
                <a:gd name="T4" fmla="*/ 427 w 591"/>
                <a:gd name="T5" fmla="*/ 268 h 707"/>
                <a:gd name="T6" fmla="*/ 419 w 591"/>
                <a:gd name="T7" fmla="*/ 243 h 707"/>
                <a:gd name="T8" fmla="*/ 407 w 591"/>
                <a:gd name="T9" fmla="*/ 220 h 707"/>
                <a:gd name="T10" fmla="*/ 391 w 591"/>
                <a:gd name="T11" fmla="*/ 199 h 707"/>
                <a:gd name="T12" fmla="*/ 371 w 591"/>
                <a:gd name="T13" fmla="*/ 183 h 707"/>
                <a:gd name="T14" fmla="*/ 348 w 591"/>
                <a:gd name="T15" fmla="*/ 171 h 707"/>
                <a:gd name="T16" fmla="*/ 322 w 591"/>
                <a:gd name="T17" fmla="*/ 163 h 707"/>
                <a:gd name="T18" fmla="*/ 295 w 591"/>
                <a:gd name="T19" fmla="*/ 160 h 707"/>
                <a:gd name="T20" fmla="*/ 282 w 591"/>
                <a:gd name="T21" fmla="*/ 160 h 707"/>
                <a:gd name="T22" fmla="*/ 255 w 591"/>
                <a:gd name="T23" fmla="*/ 166 h 707"/>
                <a:gd name="T24" fmla="*/ 230 w 591"/>
                <a:gd name="T25" fmla="*/ 177 h 707"/>
                <a:gd name="T26" fmla="*/ 210 w 591"/>
                <a:gd name="T27" fmla="*/ 191 h 707"/>
                <a:gd name="T28" fmla="*/ 191 w 591"/>
                <a:gd name="T29" fmla="*/ 210 h 707"/>
                <a:gd name="T30" fmla="*/ 176 w 591"/>
                <a:gd name="T31" fmla="*/ 230 h 707"/>
                <a:gd name="T32" fmla="*/ 166 w 591"/>
                <a:gd name="T33" fmla="*/ 256 h 707"/>
                <a:gd name="T34" fmla="*/ 160 w 591"/>
                <a:gd name="T35" fmla="*/ 282 h 707"/>
                <a:gd name="T36" fmla="*/ 160 w 591"/>
                <a:gd name="T37" fmla="*/ 707 h 707"/>
                <a:gd name="T38" fmla="*/ 0 w 591"/>
                <a:gd name="T39" fmla="*/ 296 h 707"/>
                <a:gd name="T40" fmla="*/ 0 w 591"/>
                <a:gd name="T41" fmla="*/ 280 h 707"/>
                <a:gd name="T42" fmla="*/ 3 w 591"/>
                <a:gd name="T43" fmla="*/ 250 h 707"/>
                <a:gd name="T44" fmla="*/ 9 w 591"/>
                <a:gd name="T45" fmla="*/ 221 h 707"/>
                <a:gd name="T46" fmla="*/ 17 w 591"/>
                <a:gd name="T47" fmla="*/ 194 h 707"/>
                <a:gd name="T48" fmla="*/ 29 w 591"/>
                <a:gd name="T49" fmla="*/ 167 h 707"/>
                <a:gd name="T50" fmla="*/ 42 w 591"/>
                <a:gd name="T51" fmla="*/ 142 h 707"/>
                <a:gd name="T52" fmla="*/ 67 w 591"/>
                <a:gd name="T53" fmla="*/ 108 h 707"/>
                <a:gd name="T54" fmla="*/ 108 w 591"/>
                <a:gd name="T55" fmla="*/ 68 h 707"/>
                <a:gd name="T56" fmla="*/ 142 w 591"/>
                <a:gd name="T57" fmla="*/ 42 h 707"/>
                <a:gd name="T58" fmla="*/ 167 w 591"/>
                <a:gd name="T59" fmla="*/ 29 h 707"/>
                <a:gd name="T60" fmla="*/ 193 w 591"/>
                <a:gd name="T61" fmla="*/ 17 h 707"/>
                <a:gd name="T62" fmla="*/ 221 w 591"/>
                <a:gd name="T63" fmla="*/ 9 h 707"/>
                <a:gd name="T64" fmla="*/ 250 w 591"/>
                <a:gd name="T65" fmla="*/ 3 h 707"/>
                <a:gd name="T66" fmla="*/ 279 w 591"/>
                <a:gd name="T67" fmla="*/ 0 h 707"/>
                <a:gd name="T68" fmla="*/ 295 w 591"/>
                <a:gd name="T69" fmla="*/ 0 h 707"/>
                <a:gd name="T70" fmla="*/ 325 w 591"/>
                <a:gd name="T71" fmla="*/ 1 h 707"/>
                <a:gd name="T72" fmla="*/ 355 w 591"/>
                <a:gd name="T73" fmla="*/ 6 h 707"/>
                <a:gd name="T74" fmla="*/ 382 w 591"/>
                <a:gd name="T75" fmla="*/ 13 h 707"/>
                <a:gd name="T76" fmla="*/ 410 w 591"/>
                <a:gd name="T77" fmla="*/ 23 h 707"/>
                <a:gd name="T78" fmla="*/ 436 w 591"/>
                <a:gd name="T79" fmla="*/ 36 h 707"/>
                <a:gd name="T80" fmla="*/ 460 w 591"/>
                <a:gd name="T81" fmla="*/ 50 h 707"/>
                <a:gd name="T82" fmla="*/ 504 w 591"/>
                <a:gd name="T83" fmla="*/ 86 h 707"/>
                <a:gd name="T84" fmla="*/ 541 w 591"/>
                <a:gd name="T85" fmla="*/ 131 h 707"/>
                <a:gd name="T86" fmla="*/ 555 w 591"/>
                <a:gd name="T87" fmla="*/ 155 h 707"/>
                <a:gd name="T88" fmla="*/ 567 w 591"/>
                <a:gd name="T89" fmla="*/ 180 h 707"/>
                <a:gd name="T90" fmla="*/ 577 w 591"/>
                <a:gd name="T91" fmla="*/ 207 h 707"/>
                <a:gd name="T92" fmla="*/ 584 w 591"/>
                <a:gd name="T93" fmla="*/ 236 h 707"/>
                <a:gd name="T94" fmla="*/ 589 w 591"/>
                <a:gd name="T95" fmla="*/ 265 h 707"/>
                <a:gd name="T96" fmla="*/ 591 w 591"/>
                <a:gd name="T97" fmla="*/ 29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91" h="707">
                  <a:moveTo>
                    <a:pt x="591" y="707"/>
                  </a:moveTo>
                  <a:lnTo>
                    <a:pt x="431" y="707"/>
                  </a:lnTo>
                  <a:lnTo>
                    <a:pt x="431" y="296"/>
                  </a:lnTo>
                  <a:lnTo>
                    <a:pt x="431" y="296"/>
                  </a:lnTo>
                  <a:lnTo>
                    <a:pt x="429" y="282"/>
                  </a:lnTo>
                  <a:lnTo>
                    <a:pt x="427" y="268"/>
                  </a:lnTo>
                  <a:lnTo>
                    <a:pt x="424" y="256"/>
                  </a:lnTo>
                  <a:lnTo>
                    <a:pt x="419" y="243"/>
                  </a:lnTo>
                  <a:lnTo>
                    <a:pt x="413" y="230"/>
                  </a:lnTo>
                  <a:lnTo>
                    <a:pt x="407" y="220"/>
                  </a:lnTo>
                  <a:lnTo>
                    <a:pt x="400" y="210"/>
                  </a:lnTo>
                  <a:lnTo>
                    <a:pt x="391" y="199"/>
                  </a:lnTo>
                  <a:lnTo>
                    <a:pt x="381" y="191"/>
                  </a:lnTo>
                  <a:lnTo>
                    <a:pt x="371" y="183"/>
                  </a:lnTo>
                  <a:lnTo>
                    <a:pt x="360" y="177"/>
                  </a:lnTo>
                  <a:lnTo>
                    <a:pt x="348" y="171"/>
                  </a:lnTo>
                  <a:lnTo>
                    <a:pt x="336" y="166"/>
                  </a:lnTo>
                  <a:lnTo>
                    <a:pt x="322" y="163"/>
                  </a:lnTo>
                  <a:lnTo>
                    <a:pt x="309" y="160"/>
                  </a:lnTo>
                  <a:lnTo>
                    <a:pt x="295" y="160"/>
                  </a:lnTo>
                  <a:lnTo>
                    <a:pt x="295" y="160"/>
                  </a:lnTo>
                  <a:lnTo>
                    <a:pt x="282" y="160"/>
                  </a:lnTo>
                  <a:lnTo>
                    <a:pt x="268" y="163"/>
                  </a:lnTo>
                  <a:lnTo>
                    <a:pt x="255" y="166"/>
                  </a:lnTo>
                  <a:lnTo>
                    <a:pt x="243" y="171"/>
                  </a:lnTo>
                  <a:lnTo>
                    <a:pt x="230" y="177"/>
                  </a:lnTo>
                  <a:lnTo>
                    <a:pt x="220" y="183"/>
                  </a:lnTo>
                  <a:lnTo>
                    <a:pt x="210" y="191"/>
                  </a:lnTo>
                  <a:lnTo>
                    <a:pt x="199" y="199"/>
                  </a:lnTo>
                  <a:lnTo>
                    <a:pt x="191" y="210"/>
                  </a:lnTo>
                  <a:lnTo>
                    <a:pt x="183" y="220"/>
                  </a:lnTo>
                  <a:lnTo>
                    <a:pt x="176" y="230"/>
                  </a:lnTo>
                  <a:lnTo>
                    <a:pt x="171" y="243"/>
                  </a:lnTo>
                  <a:lnTo>
                    <a:pt x="166" y="256"/>
                  </a:lnTo>
                  <a:lnTo>
                    <a:pt x="163" y="268"/>
                  </a:lnTo>
                  <a:lnTo>
                    <a:pt x="160" y="282"/>
                  </a:lnTo>
                  <a:lnTo>
                    <a:pt x="160" y="296"/>
                  </a:lnTo>
                  <a:lnTo>
                    <a:pt x="160" y="707"/>
                  </a:lnTo>
                  <a:lnTo>
                    <a:pt x="0" y="707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0" y="280"/>
                  </a:lnTo>
                  <a:lnTo>
                    <a:pt x="1" y="265"/>
                  </a:lnTo>
                  <a:lnTo>
                    <a:pt x="3" y="250"/>
                  </a:lnTo>
                  <a:lnTo>
                    <a:pt x="6" y="236"/>
                  </a:lnTo>
                  <a:lnTo>
                    <a:pt x="9" y="221"/>
                  </a:lnTo>
                  <a:lnTo>
                    <a:pt x="12" y="207"/>
                  </a:lnTo>
                  <a:lnTo>
                    <a:pt x="17" y="194"/>
                  </a:lnTo>
                  <a:lnTo>
                    <a:pt x="23" y="180"/>
                  </a:lnTo>
                  <a:lnTo>
                    <a:pt x="29" y="167"/>
                  </a:lnTo>
                  <a:lnTo>
                    <a:pt x="35" y="155"/>
                  </a:lnTo>
                  <a:lnTo>
                    <a:pt x="42" y="142"/>
                  </a:lnTo>
                  <a:lnTo>
                    <a:pt x="50" y="131"/>
                  </a:lnTo>
                  <a:lnTo>
                    <a:pt x="67" y="108"/>
                  </a:lnTo>
                  <a:lnTo>
                    <a:pt x="86" y="86"/>
                  </a:lnTo>
                  <a:lnTo>
                    <a:pt x="108" y="68"/>
                  </a:lnTo>
                  <a:lnTo>
                    <a:pt x="129" y="50"/>
                  </a:lnTo>
                  <a:lnTo>
                    <a:pt x="142" y="42"/>
                  </a:lnTo>
                  <a:lnTo>
                    <a:pt x="155" y="36"/>
                  </a:lnTo>
                  <a:lnTo>
                    <a:pt x="167" y="29"/>
                  </a:lnTo>
                  <a:lnTo>
                    <a:pt x="180" y="23"/>
                  </a:lnTo>
                  <a:lnTo>
                    <a:pt x="193" y="17"/>
                  </a:lnTo>
                  <a:lnTo>
                    <a:pt x="207" y="13"/>
                  </a:lnTo>
                  <a:lnTo>
                    <a:pt x="221" y="9"/>
                  </a:lnTo>
                  <a:lnTo>
                    <a:pt x="236" y="6"/>
                  </a:lnTo>
                  <a:lnTo>
                    <a:pt x="250" y="3"/>
                  </a:lnTo>
                  <a:lnTo>
                    <a:pt x="264" y="1"/>
                  </a:lnTo>
                  <a:lnTo>
                    <a:pt x="279" y="0"/>
                  </a:lnTo>
                  <a:lnTo>
                    <a:pt x="295" y="0"/>
                  </a:lnTo>
                  <a:lnTo>
                    <a:pt x="295" y="0"/>
                  </a:lnTo>
                  <a:lnTo>
                    <a:pt x="310" y="0"/>
                  </a:lnTo>
                  <a:lnTo>
                    <a:pt x="325" y="1"/>
                  </a:lnTo>
                  <a:lnTo>
                    <a:pt x="340" y="3"/>
                  </a:lnTo>
                  <a:lnTo>
                    <a:pt x="355" y="6"/>
                  </a:lnTo>
                  <a:lnTo>
                    <a:pt x="369" y="9"/>
                  </a:lnTo>
                  <a:lnTo>
                    <a:pt x="382" y="13"/>
                  </a:lnTo>
                  <a:lnTo>
                    <a:pt x="396" y="17"/>
                  </a:lnTo>
                  <a:lnTo>
                    <a:pt x="410" y="23"/>
                  </a:lnTo>
                  <a:lnTo>
                    <a:pt x="423" y="29"/>
                  </a:lnTo>
                  <a:lnTo>
                    <a:pt x="436" y="36"/>
                  </a:lnTo>
                  <a:lnTo>
                    <a:pt x="448" y="42"/>
                  </a:lnTo>
                  <a:lnTo>
                    <a:pt x="460" y="50"/>
                  </a:lnTo>
                  <a:lnTo>
                    <a:pt x="483" y="68"/>
                  </a:lnTo>
                  <a:lnTo>
                    <a:pt x="504" y="86"/>
                  </a:lnTo>
                  <a:lnTo>
                    <a:pt x="523" y="108"/>
                  </a:lnTo>
                  <a:lnTo>
                    <a:pt x="541" y="131"/>
                  </a:lnTo>
                  <a:lnTo>
                    <a:pt x="547" y="142"/>
                  </a:lnTo>
                  <a:lnTo>
                    <a:pt x="555" y="155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3" y="194"/>
                  </a:lnTo>
                  <a:lnTo>
                    <a:pt x="577" y="207"/>
                  </a:lnTo>
                  <a:lnTo>
                    <a:pt x="582" y="221"/>
                  </a:lnTo>
                  <a:lnTo>
                    <a:pt x="584" y="236"/>
                  </a:lnTo>
                  <a:lnTo>
                    <a:pt x="588" y="250"/>
                  </a:lnTo>
                  <a:lnTo>
                    <a:pt x="589" y="265"/>
                  </a:lnTo>
                  <a:lnTo>
                    <a:pt x="590" y="280"/>
                  </a:lnTo>
                  <a:lnTo>
                    <a:pt x="591" y="296"/>
                  </a:lnTo>
                  <a:lnTo>
                    <a:pt x="591" y="70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1002" y="3424"/>
              <a:ext cx="81" cy="81"/>
            </a:xfrm>
            <a:custGeom>
              <a:avLst/>
              <a:gdLst>
                <a:gd name="T0" fmla="*/ 243 w 243"/>
                <a:gd name="T1" fmla="*/ 122 h 243"/>
                <a:gd name="T2" fmla="*/ 240 w 243"/>
                <a:gd name="T3" fmla="*/ 146 h 243"/>
                <a:gd name="T4" fmla="*/ 234 w 243"/>
                <a:gd name="T5" fmla="*/ 169 h 243"/>
                <a:gd name="T6" fmla="*/ 222 w 243"/>
                <a:gd name="T7" fmla="*/ 189 h 243"/>
                <a:gd name="T8" fmla="*/ 207 w 243"/>
                <a:gd name="T9" fmla="*/ 208 h 243"/>
                <a:gd name="T10" fmla="*/ 189 w 243"/>
                <a:gd name="T11" fmla="*/ 223 h 243"/>
                <a:gd name="T12" fmla="*/ 168 w 243"/>
                <a:gd name="T13" fmla="*/ 233 h 243"/>
                <a:gd name="T14" fmla="*/ 145 w 243"/>
                <a:gd name="T15" fmla="*/ 241 h 243"/>
                <a:gd name="T16" fmla="*/ 121 w 243"/>
                <a:gd name="T17" fmla="*/ 243 h 243"/>
                <a:gd name="T18" fmla="*/ 109 w 243"/>
                <a:gd name="T19" fmla="*/ 242 h 243"/>
                <a:gd name="T20" fmla="*/ 85 w 243"/>
                <a:gd name="T21" fmla="*/ 237 h 243"/>
                <a:gd name="T22" fmla="*/ 63 w 243"/>
                <a:gd name="T23" fmla="*/ 228 h 243"/>
                <a:gd name="T24" fmla="*/ 45 w 243"/>
                <a:gd name="T25" fmla="*/ 216 h 243"/>
                <a:gd name="T26" fmla="*/ 27 w 243"/>
                <a:gd name="T27" fmla="*/ 198 h 243"/>
                <a:gd name="T28" fmla="*/ 15 w 243"/>
                <a:gd name="T29" fmla="*/ 179 h 243"/>
                <a:gd name="T30" fmla="*/ 6 w 243"/>
                <a:gd name="T31" fmla="*/ 157 h 243"/>
                <a:gd name="T32" fmla="*/ 0 w 243"/>
                <a:gd name="T33" fmla="*/ 134 h 243"/>
                <a:gd name="T34" fmla="*/ 0 w 243"/>
                <a:gd name="T35" fmla="*/ 122 h 243"/>
                <a:gd name="T36" fmla="*/ 2 w 243"/>
                <a:gd name="T37" fmla="*/ 96 h 243"/>
                <a:gd name="T38" fmla="*/ 9 w 243"/>
                <a:gd name="T39" fmla="*/ 74 h 243"/>
                <a:gd name="T40" fmla="*/ 21 w 243"/>
                <a:gd name="T41" fmla="*/ 53 h 243"/>
                <a:gd name="T42" fmla="*/ 35 w 243"/>
                <a:gd name="T43" fmla="*/ 36 h 243"/>
                <a:gd name="T44" fmla="*/ 54 w 243"/>
                <a:gd name="T45" fmla="*/ 21 h 243"/>
                <a:gd name="T46" fmla="*/ 74 w 243"/>
                <a:gd name="T47" fmla="*/ 9 h 243"/>
                <a:gd name="T48" fmla="*/ 97 w 243"/>
                <a:gd name="T49" fmla="*/ 2 h 243"/>
                <a:gd name="T50" fmla="*/ 121 w 243"/>
                <a:gd name="T51" fmla="*/ 0 h 243"/>
                <a:gd name="T52" fmla="*/ 134 w 243"/>
                <a:gd name="T53" fmla="*/ 0 h 243"/>
                <a:gd name="T54" fmla="*/ 157 w 243"/>
                <a:gd name="T55" fmla="*/ 5 h 243"/>
                <a:gd name="T56" fmla="*/ 179 w 243"/>
                <a:gd name="T57" fmla="*/ 14 h 243"/>
                <a:gd name="T58" fmla="*/ 198 w 243"/>
                <a:gd name="T59" fmla="*/ 28 h 243"/>
                <a:gd name="T60" fmla="*/ 215 w 243"/>
                <a:gd name="T61" fmla="*/ 44 h 243"/>
                <a:gd name="T62" fmla="*/ 228 w 243"/>
                <a:gd name="T63" fmla="*/ 63 h 243"/>
                <a:gd name="T64" fmla="*/ 237 w 243"/>
                <a:gd name="T65" fmla="*/ 85 h 243"/>
                <a:gd name="T66" fmla="*/ 242 w 243"/>
                <a:gd name="T67" fmla="*/ 10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3" h="243">
                  <a:moveTo>
                    <a:pt x="243" y="122"/>
                  </a:moveTo>
                  <a:lnTo>
                    <a:pt x="243" y="122"/>
                  </a:lnTo>
                  <a:lnTo>
                    <a:pt x="242" y="134"/>
                  </a:lnTo>
                  <a:lnTo>
                    <a:pt x="240" y="146"/>
                  </a:lnTo>
                  <a:lnTo>
                    <a:pt x="237" y="157"/>
                  </a:lnTo>
                  <a:lnTo>
                    <a:pt x="234" y="169"/>
                  </a:lnTo>
                  <a:lnTo>
                    <a:pt x="228" y="179"/>
                  </a:lnTo>
                  <a:lnTo>
                    <a:pt x="222" y="189"/>
                  </a:lnTo>
                  <a:lnTo>
                    <a:pt x="215" y="198"/>
                  </a:lnTo>
                  <a:lnTo>
                    <a:pt x="207" y="208"/>
                  </a:lnTo>
                  <a:lnTo>
                    <a:pt x="198" y="216"/>
                  </a:lnTo>
                  <a:lnTo>
                    <a:pt x="189" y="223"/>
                  </a:lnTo>
                  <a:lnTo>
                    <a:pt x="179" y="228"/>
                  </a:lnTo>
                  <a:lnTo>
                    <a:pt x="168" y="233"/>
                  </a:lnTo>
                  <a:lnTo>
                    <a:pt x="157" y="237"/>
                  </a:lnTo>
                  <a:lnTo>
                    <a:pt x="145" y="241"/>
                  </a:lnTo>
                  <a:lnTo>
                    <a:pt x="134" y="242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09" y="242"/>
                  </a:lnTo>
                  <a:lnTo>
                    <a:pt x="97" y="241"/>
                  </a:lnTo>
                  <a:lnTo>
                    <a:pt x="85" y="237"/>
                  </a:lnTo>
                  <a:lnTo>
                    <a:pt x="74" y="233"/>
                  </a:lnTo>
                  <a:lnTo>
                    <a:pt x="63" y="228"/>
                  </a:lnTo>
                  <a:lnTo>
                    <a:pt x="54" y="223"/>
                  </a:lnTo>
                  <a:lnTo>
                    <a:pt x="45" y="216"/>
                  </a:lnTo>
                  <a:lnTo>
                    <a:pt x="35" y="208"/>
                  </a:lnTo>
                  <a:lnTo>
                    <a:pt x="27" y="198"/>
                  </a:lnTo>
                  <a:lnTo>
                    <a:pt x="21" y="189"/>
                  </a:lnTo>
                  <a:lnTo>
                    <a:pt x="15" y="179"/>
                  </a:lnTo>
                  <a:lnTo>
                    <a:pt x="9" y="169"/>
                  </a:lnTo>
                  <a:lnTo>
                    <a:pt x="6" y="157"/>
                  </a:lnTo>
                  <a:lnTo>
                    <a:pt x="2" y="146"/>
                  </a:lnTo>
                  <a:lnTo>
                    <a:pt x="0" y="134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09"/>
                  </a:lnTo>
                  <a:lnTo>
                    <a:pt x="2" y="96"/>
                  </a:lnTo>
                  <a:lnTo>
                    <a:pt x="6" y="85"/>
                  </a:lnTo>
                  <a:lnTo>
                    <a:pt x="9" y="74"/>
                  </a:lnTo>
                  <a:lnTo>
                    <a:pt x="15" y="63"/>
                  </a:lnTo>
                  <a:lnTo>
                    <a:pt x="21" y="53"/>
                  </a:lnTo>
                  <a:lnTo>
                    <a:pt x="27" y="44"/>
                  </a:lnTo>
                  <a:lnTo>
                    <a:pt x="35" y="36"/>
                  </a:lnTo>
                  <a:lnTo>
                    <a:pt x="45" y="28"/>
                  </a:lnTo>
                  <a:lnTo>
                    <a:pt x="54" y="21"/>
                  </a:lnTo>
                  <a:lnTo>
                    <a:pt x="63" y="14"/>
                  </a:lnTo>
                  <a:lnTo>
                    <a:pt x="74" y="9"/>
                  </a:lnTo>
                  <a:lnTo>
                    <a:pt x="85" y="5"/>
                  </a:lnTo>
                  <a:lnTo>
                    <a:pt x="97" y="2"/>
                  </a:lnTo>
                  <a:lnTo>
                    <a:pt x="109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4" y="0"/>
                  </a:lnTo>
                  <a:lnTo>
                    <a:pt x="145" y="2"/>
                  </a:lnTo>
                  <a:lnTo>
                    <a:pt x="157" y="5"/>
                  </a:lnTo>
                  <a:lnTo>
                    <a:pt x="168" y="9"/>
                  </a:lnTo>
                  <a:lnTo>
                    <a:pt x="179" y="14"/>
                  </a:lnTo>
                  <a:lnTo>
                    <a:pt x="189" y="21"/>
                  </a:lnTo>
                  <a:lnTo>
                    <a:pt x="198" y="28"/>
                  </a:lnTo>
                  <a:lnTo>
                    <a:pt x="207" y="36"/>
                  </a:lnTo>
                  <a:lnTo>
                    <a:pt x="215" y="44"/>
                  </a:lnTo>
                  <a:lnTo>
                    <a:pt x="222" y="53"/>
                  </a:lnTo>
                  <a:lnTo>
                    <a:pt x="228" y="63"/>
                  </a:lnTo>
                  <a:lnTo>
                    <a:pt x="234" y="74"/>
                  </a:lnTo>
                  <a:lnTo>
                    <a:pt x="237" y="85"/>
                  </a:lnTo>
                  <a:lnTo>
                    <a:pt x="240" y="96"/>
                  </a:lnTo>
                  <a:lnTo>
                    <a:pt x="242" y="109"/>
                  </a:lnTo>
                  <a:lnTo>
                    <a:pt x="243" y="122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/>
            <p:cNvSpPr>
              <a:spLocks/>
            </p:cNvSpPr>
            <p:nvPr userDrawn="1"/>
          </p:nvSpPr>
          <p:spPr bwMode="auto">
            <a:xfrm>
              <a:off x="1002" y="3424"/>
              <a:ext cx="81" cy="81"/>
            </a:xfrm>
            <a:custGeom>
              <a:avLst/>
              <a:gdLst>
                <a:gd name="T0" fmla="*/ 243 w 243"/>
                <a:gd name="T1" fmla="*/ 122 h 243"/>
                <a:gd name="T2" fmla="*/ 240 w 243"/>
                <a:gd name="T3" fmla="*/ 146 h 243"/>
                <a:gd name="T4" fmla="*/ 234 w 243"/>
                <a:gd name="T5" fmla="*/ 169 h 243"/>
                <a:gd name="T6" fmla="*/ 222 w 243"/>
                <a:gd name="T7" fmla="*/ 189 h 243"/>
                <a:gd name="T8" fmla="*/ 207 w 243"/>
                <a:gd name="T9" fmla="*/ 208 h 243"/>
                <a:gd name="T10" fmla="*/ 189 w 243"/>
                <a:gd name="T11" fmla="*/ 223 h 243"/>
                <a:gd name="T12" fmla="*/ 168 w 243"/>
                <a:gd name="T13" fmla="*/ 233 h 243"/>
                <a:gd name="T14" fmla="*/ 145 w 243"/>
                <a:gd name="T15" fmla="*/ 241 h 243"/>
                <a:gd name="T16" fmla="*/ 121 w 243"/>
                <a:gd name="T17" fmla="*/ 243 h 243"/>
                <a:gd name="T18" fmla="*/ 109 w 243"/>
                <a:gd name="T19" fmla="*/ 242 h 243"/>
                <a:gd name="T20" fmla="*/ 85 w 243"/>
                <a:gd name="T21" fmla="*/ 237 h 243"/>
                <a:gd name="T22" fmla="*/ 63 w 243"/>
                <a:gd name="T23" fmla="*/ 228 h 243"/>
                <a:gd name="T24" fmla="*/ 45 w 243"/>
                <a:gd name="T25" fmla="*/ 216 h 243"/>
                <a:gd name="T26" fmla="*/ 27 w 243"/>
                <a:gd name="T27" fmla="*/ 198 h 243"/>
                <a:gd name="T28" fmla="*/ 15 w 243"/>
                <a:gd name="T29" fmla="*/ 179 h 243"/>
                <a:gd name="T30" fmla="*/ 6 w 243"/>
                <a:gd name="T31" fmla="*/ 157 h 243"/>
                <a:gd name="T32" fmla="*/ 0 w 243"/>
                <a:gd name="T33" fmla="*/ 134 h 243"/>
                <a:gd name="T34" fmla="*/ 0 w 243"/>
                <a:gd name="T35" fmla="*/ 122 h 243"/>
                <a:gd name="T36" fmla="*/ 2 w 243"/>
                <a:gd name="T37" fmla="*/ 96 h 243"/>
                <a:gd name="T38" fmla="*/ 9 w 243"/>
                <a:gd name="T39" fmla="*/ 74 h 243"/>
                <a:gd name="T40" fmla="*/ 21 w 243"/>
                <a:gd name="T41" fmla="*/ 53 h 243"/>
                <a:gd name="T42" fmla="*/ 35 w 243"/>
                <a:gd name="T43" fmla="*/ 36 h 243"/>
                <a:gd name="T44" fmla="*/ 54 w 243"/>
                <a:gd name="T45" fmla="*/ 21 h 243"/>
                <a:gd name="T46" fmla="*/ 74 w 243"/>
                <a:gd name="T47" fmla="*/ 9 h 243"/>
                <a:gd name="T48" fmla="*/ 97 w 243"/>
                <a:gd name="T49" fmla="*/ 2 h 243"/>
                <a:gd name="T50" fmla="*/ 121 w 243"/>
                <a:gd name="T51" fmla="*/ 0 h 243"/>
                <a:gd name="T52" fmla="*/ 134 w 243"/>
                <a:gd name="T53" fmla="*/ 0 h 243"/>
                <a:gd name="T54" fmla="*/ 157 w 243"/>
                <a:gd name="T55" fmla="*/ 5 h 243"/>
                <a:gd name="T56" fmla="*/ 179 w 243"/>
                <a:gd name="T57" fmla="*/ 14 h 243"/>
                <a:gd name="T58" fmla="*/ 198 w 243"/>
                <a:gd name="T59" fmla="*/ 28 h 243"/>
                <a:gd name="T60" fmla="*/ 215 w 243"/>
                <a:gd name="T61" fmla="*/ 44 h 243"/>
                <a:gd name="T62" fmla="*/ 228 w 243"/>
                <a:gd name="T63" fmla="*/ 63 h 243"/>
                <a:gd name="T64" fmla="*/ 237 w 243"/>
                <a:gd name="T65" fmla="*/ 85 h 243"/>
                <a:gd name="T66" fmla="*/ 242 w 243"/>
                <a:gd name="T67" fmla="*/ 10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3" h="243">
                  <a:moveTo>
                    <a:pt x="243" y="122"/>
                  </a:moveTo>
                  <a:lnTo>
                    <a:pt x="243" y="122"/>
                  </a:lnTo>
                  <a:lnTo>
                    <a:pt x="242" y="134"/>
                  </a:lnTo>
                  <a:lnTo>
                    <a:pt x="240" y="146"/>
                  </a:lnTo>
                  <a:lnTo>
                    <a:pt x="237" y="157"/>
                  </a:lnTo>
                  <a:lnTo>
                    <a:pt x="234" y="169"/>
                  </a:lnTo>
                  <a:lnTo>
                    <a:pt x="228" y="179"/>
                  </a:lnTo>
                  <a:lnTo>
                    <a:pt x="222" y="189"/>
                  </a:lnTo>
                  <a:lnTo>
                    <a:pt x="215" y="198"/>
                  </a:lnTo>
                  <a:lnTo>
                    <a:pt x="207" y="208"/>
                  </a:lnTo>
                  <a:lnTo>
                    <a:pt x="198" y="216"/>
                  </a:lnTo>
                  <a:lnTo>
                    <a:pt x="189" y="223"/>
                  </a:lnTo>
                  <a:lnTo>
                    <a:pt x="179" y="228"/>
                  </a:lnTo>
                  <a:lnTo>
                    <a:pt x="168" y="233"/>
                  </a:lnTo>
                  <a:lnTo>
                    <a:pt x="157" y="237"/>
                  </a:lnTo>
                  <a:lnTo>
                    <a:pt x="145" y="241"/>
                  </a:lnTo>
                  <a:lnTo>
                    <a:pt x="134" y="242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09" y="242"/>
                  </a:lnTo>
                  <a:lnTo>
                    <a:pt x="97" y="241"/>
                  </a:lnTo>
                  <a:lnTo>
                    <a:pt x="85" y="237"/>
                  </a:lnTo>
                  <a:lnTo>
                    <a:pt x="74" y="233"/>
                  </a:lnTo>
                  <a:lnTo>
                    <a:pt x="63" y="228"/>
                  </a:lnTo>
                  <a:lnTo>
                    <a:pt x="54" y="223"/>
                  </a:lnTo>
                  <a:lnTo>
                    <a:pt x="45" y="216"/>
                  </a:lnTo>
                  <a:lnTo>
                    <a:pt x="35" y="208"/>
                  </a:lnTo>
                  <a:lnTo>
                    <a:pt x="27" y="198"/>
                  </a:lnTo>
                  <a:lnTo>
                    <a:pt x="21" y="189"/>
                  </a:lnTo>
                  <a:lnTo>
                    <a:pt x="15" y="179"/>
                  </a:lnTo>
                  <a:lnTo>
                    <a:pt x="9" y="169"/>
                  </a:lnTo>
                  <a:lnTo>
                    <a:pt x="6" y="157"/>
                  </a:lnTo>
                  <a:lnTo>
                    <a:pt x="2" y="146"/>
                  </a:lnTo>
                  <a:lnTo>
                    <a:pt x="0" y="134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09"/>
                  </a:lnTo>
                  <a:lnTo>
                    <a:pt x="2" y="96"/>
                  </a:lnTo>
                  <a:lnTo>
                    <a:pt x="6" y="85"/>
                  </a:lnTo>
                  <a:lnTo>
                    <a:pt x="9" y="74"/>
                  </a:lnTo>
                  <a:lnTo>
                    <a:pt x="15" y="63"/>
                  </a:lnTo>
                  <a:lnTo>
                    <a:pt x="21" y="53"/>
                  </a:lnTo>
                  <a:lnTo>
                    <a:pt x="27" y="44"/>
                  </a:lnTo>
                  <a:lnTo>
                    <a:pt x="35" y="36"/>
                  </a:lnTo>
                  <a:lnTo>
                    <a:pt x="45" y="28"/>
                  </a:lnTo>
                  <a:lnTo>
                    <a:pt x="54" y="21"/>
                  </a:lnTo>
                  <a:lnTo>
                    <a:pt x="63" y="14"/>
                  </a:lnTo>
                  <a:lnTo>
                    <a:pt x="74" y="9"/>
                  </a:lnTo>
                  <a:lnTo>
                    <a:pt x="85" y="5"/>
                  </a:lnTo>
                  <a:lnTo>
                    <a:pt x="97" y="2"/>
                  </a:lnTo>
                  <a:lnTo>
                    <a:pt x="109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4" y="0"/>
                  </a:lnTo>
                  <a:lnTo>
                    <a:pt x="145" y="2"/>
                  </a:lnTo>
                  <a:lnTo>
                    <a:pt x="157" y="5"/>
                  </a:lnTo>
                  <a:lnTo>
                    <a:pt x="168" y="9"/>
                  </a:lnTo>
                  <a:lnTo>
                    <a:pt x="179" y="14"/>
                  </a:lnTo>
                  <a:lnTo>
                    <a:pt x="189" y="21"/>
                  </a:lnTo>
                  <a:lnTo>
                    <a:pt x="198" y="28"/>
                  </a:lnTo>
                  <a:lnTo>
                    <a:pt x="207" y="36"/>
                  </a:lnTo>
                  <a:lnTo>
                    <a:pt x="215" y="44"/>
                  </a:lnTo>
                  <a:lnTo>
                    <a:pt x="222" y="53"/>
                  </a:lnTo>
                  <a:lnTo>
                    <a:pt x="228" y="63"/>
                  </a:lnTo>
                  <a:lnTo>
                    <a:pt x="234" y="74"/>
                  </a:lnTo>
                  <a:lnTo>
                    <a:pt x="237" y="85"/>
                  </a:lnTo>
                  <a:lnTo>
                    <a:pt x="240" y="96"/>
                  </a:lnTo>
                  <a:lnTo>
                    <a:pt x="242" y="109"/>
                  </a:lnTo>
                  <a:lnTo>
                    <a:pt x="24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/>
            <p:cNvSpPr>
              <a:spLocks noEditPoints="1"/>
            </p:cNvSpPr>
            <p:nvPr userDrawn="1"/>
          </p:nvSpPr>
          <p:spPr bwMode="auto">
            <a:xfrm>
              <a:off x="488" y="3758"/>
              <a:ext cx="42" cy="64"/>
            </a:xfrm>
            <a:custGeom>
              <a:avLst/>
              <a:gdLst>
                <a:gd name="T0" fmla="*/ 96 w 126"/>
                <a:gd name="T1" fmla="*/ 82 h 192"/>
                <a:gd name="T2" fmla="*/ 106 w 126"/>
                <a:gd name="T3" fmla="*/ 90 h 192"/>
                <a:gd name="T4" fmla="*/ 117 w 126"/>
                <a:gd name="T5" fmla="*/ 100 h 192"/>
                <a:gd name="T6" fmla="*/ 122 w 126"/>
                <a:gd name="T7" fmla="*/ 115 h 192"/>
                <a:gd name="T8" fmla="*/ 126 w 126"/>
                <a:gd name="T9" fmla="*/ 131 h 192"/>
                <a:gd name="T10" fmla="*/ 125 w 126"/>
                <a:gd name="T11" fmla="*/ 144 h 192"/>
                <a:gd name="T12" fmla="*/ 114 w 126"/>
                <a:gd name="T13" fmla="*/ 166 h 192"/>
                <a:gd name="T14" fmla="*/ 98 w 126"/>
                <a:gd name="T15" fmla="*/ 182 h 192"/>
                <a:gd name="T16" fmla="*/ 77 w 126"/>
                <a:gd name="T17" fmla="*/ 191 h 192"/>
                <a:gd name="T18" fmla="*/ 0 w 126"/>
                <a:gd name="T19" fmla="*/ 192 h 192"/>
                <a:gd name="T20" fmla="*/ 63 w 126"/>
                <a:gd name="T21" fmla="*/ 0 h 192"/>
                <a:gd name="T22" fmla="*/ 74 w 126"/>
                <a:gd name="T23" fmla="*/ 1 h 192"/>
                <a:gd name="T24" fmla="*/ 93 w 126"/>
                <a:gd name="T25" fmla="*/ 8 h 192"/>
                <a:gd name="T26" fmla="*/ 106 w 126"/>
                <a:gd name="T27" fmla="*/ 21 h 192"/>
                <a:gd name="T28" fmla="*/ 113 w 126"/>
                <a:gd name="T29" fmla="*/ 39 h 192"/>
                <a:gd name="T30" fmla="*/ 113 w 126"/>
                <a:gd name="T31" fmla="*/ 50 h 192"/>
                <a:gd name="T32" fmla="*/ 112 w 126"/>
                <a:gd name="T33" fmla="*/ 60 h 192"/>
                <a:gd name="T34" fmla="*/ 103 w 126"/>
                <a:gd name="T35" fmla="*/ 78 h 192"/>
                <a:gd name="T36" fmla="*/ 96 w 126"/>
                <a:gd name="T37" fmla="*/ 82 h 192"/>
                <a:gd name="T38" fmla="*/ 63 w 126"/>
                <a:gd name="T39" fmla="*/ 71 h 192"/>
                <a:gd name="T40" fmla="*/ 68 w 126"/>
                <a:gd name="T41" fmla="*/ 69 h 192"/>
                <a:gd name="T42" fmla="*/ 76 w 126"/>
                <a:gd name="T43" fmla="*/ 67 h 192"/>
                <a:gd name="T44" fmla="*/ 80 w 126"/>
                <a:gd name="T45" fmla="*/ 61 h 192"/>
                <a:gd name="T46" fmla="*/ 84 w 126"/>
                <a:gd name="T47" fmla="*/ 55 h 192"/>
                <a:gd name="T48" fmla="*/ 84 w 126"/>
                <a:gd name="T49" fmla="*/ 50 h 192"/>
                <a:gd name="T50" fmla="*/ 82 w 126"/>
                <a:gd name="T51" fmla="*/ 41 h 192"/>
                <a:gd name="T52" fmla="*/ 78 w 126"/>
                <a:gd name="T53" fmla="*/ 35 h 192"/>
                <a:gd name="T54" fmla="*/ 71 w 126"/>
                <a:gd name="T55" fmla="*/ 31 h 192"/>
                <a:gd name="T56" fmla="*/ 63 w 126"/>
                <a:gd name="T57" fmla="*/ 29 h 192"/>
                <a:gd name="T58" fmla="*/ 31 w 126"/>
                <a:gd name="T59" fmla="*/ 71 h 192"/>
                <a:gd name="T60" fmla="*/ 63 w 126"/>
                <a:gd name="T61" fmla="*/ 163 h 192"/>
                <a:gd name="T62" fmla="*/ 70 w 126"/>
                <a:gd name="T63" fmla="*/ 162 h 192"/>
                <a:gd name="T64" fmla="*/ 81 w 126"/>
                <a:gd name="T65" fmla="*/ 158 h 192"/>
                <a:gd name="T66" fmla="*/ 90 w 126"/>
                <a:gd name="T67" fmla="*/ 150 h 192"/>
                <a:gd name="T68" fmla="*/ 94 w 126"/>
                <a:gd name="T69" fmla="*/ 138 h 192"/>
                <a:gd name="T70" fmla="*/ 95 w 126"/>
                <a:gd name="T71" fmla="*/ 131 h 192"/>
                <a:gd name="T72" fmla="*/ 93 w 126"/>
                <a:gd name="T73" fmla="*/ 119 h 192"/>
                <a:gd name="T74" fmla="*/ 86 w 126"/>
                <a:gd name="T75" fmla="*/ 108 h 192"/>
                <a:gd name="T76" fmla="*/ 77 w 126"/>
                <a:gd name="T77" fmla="*/ 102 h 192"/>
                <a:gd name="T78" fmla="*/ 63 w 126"/>
                <a:gd name="T79" fmla="*/ 99 h 192"/>
                <a:gd name="T80" fmla="*/ 31 w 126"/>
                <a:gd name="T81" fmla="*/ 16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92">
                  <a:moveTo>
                    <a:pt x="96" y="82"/>
                  </a:moveTo>
                  <a:lnTo>
                    <a:pt x="96" y="82"/>
                  </a:lnTo>
                  <a:lnTo>
                    <a:pt x="102" y="86"/>
                  </a:lnTo>
                  <a:lnTo>
                    <a:pt x="106" y="90"/>
                  </a:lnTo>
                  <a:lnTo>
                    <a:pt x="112" y="95"/>
                  </a:lnTo>
                  <a:lnTo>
                    <a:pt x="117" y="100"/>
                  </a:lnTo>
                  <a:lnTo>
                    <a:pt x="120" y="107"/>
                  </a:lnTo>
                  <a:lnTo>
                    <a:pt x="122" y="115"/>
                  </a:lnTo>
                  <a:lnTo>
                    <a:pt x="125" y="122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5" y="144"/>
                  </a:lnTo>
                  <a:lnTo>
                    <a:pt x="120" y="155"/>
                  </a:lnTo>
                  <a:lnTo>
                    <a:pt x="114" y="166"/>
                  </a:lnTo>
                  <a:lnTo>
                    <a:pt x="108" y="175"/>
                  </a:lnTo>
                  <a:lnTo>
                    <a:pt x="98" y="182"/>
                  </a:lnTo>
                  <a:lnTo>
                    <a:pt x="88" y="188"/>
                  </a:lnTo>
                  <a:lnTo>
                    <a:pt x="77" y="191"/>
                  </a:lnTo>
                  <a:lnTo>
                    <a:pt x="64" y="192"/>
                  </a:lnTo>
                  <a:lnTo>
                    <a:pt x="0" y="192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74" y="1"/>
                  </a:lnTo>
                  <a:lnTo>
                    <a:pt x="84" y="3"/>
                  </a:lnTo>
                  <a:lnTo>
                    <a:pt x="93" y="8"/>
                  </a:lnTo>
                  <a:lnTo>
                    <a:pt x="100" y="13"/>
                  </a:lnTo>
                  <a:lnTo>
                    <a:pt x="106" y="21"/>
                  </a:lnTo>
                  <a:lnTo>
                    <a:pt x="110" y="29"/>
                  </a:lnTo>
                  <a:lnTo>
                    <a:pt x="113" y="39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6"/>
                  </a:lnTo>
                  <a:lnTo>
                    <a:pt x="112" y="60"/>
                  </a:lnTo>
                  <a:lnTo>
                    <a:pt x="109" y="69"/>
                  </a:lnTo>
                  <a:lnTo>
                    <a:pt x="103" y="78"/>
                  </a:lnTo>
                  <a:lnTo>
                    <a:pt x="96" y="82"/>
                  </a:lnTo>
                  <a:lnTo>
                    <a:pt x="96" y="82"/>
                  </a:lnTo>
                  <a:close/>
                  <a:moveTo>
                    <a:pt x="31" y="71"/>
                  </a:moveTo>
                  <a:lnTo>
                    <a:pt x="63" y="71"/>
                  </a:lnTo>
                  <a:lnTo>
                    <a:pt x="63" y="71"/>
                  </a:lnTo>
                  <a:lnTo>
                    <a:pt x="68" y="69"/>
                  </a:lnTo>
                  <a:lnTo>
                    <a:pt x="71" y="68"/>
                  </a:lnTo>
                  <a:lnTo>
                    <a:pt x="76" y="67"/>
                  </a:lnTo>
                  <a:lnTo>
                    <a:pt x="78" y="65"/>
                  </a:lnTo>
                  <a:lnTo>
                    <a:pt x="80" y="61"/>
                  </a:lnTo>
                  <a:lnTo>
                    <a:pt x="82" y="58"/>
                  </a:lnTo>
                  <a:lnTo>
                    <a:pt x="84" y="55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45"/>
                  </a:lnTo>
                  <a:lnTo>
                    <a:pt x="82" y="41"/>
                  </a:lnTo>
                  <a:lnTo>
                    <a:pt x="80" y="37"/>
                  </a:lnTo>
                  <a:lnTo>
                    <a:pt x="78" y="35"/>
                  </a:lnTo>
                  <a:lnTo>
                    <a:pt x="76" y="32"/>
                  </a:lnTo>
                  <a:lnTo>
                    <a:pt x="71" y="31"/>
                  </a:lnTo>
                  <a:lnTo>
                    <a:pt x="68" y="29"/>
                  </a:lnTo>
                  <a:lnTo>
                    <a:pt x="63" y="29"/>
                  </a:lnTo>
                  <a:lnTo>
                    <a:pt x="31" y="29"/>
                  </a:lnTo>
                  <a:lnTo>
                    <a:pt x="31" y="71"/>
                  </a:lnTo>
                  <a:close/>
                  <a:moveTo>
                    <a:pt x="31" y="163"/>
                  </a:moveTo>
                  <a:lnTo>
                    <a:pt x="63" y="163"/>
                  </a:lnTo>
                  <a:lnTo>
                    <a:pt x="63" y="163"/>
                  </a:lnTo>
                  <a:lnTo>
                    <a:pt x="70" y="162"/>
                  </a:lnTo>
                  <a:lnTo>
                    <a:pt x="77" y="161"/>
                  </a:lnTo>
                  <a:lnTo>
                    <a:pt x="81" y="158"/>
                  </a:lnTo>
                  <a:lnTo>
                    <a:pt x="86" y="154"/>
                  </a:lnTo>
                  <a:lnTo>
                    <a:pt x="90" y="150"/>
                  </a:lnTo>
                  <a:lnTo>
                    <a:pt x="93" y="144"/>
                  </a:lnTo>
                  <a:lnTo>
                    <a:pt x="94" y="138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4" y="124"/>
                  </a:lnTo>
                  <a:lnTo>
                    <a:pt x="93" y="119"/>
                  </a:lnTo>
                  <a:lnTo>
                    <a:pt x="90" y="113"/>
                  </a:lnTo>
                  <a:lnTo>
                    <a:pt x="86" y="108"/>
                  </a:lnTo>
                  <a:lnTo>
                    <a:pt x="81" y="104"/>
                  </a:lnTo>
                  <a:lnTo>
                    <a:pt x="77" y="102"/>
                  </a:lnTo>
                  <a:lnTo>
                    <a:pt x="70" y="100"/>
                  </a:lnTo>
                  <a:lnTo>
                    <a:pt x="63" y="99"/>
                  </a:lnTo>
                  <a:lnTo>
                    <a:pt x="31" y="99"/>
                  </a:lnTo>
                  <a:lnTo>
                    <a:pt x="31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538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2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82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"/>
            <p:cNvSpPr>
              <a:spLocks/>
            </p:cNvSpPr>
            <p:nvPr userDrawn="1"/>
          </p:nvSpPr>
          <p:spPr bwMode="auto">
            <a:xfrm>
              <a:off x="594" y="3756"/>
              <a:ext cx="10" cy="66"/>
            </a:xfrm>
            <a:custGeom>
              <a:avLst/>
              <a:gdLst>
                <a:gd name="T0" fmla="*/ 0 w 31"/>
                <a:gd name="T1" fmla="*/ 4 h 196"/>
                <a:gd name="T2" fmla="*/ 31 w 31"/>
                <a:gd name="T3" fmla="*/ 0 h 196"/>
                <a:gd name="T4" fmla="*/ 31 w 31"/>
                <a:gd name="T5" fmla="*/ 196 h 196"/>
                <a:gd name="T6" fmla="*/ 0 w 31"/>
                <a:gd name="T7" fmla="*/ 196 h 196"/>
                <a:gd name="T8" fmla="*/ 0 w 31"/>
                <a:gd name="T9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6">
                  <a:moveTo>
                    <a:pt x="0" y="4"/>
                  </a:moveTo>
                  <a:lnTo>
                    <a:pt x="31" y="0"/>
                  </a:lnTo>
                  <a:lnTo>
                    <a:pt x="31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"/>
            <p:cNvSpPr>
              <a:spLocks noEditPoints="1"/>
            </p:cNvSpPr>
            <p:nvPr userDrawn="1"/>
          </p:nvSpPr>
          <p:spPr bwMode="auto">
            <a:xfrm>
              <a:off x="612" y="3775"/>
              <a:ext cx="43" cy="70"/>
            </a:xfrm>
            <a:custGeom>
              <a:avLst/>
              <a:gdLst>
                <a:gd name="T0" fmla="*/ 70 w 129"/>
                <a:gd name="T1" fmla="*/ 0 h 209"/>
                <a:gd name="T2" fmla="*/ 91 w 129"/>
                <a:gd name="T3" fmla="*/ 8 h 209"/>
                <a:gd name="T4" fmla="*/ 121 w 129"/>
                <a:gd name="T5" fmla="*/ 55 h 209"/>
                <a:gd name="T6" fmla="*/ 116 w 129"/>
                <a:gd name="T7" fmla="*/ 78 h 209"/>
                <a:gd name="T8" fmla="*/ 102 w 129"/>
                <a:gd name="T9" fmla="*/ 96 h 209"/>
                <a:gd name="T10" fmla="*/ 117 w 129"/>
                <a:gd name="T11" fmla="*/ 112 h 209"/>
                <a:gd name="T12" fmla="*/ 126 w 129"/>
                <a:gd name="T13" fmla="*/ 131 h 209"/>
                <a:gd name="T14" fmla="*/ 129 w 129"/>
                <a:gd name="T15" fmla="*/ 146 h 209"/>
                <a:gd name="T16" fmla="*/ 117 w 129"/>
                <a:gd name="T17" fmla="*/ 183 h 209"/>
                <a:gd name="T18" fmla="*/ 90 w 129"/>
                <a:gd name="T19" fmla="*/ 204 h 209"/>
                <a:gd name="T20" fmla="*/ 65 w 129"/>
                <a:gd name="T21" fmla="*/ 209 h 209"/>
                <a:gd name="T22" fmla="*/ 30 w 129"/>
                <a:gd name="T23" fmla="*/ 201 h 209"/>
                <a:gd name="T24" fmla="*/ 8 w 129"/>
                <a:gd name="T25" fmla="*/ 178 h 209"/>
                <a:gd name="T26" fmla="*/ 31 w 129"/>
                <a:gd name="T27" fmla="*/ 157 h 209"/>
                <a:gd name="T28" fmla="*/ 36 w 129"/>
                <a:gd name="T29" fmla="*/ 167 h 209"/>
                <a:gd name="T30" fmla="*/ 46 w 129"/>
                <a:gd name="T31" fmla="*/ 177 h 209"/>
                <a:gd name="T32" fmla="*/ 65 w 129"/>
                <a:gd name="T33" fmla="*/ 180 h 209"/>
                <a:gd name="T34" fmla="*/ 78 w 129"/>
                <a:gd name="T35" fmla="*/ 178 h 209"/>
                <a:gd name="T36" fmla="*/ 92 w 129"/>
                <a:gd name="T37" fmla="*/ 167 h 209"/>
                <a:gd name="T38" fmla="*/ 98 w 129"/>
                <a:gd name="T39" fmla="*/ 146 h 209"/>
                <a:gd name="T40" fmla="*/ 95 w 129"/>
                <a:gd name="T41" fmla="*/ 132 h 209"/>
                <a:gd name="T42" fmla="*/ 84 w 129"/>
                <a:gd name="T43" fmla="*/ 117 h 209"/>
                <a:gd name="T44" fmla="*/ 65 w 129"/>
                <a:gd name="T45" fmla="*/ 112 h 209"/>
                <a:gd name="T46" fmla="*/ 54 w 129"/>
                <a:gd name="T47" fmla="*/ 113 h 209"/>
                <a:gd name="T48" fmla="*/ 34 w 129"/>
                <a:gd name="T49" fmla="*/ 130 h 209"/>
                <a:gd name="T50" fmla="*/ 18 w 129"/>
                <a:gd name="T51" fmla="*/ 101 h 209"/>
                <a:gd name="T52" fmla="*/ 18 w 129"/>
                <a:gd name="T53" fmla="*/ 88 h 209"/>
                <a:gd name="T54" fmla="*/ 7 w 129"/>
                <a:gd name="T55" fmla="*/ 55 h 209"/>
                <a:gd name="T56" fmla="*/ 11 w 129"/>
                <a:gd name="T57" fmla="*/ 34 h 209"/>
                <a:gd name="T58" fmla="*/ 30 w 129"/>
                <a:gd name="T59" fmla="*/ 10 h 209"/>
                <a:gd name="T60" fmla="*/ 62 w 129"/>
                <a:gd name="T61" fmla="*/ 0 h 209"/>
                <a:gd name="T62" fmla="*/ 65 w 129"/>
                <a:gd name="T63" fmla="*/ 83 h 209"/>
                <a:gd name="T64" fmla="*/ 79 w 129"/>
                <a:gd name="T65" fmla="*/ 78 h 209"/>
                <a:gd name="T66" fmla="*/ 89 w 129"/>
                <a:gd name="T67" fmla="*/ 67 h 209"/>
                <a:gd name="T68" fmla="*/ 91 w 129"/>
                <a:gd name="T69" fmla="*/ 55 h 209"/>
                <a:gd name="T70" fmla="*/ 86 w 129"/>
                <a:gd name="T71" fmla="*/ 41 h 209"/>
                <a:gd name="T72" fmla="*/ 75 w 129"/>
                <a:gd name="T73" fmla="*/ 30 h 209"/>
                <a:gd name="T74" fmla="*/ 65 w 129"/>
                <a:gd name="T75" fmla="*/ 29 h 209"/>
                <a:gd name="T76" fmla="*/ 49 w 129"/>
                <a:gd name="T77" fmla="*/ 33 h 209"/>
                <a:gd name="T78" fmla="*/ 39 w 129"/>
                <a:gd name="T79" fmla="*/ 45 h 209"/>
                <a:gd name="T80" fmla="*/ 37 w 129"/>
                <a:gd name="T81" fmla="*/ 55 h 209"/>
                <a:gd name="T82" fmla="*/ 42 w 129"/>
                <a:gd name="T83" fmla="*/ 71 h 209"/>
                <a:gd name="T84" fmla="*/ 53 w 129"/>
                <a:gd name="T85" fmla="*/ 81 h 209"/>
                <a:gd name="T86" fmla="*/ 65 w 129"/>
                <a:gd name="T87" fmla="*/ 8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9" h="209">
                  <a:moveTo>
                    <a:pt x="62" y="0"/>
                  </a:moveTo>
                  <a:lnTo>
                    <a:pt x="62" y="0"/>
                  </a:lnTo>
                  <a:lnTo>
                    <a:pt x="70" y="0"/>
                  </a:lnTo>
                  <a:lnTo>
                    <a:pt x="77" y="2"/>
                  </a:lnTo>
                  <a:lnTo>
                    <a:pt x="84" y="5"/>
                  </a:lnTo>
                  <a:lnTo>
                    <a:pt x="91" y="8"/>
                  </a:lnTo>
                  <a:lnTo>
                    <a:pt x="91" y="2"/>
                  </a:lnTo>
                  <a:lnTo>
                    <a:pt x="121" y="2"/>
                  </a:lnTo>
                  <a:lnTo>
                    <a:pt x="121" y="55"/>
                  </a:lnTo>
                  <a:lnTo>
                    <a:pt x="121" y="55"/>
                  </a:lnTo>
                  <a:lnTo>
                    <a:pt x="120" y="68"/>
                  </a:lnTo>
                  <a:lnTo>
                    <a:pt x="116" y="78"/>
                  </a:lnTo>
                  <a:lnTo>
                    <a:pt x="110" y="88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08" y="100"/>
                  </a:lnTo>
                  <a:lnTo>
                    <a:pt x="113" y="106"/>
                  </a:lnTo>
                  <a:lnTo>
                    <a:pt x="117" y="112"/>
                  </a:lnTo>
                  <a:lnTo>
                    <a:pt x="122" y="117"/>
                  </a:lnTo>
                  <a:lnTo>
                    <a:pt x="124" y="124"/>
                  </a:lnTo>
                  <a:lnTo>
                    <a:pt x="126" y="131"/>
                  </a:lnTo>
                  <a:lnTo>
                    <a:pt x="128" y="138"/>
                  </a:lnTo>
                  <a:lnTo>
                    <a:pt x="129" y="146"/>
                  </a:lnTo>
                  <a:lnTo>
                    <a:pt x="129" y="146"/>
                  </a:lnTo>
                  <a:lnTo>
                    <a:pt x="126" y="160"/>
                  </a:lnTo>
                  <a:lnTo>
                    <a:pt x="123" y="172"/>
                  </a:lnTo>
                  <a:lnTo>
                    <a:pt x="117" y="183"/>
                  </a:lnTo>
                  <a:lnTo>
                    <a:pt x="109" y="192"/>
                  </a:lnTo>
                  <a:lnTo>
                    <a:pt x="100" y="200"/>
                  </a:lnTo>
                  <a:lnTo>
                    <a:pt x="90" y="204"/>
                  </a:lnTo>
                  <a:lnTo>
                    <a:pt x="77" y="208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52" y="208"/>
                  </a:lnTo>
                  <a:lnTo>
                    <a:pt x="40" y="206"/>
                  </a:lnTo>
                  <a:lnTo>
                    <a:pt x="30" y="201"/>
                  </a:lnTo>
                  <a:lnTo>
                    <a:pt x="21" y="195"/>
                  </a:lnTo>
                  <a:lnTo>
                    <a:pt x="14" y="187"/>
                  </a:lnTo>
                  <a:lnTo>
                    <a:pt x="8" y="178"/>
                  </a:lnTo>
                  <a:lnTo>
                    <a:pt x="3" y="168"/>
                  </a:lnTo>
                  <a:lnTo>
                    <a:pt x="0" y="157"/>
                  </a:lnTo>
                  <a:lnTo>
                    <a:pt x="31" y="157"/>
                  </a:lnTo>
                  <a:lnTo>
                    <a:pt x="31" y="157"/>
                  </a:lnTo>
                  <a:lnTo>
                    <a:pt x="34" y="162"/>
                  </a:lnTo>
                  <a:lnTo>
                    <a:pt x="36" y="167"/>
                  </a:lnTo>
                  <a:lnTo>
                    <a:pt x="39" y="170"/>
                  </a:lnTo>
                  <a:lnTo>
                    <a:pt x="43" y="173"/>
                  </a:lnTo>
                  <a:lnTo>
                    <a:pt x="46" y="177"/>
                  </a:lnTo>
                  <a:lnTo>
                    <a:pt x="52" y="179"/>
                  </a:lnTo>
                  <a:lnTo>
                    <a:pt x="58" y="180"/>
                  </a:lnTo>
                  <a:lnTo>
                    <a:pt x="65" y="180"/>
                  </a:lnTo>
                  <a:lnTo>
                    <a:pt x="65" y="180"/>
                  </a:lnTo>
                  <a:lnTo>
                    <a:pt x="71" y="180"/>
                  </a:lnTo>
                  <a:lnTo>
                    <a:pt x="78" y="178"/>
                  </a:lnTo>
                  <a:lnTo>
                    <a:pt x="84" y="176"/>
                  </a:lnTo>
                  <a:lnTo>
                    <a:pt x="89" y="171"/>
                  </a:lnTo>
                  <a:lnTo>
                    <a:pt x="92" y="167"/>
                  </a:lnTo>
                  <a:lnTo>
                    <a:pt x="95" y="160"/>
                  </a:lnTo>
                  <a:lnTo>
                    <a:pt x="97" y="153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7" y="139"/>
                  </a:lnTo>
                  <a:lnTo>
                    <a:pt x="95" y="132"/>
                  </a:lnTo>
                  <a:lnTo>
                    <a:pt x="92" y="126"/>
                  </a:lnTo>
                  <a:lnTo>
                    <a:pt x="89" y="121"/>
                  </a:lnTo>
                  <a:lnTo>
                    <a:pt x="84" y="117"/>
                  </a:lnTo>
                  <a:lnTo>
                    <a:pt x="78" y="114"/>
                  </a:lnTo>
                  <a:lnTo>
                    <a:pt x="71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59" y="112"/>
                  </a:lnTo>
                  <a:lnTo>
                    <a:pt x="54" y="113"/>
                  </a:lnTo>
                  <a:lnTo>
                    <a:pt x="46" y="116"/>
                  </a:lnTo>
                  <a:lnTo>
                    <a:pt x="39" y="122"/>
                  </a:lnTo>
                  <a:lnTo>
                    <a:pt x="34" y="13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8" y="101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18" y="88"/>
                  </a:lnTo>
                  <a:lnTo>
                    <a:pt x="12" y="78"/>
                  </a:lnTo>
                  <a:lnTo>
                    <a:pt x="8" y="68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45"/>
                  </a:lnTo>
                  <a:lnTo>
                    <a:pt x="11" y="34"/>
                  </a:lnTo>
                  <a:lnTo>
                    <a:pt x="16" y="25"/>
                  </a:lnTo>
                  <a:lnTo>
                    <a:pt x="22" y="16"/>
                  </a:lnTo>
                  <a:lnTo>
                    <a:pt x="30" y="10"/>
                  </a:lnTo>
                  <a:lnTo>
                    <a:pt x="40" y="5"/>
                  </a:lnTo>
                  <a:lnTo>
                    <a:pt x="51" y="2"/>
                  </a:lnTo>
                  <a:lnTo>
                    <a:pt x="62" y="0"/>
                  </a:lnTo>
                  <a:lnTo>
                    <a:pt x="62" y="0"/>
                  </a:lnTo>
                  <a:close/>
                  <a:moveTo>
                    <a:pt x="65" y="83"/>
                  </a:moveTo>
                  <a:lnTo>
                    <a:pt x="65" y="83"/>
                  </a:lnTo>
                  <a:lnTo>
                    <a:pt x="69" y="82"/>
                  </a:lnTo>
                  <a:lnTo>
                    <a:pt x="75" y="81"/>
                  </a:lnTo>
                  <a:lnTo>
                    <a:pt x="79" y="78"/>
                  </a:lnTo>
                  <a:lnTo>
                    <a:pt x="83" y="75"/>
                  </a:lnTo>
                  <a:lnTo>
                    <a:pt x="86" y="71"/>
                  </a:lnTo>
                  <a:lnTo>
                    <a:pt x="89" y="67"/>
                  </a:lnTo>
                  <a:lnTo>
                    <a:pt x="90" y="62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90" y="50"/>
                  </a:lnTo>
                  <a:lnTo>
                    <a:pt x="89" y="45"/>
                  </a:lnTo>
                  <a:lnTo>
                    <a:pt x="86" y="41"/>
                  </a:lnTo>
                  <a:lnTo>
                    <a:pt x="83" y="36"/>
                  </a:lnTo>
                  <a:lnTo>
                    <a:pt x="79" y="33"/>
                  </a:lnTo>
                  <a:lnTo>
                    <a:pt x="75" y="30"/>
                  </a:lnTo>
                  <a:lnTo>
                    <a:pt x="69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59" y="29"/>
                  </a:lnTo>
                  <a:lnTo>
                    <a:pt x="53" y="30"/>
                  </a:lnTo>
                  <a:lnTo>
                    <a:pt x="49" y="33"/>
                  </a:lnTo>
                  <a:lnTo>
                    <a:pt x="45" y="36"/>
                  </a:lnTo>
                  <a:lnTo>
                    <a:pt x="42" y="41"/>
                  </a:lnTo>
                  <a:lnTo>
                    <a:pt x="39" y="45"/>
                  </a:lnTo>
                  <a:lnTo>
                    <a:pt x="38" y="50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8" y="62"/>
                  </a:lnTo>
                  <a:lnTo>
                    <a:pt x="39" y="67"/>
                  </a:lnTo>
                  <a:lnTo>
                    <a:pt x="42" y="71"/>
                  </a:lnTo>
                  <a:lnTo>
                    <a:pt x="45" y="75"/>
                  </a:lnTo>
                  <a:lnTo>
                    <a:pt x="49" y="78"/>
                  </a:lnTo>
                  <a:lnTo>
                    <a:pt x="53" y="81"/>
                  </a:lnTo>
                  <a:lnTo>
                    <a:pt x="59" y="82"/>
                  </a:lnTo>
                  <a:lnTo>
                    <a:pt x="65" y="83"/>
                  </a:lnTo>
                  <a:lnTo>
                    <a:pt x="65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/>
            <p:cNvSpPr>
              <a:spLocks noEditPoints="1"/>
            </p:cNvSpPr>
            <p:nvPr userDrawn="1"/>
          </p:nvSpPr>
          <p:spPr bwMode="auto">
            <a:xfrm>
              <a:off x="664" y="3757"/>
              <a:ext cx="13" cy="65"/>
            </a:xfrm>
            <a:custGeom>
              <a:avLst/>
              <a:gdLst>
                <a:gd name="T0" fmla="*/ 21 w 40"/>
                <a:gd name="T1" fmla="*/ 0 h 194"/>
                <a:gd name="T2" fmla="*/ 21 w 40"/>
                <a:gd name="T3" fmla="*/ 0 h 194"/>
                <a:gd name="T4" fmla="*/ 24 w 40"/>
                <a:gd name="T5" fmla="*/ 0 h 194"/>
                <a:gd name="T6" fmla="*/ 28 w 40"/>
                <a:gd name="T7" fmla="*/ 2 h 194"/>
                <a:gd name="T8" fmla="*/ 31 w 40"/>
                <a:gd name="T9" fmla="*/ 4 h 194"/>
                <a:gd name="T10" fmla="*/ 34 w 40"/>
                <a:gd name="T11" fmla="*/ 6 h 194"/>
                <a:gd name="T12" fmla="*/ 37 w 40"/>
                <a:gd name="T13" fmla="*/ 10 h 194"/>
                <a:gd name="T14" fmla="*/ 39 w 40"/>
                <a:gd name="T15" fmla="*/ 13 h 194"/>
                <a:gd name="T16" fmla="*/ 40 w 40"/>
                <a:gd name="T17" fmla="*/ 16 h 194"/>
                <a:gd name="T18" fmla="*/ 40 w 40"/>
                <a:gd name="T19" fmla="*/ 21 h 194"/>
                <a:gd name="T20" fmla="*/ 40 w 40"/>
                <a:gd name="T21" fmla="*/ 21 h 194"/>
                <a:gd name="T22" fmla="*/ 40 w 40"/>
                <a:gd name="T23" fmla="*/ 26 h 194"/>
                <a:gd name="T24" fmla="*/ 39 w 40"/>
                <a:gd name="T25" fmla="*/ 29 h 194"/>
                <a:gd name="T26" fmla="*/ 37 w 40"/>
                <a:gd name="T27" fmla="*/ 33 h 194"/>
                <a:gd name="T28" fmla="*/ 34 w 40"/>
                <a:gd name="T29" fmla="*/ 36 h 194"/>
                <a:gd name="T30" fmla="*/ 31 w 40"/>
                <a:gd name="T31" fmla="*/ 38 h 194"/>
                <a:gd name="T32" fmla="*/ 28 w 40"/>
                <a:gd name="T33" fmla="*/ 39 h 194"/>
                <a:gd name="T34" fmla="*/ 24 w 40"/>
                <a:gd name="T35" fmla="*/ 41 h 194"/>
                <a:gd name="T36" fmla="*/ 21 w 40"/>
                <a:gd name="T37" fmla="*/ 42 h 194"/>
                <a:gd name="T38" fmla="*/ 21 w 40"/>
                <a:gd name="T39" fmla="*/ 42 h 194"/>
                <a:gd name="T40" fmla="*/ 16 w 40"/>
                <a:gd name="T41" fmla="*/ 41 h 194"/>
                <a:gd name="T42" fmla="*/ 13 w 40"/>
                <a:gd name="T43" fmla="*/ 39 h 194"/>
                <a:gd name="T44" fmla="*/ 9 w 40"/>
                <a:gd name="T45" fmla="*/ 38 h 194"/>
                <a:gd name="T46" fmla="*/ 6 w 40"/>
                <a:gd name="T47" fmla="*/ 36 h 194"/>
                <a:gd name="T48" fmla="*/ 3 w 40"/>
                <a:gd name="T49" fmla="*/ 33 h 194"/>
                <a:gd name="T50" fmla="*/ 1 w 40"/>
                <a:gd name="T51" fmla="*/ 29 h 194"/>
                <a:gd name="T52" fmla="*/ 0 w 40"/>
                <a:gd name="T53" fmla="*/ 26 h 194"/>
                <a:gd name="T54" fmla="*/ 0 w 40"/>
                <a:gd name="T55" fmla="*/ 21 h 194"/>
                <a:gd name="T56" fmla="*/ 0 w 40"/>
                <a:gd name="T57" fmla="*/ 21 h 194"/>
                <a:gd name="T58" fmla="*/ 0 w 40"/>
                <a:gd name="T59" fmla="*/ 16 h 194"/>
                <a:gd name="T60" fmla="*/ 1 w 40"/>
                <a:gd name="T61" fmla="*/ 13 h 194"/>
                <a:gd name="T62" fmla="*/ 3 w 40"/>
                <a:gd name="T63" fmla="*/ 10 h 194"/>
                <a:gd name="T64" fmla="*/ 6 w 40"/>
                <a:gd name="T65" fmla="*/ 6 h 194"/>
                <a:gd name="T66" fmla="*/ 9 w 40"/>
                <a:gd name="T67" fmla="*/ 4 h 194"/>
                <a:gd name="T68" fmla="*/ 13 w 40"/>
                <a:gd name="T69" fmla="*/ 2 h 194"/>
                <a:gd name="T70" fmla="*/ 16 w 40"/>
                <a:gd name="T71" fmla="*/ 0 h 194"/>
                <a:gd name="T72" fmla="*/ 21 w 40"/>
                <a:gd name="T73" fmla="*/ 0 h 194"/>
                <a:gd name="T74" fmla="*/ 21 w 40"/>
                <a:gd name="T75" fmla="*/ 0 h 194"/>
                <a:gd name="T76" fmla="*/ 5 w 40"/>
                <a:gd name="T77" fmla="*/ 57 h 194"/>
                <a:gd name="T78" fmla="*/ 36 w 40"/>
                <a:gd name="T79" fmla="*/ 57 h 194"/>
                <a:gd name="T80" fmla="*/ 36 w 40"/>
                <a:gd name="T81" fmla="*/ 194 h 194"/>
                <a:gd name="T82" fmla="*/ 5 w 40"/>
                <a:gd name="T83" fmla="*/ 194 h 194"/>
                <a:gd name="T84" fmla="*/ 5 w 40"/>
                <a:gd name="T85" fmla="*/ 5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" h="194">
                  <a:moveTo>
                    <a:pt x="21" y="0"/>
                  </a:moveTo>
                  <a:lnTo>
                    <a:pt x="21" y="0"/>
                  </a:lnTo>
                  <a:lnTo>
                    <a:pt x="24" y="0"/>
                  </a:lnTo>
                  <a:lnTo>
                    <a:pt x="28" y="2"/>
                  </a:lnTo>
                  <a:lnTo>
                    <a:pt x="31" y="4"/>
                  </a:lnTo>
                  <a:lnTo>
                    <a:pt x="34" y="6"/>
                  </a:lnTo>
                  <a:lnTo>
                    <a:pt x="37" y="10"/>
                  </a:lnTo>
                  <a:lnTo>
                    <a:pt x="39" y="13"/>
                  </a:lnTo>
                  <a:lnTo>
                    <a:pt x="40" y="16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6"/>
                  </a:lnTo>
                  <a:lnTo>
                    <a:pt x="39" y="29"/>
                  </a:lnTo>
                  <a:lnTo>
                    <a:pt x="37" y="33"/>
                  </a:lnTo>
                  <a:lnTo>
                    <a:pt x="34" y="36"/>
                  </a:lnTo>
                  <a:lnTo>
                    <a:pt x="31" y="38"/>
                  </a:lnTo>
                  <a:lnTo>
                    <a:pt x="28" y="39"/>
                  </a:lnTo>
                  <a:lnTo>
                    <a:pt x="24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6" y="41"/>
                  </a:lnTo>
                  <a:lnTo>
                    <a:pt x="13" y="39"/>
                  </a:lnTo>
                  <a:lnTo>
                    <a:pt x="9" y="38"/>
                  </a:lnTo>
                  <a:lnTo>
                    <a:pt x="6" y="36"/>
                  </a:lnTo>
                  <a:lnTo>
                    <a:pt x="3" y="33"/>
                  </a:lnTo>
                  <a:lnTo>
                    <a:pt x="1" y="29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5" y="57"/>
                  </a:moveTo>
                  <a:lnTo>
                    <a:pt x="36" y="57"/>
                  </a:lnTo>
                  <a:lnTo>
                    <a:pt x="36" y="194"/>
                  </a:lnTo>
                  <a:lnTo>
                    <a:pt x="5" y="194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684" y="3775"/>
              <a:ext cx="47" cy="47"/>
            </a:xfrm>
            <a:custGeom>
              <a:avLst/>
              <a:gdLst>
                <a:gd name="T0" fmla="*/ 139 w 139"/>
                <a:gd name="T1" fmla="*/ 139 h 140"/>
                <a:gd name="T2" fmla="*/ 109 w 139"/>
                <a:gd name="T3" fmla="*/ 125 h 140"/>
                <a:gd name="T4" fmla="*/ 102 w 139"/>
                <a:gd name="T5" fmla="*/ 130 h 140"/>
                <a:gd name="T6" fmla="*/ 82 w 139"/>
                <a:gd name="T7" fmla="*/ 139 h 140"/>
                <a:gd name="T8" fmla="*/ 69 w 139"/>
                <a:gd name="T9" fmla="*/ 140 h 140"/>
                <a:gd name="T10" fmla="*/ 55 w 139"/>
                <a:gd name="T11" fmla="*/ 139 h 140"/>
                <a:gd name="T12" fmla="*/ 30 w 139"/>
                <a:gd name="T13" fmla="*/ 130 h 140"/>
                <a:gd name="T14" fmla="*/ 11 w 139"/>
                <a:gd name="T15" fmla="*/ 110 h 140"/>
                <a:gd name="T16" fmla="*/ 3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6 w 139"/>
                <a:gd name="T25" fmla="*/ 42 h 140"/>
                <a:gd name="T26" fmla="*/ 19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9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3 w 139"/>
                <a:gd name="T47" fmla="*/ 54 h 140"/>
                <a:gd name="T48" fmla="*/ 30 w 139"/>
                <a:gd name="T49" fmla="*/ 70 h 140"/>
                <a:gd name="T50" fmla="*/ 31 w 139"/>
                <a:gd name="T51" fmla="*/ 78 h 140"/>
                <a:gd name="T52" fmla="*/ 37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6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10 w 139"/>
                <a:gd name="T67" fmla="*/ 70 h 140"/>
                <a:gd name="T68" fmla="*/ 109 w 139"/>
                <a:gd name="T69" fmla="*/ 62 h 140"/>
                <a:gd name="T70" fmla="*/ 103 w 139"/>
                <a:gd name="T71" fmla="*/ 47 h 140"/>
                <a:gd name="T72" fmla="*/ 93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9" y="139"/>
                  </a:lnTo>
                  <a:lnTo>
                    <a:pt x="109" y="125"/>
                  </a:lnTo>
                  <a:lnTo>
                    <a:pt x="109" y="125"/>
                  </a:lnTo>
                  <a:lnTo>
                    <a:pt x="102" y="130"/>
                  </a:lnTo>
                  <a:lnTo>
                    <a:pt x="94" y="136"/>
                  </a:lnTo>
                  <a:lnTo>
                    <a:pt x="82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5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19" y="121"/>
                  </a:lnTo>
                  <a:lnTo>
                    <a:pt x="11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3" y="49"/>
                  </a:lnTo>
                  <a:lnTo>
                    <a:pt x="6" y="42"/>
                  </a:lnTo>
                  <a:lnTo>
                    <a:pt x="11" y="30"/>
                  </a:lnTo>
                  <a:lnTo>
                    <a:pt x="19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2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9" y="16"/>
                  </a:lnTo>
                  <a:lnTo>
                    <a:pt x="109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7" y="47"/>
                  </a:lnTo>
                  <a:lnTo>
                    <a:pt x="33" y="54"/>
                  </a:lnTo>
                  <a:lnTo>
                    <a:pt x="31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8"/>
                  </a:lnTo>
                  <a:lnTo>
                    <a:pt x="33" y="86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6" y="108"/>
                  </a:lnTo>
                  <a:lnTo>
                    <a:pt x="93" y="105"/>
                  </a:lnTo>
                  <a:lnTo>
                    <a:pt x="98" y="99"/>
                  </a:lnTo>
                  <a:lnTo>
                    <a:pt x="103" y="93"/>
                  </a:lnTo>
                  <a:lnTo>
                    <a:pt x="106" y="86"/>
                  </a:lnTo>
                  <a:lnTo>
                    <a:pt x="109" y="78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09" y="62"/>
                  </a:lnTo>
                  <a:lnTo>
                    <a:pt x="106" y="54"/>
                  </a:lnTo>
                  <a:lnTo>
                    <a:pt x="103" y="47"/>
                  </a:lnTo>
                  <a:lnTo>
                    <a:pt x="98" y="42"/>
                  </a:lnTo>
                  <a:lnTo>
                    <a:pt x="93" y="36"/>
                  </a:lnTo>
                  <a:lnTo>
                    <a:pt x="86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5"/>
            <p:cNvSpPr>
              <a:spLocks/>
            </p:cNvSpPr>
            <p:nvPr userDrawn="1"/>
          </p:nvSpPr>
          <p:spPr bwMode="auto">
            <a:xfrm>
              <a:off x="742" y="3775"/>
              <a:ext cx="40" cy="47"/>
            </a:xfrm>
            <a:custGeom>
              <a:avLst/>
              <a:gdLst>
                <a:gd name="T0" fmla="*/ 0 w 120"/>
                <a:gd name="T1" fmla="*/ 2 h 139"/>
                <a:gd name="T2" fmla="*/ 30 w 120"/>
                <a:gd name="T3" fmla="*/ 2 h 139"/>
                <a:gd name="T4" fmla="*/ 30 w 120"/>
                <a:gd name="T5" fmla="*/ 18 h 139"/>
                <a:gd name="T6" fmla="*/ 30 w 120"/>
                <a:gd name="T7" fmla="*/ 18 h 139"/>
                <a:gd name="T8" fmla="*/ 36 w 120"/>
                <a:gd name="T9" fmla="*/ 12 h 139"/>
                <a:gd name="T10" fmla="*/ 44 w 120"/>
                <a:gd name="T11" fmla="*/ 6 h 139"/>
                <a:gd name="T12" fmla="*/ 49 w 120"/>
                <a:gd name="T13" fmla="*/ 4 h 139"/>
                <a:gd name="T14" fmla="*/ 55 w 120"/>
                <a:gd name="T15" fmla="*/ 2 h 139"/>
                <a:gd name="T16" fmla="*/ 61 w 120"/>
                <a:gd name="T17" fmla="*/ 0 h 139"/>
                <a:gd name="T18" fmla="*/ 68 w 120"/>
                <a:gd name="T19" fmla="*/ 0 h 139"/>
                <a:gd name="T20" fmla="*/ 68 w 120"/>
                <a:gd name="T21" fmla="*/ 0 h 139"/>
                <a:gd name="T22" fmla="*/ 80 w 120"/>
                <a:gd name="T23" fmla="*/ 2 h 139"/>
                <a:gd name="T24" fmla="*/ 91 w 120"/>
                <a:gd name="T25" fmla="*/ 4 h 139"/>
                <a:gd name="T26" fmla="*/ 100 w 120"/>
                <a:gd name="T27" fmla="*/ 8 h 139"/>
                <a:gd name="T28" fmla="*/ 107 w 120"/>
                <a:gd name="T29" fmla="*/ 15 h 139"/>
                <a:gd name="T30" fmla="*/ 112 w 120"/>
                <a:gd name="T31" fmla="*/ 23 h 139"/>
                <a:gd name="T32" fmla="*/ 117 w 120"/>
                <a:gd name="T33" fmla="*/ 33 h 139"/>
                <a:gd name="T34" fmla="*/ 119 w 120"/>
                <a:gd name="T35" fmla="*/ 44 h 139"/>
                <a:gd name="T36" fmla="*/ 120 w 120"/>
                <a:gd name="T37" fmla="*/ 57 h 139"/>
                <a:gd name="T38" fmla="*/ 120 w 120"/>
                <a:gd name="T39" fmla="*/ 139 h 139"/>
                <a:gd name="T40" fmla="*/ 91 w 120"/>
                <a:gd name="T41" fmla="*/ 139 h 139"/>
                <a:gd name="T42" fmla="*/ 91 w 120"/>
                <a:gd name="T43" fmla="*/ 63 h 139"/>
                <a:gd name="T44" fmla="*/ 91 w 120"/>
                <a:gd name="T45" fmla="*/ 63 h 139"/>
                <a:gd name="T46" fmla="*/ 89 w 120"/>
                <a:gd name="T47" fmla="*/ 55 h 139"/>
                <a:gd name="T48" fmla="*/ 88 w 120"/>
                <a:gd name="T49" fmla="*/ 47 h 139"/>
                <a:gd name="T50" fmla="*/ 86 w 120"/>
                <a:gd name="T51" fmla="*/ 42 h 139"/>
                <a:gd name="T52" fmla="*/ 83 w 120"/>
                <a:gd name="T53" fmla="*/ 37 h 139"/>
                <a:gd name="T54" fmla="*/ 78 w 120"/>
                <a:gd name="T55" fmla="*/ 34 h 139"/>
                <a:gd name="T56" fmla="*/ 73 w 120"/>
                <a:gd name="T57" fmla="*/ 30 h 139"/>
                <a:gd name="T58" fmla="*/ 68 w 120"/>
                <a:gd name="T59" fmla="*/ 29 h 139"/>
                <a:gd name="T60" fmla="*/ 61 w 120"/>
                <a:gd name="T61" fmla="*/ 29 h 139"/>
                <a:gd name="T62" fmla="*/ 61 w 120"/>
                <a:gd name="T63" fmla="*/ 29 h 139"/>
                <a:gd name="T64" fmla="*/ 53 w 120"/>
                <a:gd name="T65" fmla="*/ 29 h 139"/>
                <a:gd name="T66" fmla="*/ 47 w 120"/>
                <a:gd name="T67" fmla="*/ 31 h 139"/>
                <a:gd name="T68" fmla="*/ 42 w 120"/>
                <a:gd name="T69" fmla="*/ 35 h 139"/>
                <a:gd name="T70" fmla="*/ 38 w 120"/>
                <a:gd name="T71" fmla="*/ 38 h 139"/>
                <a:gd name="T72" fmla="*/ 34 w 120"/>
                <a:gd name="T73" fmla="*/ 44 h 139"/>
                <a:gd name="T74" fmla="*/ 32 w 120"/>
                <a:gd name="T75" fmla="*/ 50 h 139"/>
                <a:gd name="T76" fmla="*/ 31 w 120"/>
                <a:gd name="T77" fmla="*/ 57 h 139"/>
                <a:gd name="T78" fmla="*/ 30 w 120"/>
                <a:gd name="T79" fmla="*/ 63 h 139"/>
                <a:gd name="T80" fmla="*/ 30 w 120"/>
                <a:gd name="T81" fmla="*/ 139 h 139"/>
                <a:gd name="T82" fmla="*/ 0 w 120"/>
                <a:gd name="T83" fmla="*/ 139 h 139"/>
                <a:gd name="T84" fmla="*/ 0 w 120"/>
                <a:gd name="T85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" h="139">
                  <a:moveTo>
                    <a:pt x="0" y="2"/>
                  </a:moveTo>
                  <a:lnTo>
                    <a:pt x="30" y="2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1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80" y="2"/>
                  </a:lnTo>
                  <a:lnTo>
                    <a:pt x="91" y="4"/>
                  </a:lnTo>
                  <a:lnTo>
                    <a:pt x="100" y="8"/>
                  </a:lnTo>
                  <a:lnTo>
                    <a:pt x="107" y="15"/>
                  </a:lnTo>
                  <a:lnTo>
                    <a:pt x="112" y="23"/>
                  </a:lnTo>
                  <a:lnTo>
                    <a:pt x="117" y="33"/>
                  </a:lnTo>
                  <a:lnTo>
                    <a:pt x="119" y="44"/>
                  </a:lnTo>
                  <a:lnTo>
                    <a:pt x="120" y="57"/>
                  </a:lnTo>
                  <a:lnTo>
                    <a:pt x="120" y="139"/>
                  </a:lnTo>
                  <a:lnTo>
                    <a:pt x="91" y="139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89" y="55"/>
                  </a:lnTo>
                  <a:lnTo>
                    <a:pt x="88" y="47"/>
                  </a:lnTo>
                  <a:lnTo>
                    <a:pt x="86" y="42"/>
                  </a:lnTo>
                  <a:lnTo>
                    <a:pt x="83" y="37"/>
                  </a:lnTo>
                  <a:lnTo>
                    <a:pt x="78" y="34"/>
                  </a:lnTo>
                  <a:lnTo>
                    <a:pt x="73" y="30"/>
                  </a:lnTo>
                  <a:lnTo>
                    <a:pt x="68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53" y="29"/>
                  </a:lnTo>
                  <a:lnTo>
                    <a:pt x="47" y="31"/>
                  </a:lnTo>
                  <a:lnTo>
                    <a:pt x="42" y="35"/>
                  </a:lnTo>
                  <a:lnTo>
                    <a:pt x="38" y="38"/>
                  </a:lnTo>
                  <a:lnTo>
                    <a:pt x="34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 userDrawn="1"/>
          </p:nvSpPr>
          <p:spPr bwMode="auto">
            <a:xfrm>
              <a:off x="822" y="3758"/>
              <a:ext cx="42" cy="64"/>
            </a:xfrm>
            <a:custGeom>
              <a:avLst/>
              <a:gdLst>
                <a:gd name="T0" fmla="*/ 0 w 126"/>
                <a:gd name="T1" fmla="*/ 0 h 192"/>
                <a:gd name="T2" fmla="*/ 35 w 126"/>
                <a:gd name="T3" fmla="*/ 0 h 192"/>
                <a:gd name="T4" fmla="*/ 97 w 126"/>
                <a:gd name="T5" fmla="*/ 133 h 192"/>
                <a:gd name="T6" fmla="*/ 97 w 126"/>
                <a:gd name="T7" fmla="*/ 0 h 192"/>
                <a:gd name="T8" fmla="*/ 126 w 126"/>
                <a:gd name="T9" fmla="*/ 0 h 192"/>
                <a:gd name="T10" fmla="*/ 126 w 126"/>
                <a:gd name="T11" fmla="*/ 192 h 192"/>
                <a:gd name="T12" fmla="*/ 93 w 126"/>
                <a:gd name="T13" fmla="*/ 192 h 192"/>
                <a:gd name="T14" fmla="*/ 31 w 126"/>
                <a:gd name="T15" fmla="*/ 60 h 192"/>
                <a:gd name="T16" fmla="*/ 31 w 126"/>
                <a:gd name="T17" fmla="*/ 192 h 192"/>
                <a:gd name="T18" fmla="*/ 0 w 126"/>
                <a:gd name="T19" fmla="*/ 192 h 192"/>
                <a:gd name="T20" fmla="*/ 0 w 126"/>
                <a:gd name="T2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92">
                  <a:moveTo>
                    <a:pt x="0" y="0"/>
                  </a:moveTo>
                  <a:lnTo>
                    <a:pt x="35" y="0"/>
                  </a:lnTo>
                  <a:lnTo>
                    <a:pt x="97" y="133"/>
                  </a:lnTo>
                  <a:lnTo>
                    <a:pt x="97" y="0"/>
                  </a:lnTo>
                  <a:lnTo>
                    <a:pt x="126" y="0"/>
                  </a:lnTo>
                  <a:lnTo>
                    <a:pt x="126" y="192"/>
                  </a:lnTo>
                  <a:lnTo>
                    <a:pt x="93" y="192"/>
                  </a:lnTo>
                  <a:lnTo>
                    <a:pt x="31" y="60"/>
                  </a:lnTo>
                  <a:lnTo>
                    <a:pt x="31" y="192"/>
                  </a:lnTo>
                  <a:lnTo>
                    <a:pt x="0" y="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auto">
            <a:xfrm>
              <a:off x="877" y="3776"/>
              <a:ext cx="40" cy="46"/>
            </a:xfrm>
            <a:custGeom>
              <a:avLst/>
              <a:gdLst>
                <a:gd name="T0" fmla="*/ 121 w 121"/>
                <a:gd name="T1" fmla="*/ 137 h 138"/>
                <a:gd name="T2" fmla="*/ 91 w 121"/>
                <a:gd name="T3" fmla="*/ 137 h 138"/>
                <a:gd name="T4" fmla="*/ 91 w 121"/>
                <a:gd name="T5" fmla="*/ 121 h 138"/>
                <a:gd name="T6" fmla="*/ 91 w 121"/>
                <a:gd name="T7" fmla="*/ 121 h 138"/>
                <a:gd name="T8" fmla="*/ 84 w 121"/>
                <a:gd name="T9" fmla="*/ 128 h 138"/>
                <a:gd name="T10" fmla="*/ 76 w 121"/>
                <a:gd name="T11" fmla="*/ 134 h 138"/>
                <a:gd name="T12" fmla="*/ 71 w 121"/>
                <a:gd name="T13" fmla="*/ 136 h 138"/>
                <a:gd name="T14" fmla="*/ 66 w 121"/>
                <a:gd name="T15" fmla="*/ 137 h 138"/>
                <a:gd name="T16" fmla="*/ 60 w 121"/>
                <a:gd name="T17" fmla="*/ 138 h 138"/>
                <a:gd name="T18" fmla="*/ 53 w 121"/>
                <a:gd name="T19" fmla="*/ 138 h 138"/>
                <a:gd name="T20" fmla="*/ 53 w 121"/>
                <a:gd name="T21" fmla="*/ 138 h 138"/>
                <a:gd name="T22" fmla="*/ 40 w 121"/>
                <a:gd name="T23" fmla="*/ 138 h 138"/>
                <a:gd name="T24" fmla="*/ 30 w 121"/>
                <a:gd name="T25" fmla="*/ 135 h 138"/>
                <a:gd name="T26" fmla="*/ 21 w 121"/>
                <a:gd name="T27" fmla="*/ 130 h 138"/>
                <a:gd name="T28" fmla="*/ 14 w 121"/>
                <a:gd name="T29" fmla="*/ 124 h 138"/>
                <a:gd name="T30" fmla="*/ 7 w 121"/>
                <a:gd name="T31" fmla="*/ 116 h 138"/>
                <a:gd name="T32" fmla="*/ 4 w 121"/>
                <a:gd name="T33" fmla="*/ 106 h 138"/>
                <a:gd name="T34" fmla="*/ 0 w 121"/>
                <a:gd name="T35" fmla="*/ 95 h 138"/>
                <a:gd name="T36" fmla="*/ 0 w 121"/>
                <a:gd name="T37" fmla="*/ 82 h 138"/>
                <a:gd name="T38" fmla="*/ 0 w 121"/>
                <a:gd name="T39" fmla="*/ 0 h 138"/>
                <a:gd name="T40" fmla="*/ 30 w 121"/>
                <a:gd name="T41" fmla="*/ 0 h 138"/>
                <a:gd name="T42" fmla="*/ 30 w 121"/>
                <a:gd name="T43" fmla="*/ 75 h 138"/>
                <a:gd name="T44" fmla="*/ 30 w 121"/>
                <a:gd name="T45" fmla="*/ 75 h 138"/>
                <a:gd name="T46" fmla="*/ 30 w 121"/>
                <a:gd name="T47" fmla="*/ 84 h 138"/>
                <a:gd name="T48" fmla="*/ 32 w 121"/>
                <a:gd name="T49" fmla="*/ 91 h 138"/>
                <a:gd name="T50" fmla="*/ 35 w 121"/>
                <a:gd name="T51" fmla="*/ 97 h 138"/>
                <a:gd name="T52" fmla="*/ 38 w 121"/>
                <a:gd name="T53" fmla="*/ 102 h 138"/>
                <a:gd name="T54" fmla="*/ 42 w 121"/>
                <a:gd name="T55" fmla="*/ 106 h 138"/>
                <a:gd name="T56" fmla="*/ 47 w 121"/>
                <a:gd name="T57" fmla="*/ 108 h 138"/>
                <a:gd name="T58" fmla="*/ 53 w 121"/>
                <a:gd name="T59" fmla="*/ 110 h 138"/>
                <a:gd name="T60" fmla="*/ 60 w 121"/>
                <a:gd name="T61" fmla="*/ 111 h 138"/>
                <a:gd name="T62" fmla="*/ 60 w 121"/>
                <a:gd name="T63" fmla="*/ 111 h 138"/>
                <a:gd name="T64" fmla="*/ 67 w 121"/>
                <a:gd name="T65" fmla="*/ 110 h 138"/>
                <a:gd name="T66" fmla="*/ 74 w 121"/>
                <a:gd name="T67" fmla="*/ 107 h 138"/>
                <a:gd name="T68" fmla="*/ 78 w 121"/>
                <a:gd name="T69" fmla="*/ 105 h 138"/>
                <a:gd name="T70" fmla="*/ 83 w 121"/>
                <a:gd name="T71" fmla="*/ 100 h 138"/>
                <a:gd name="T72" fmla="*/ 86 w 121"/>
                <a:gd name="T73" fmla="*/ 96 h 138"/>
                <a:gd name="T74" fmla="*/ 89 w 121"/>
                <a:gd name="T75" fmla="*/ 90 h 138"/>
                <a:gd name="T76" fmla="*/ 90 w 121"/>
                <a:gd name="T77" fmla="*/ 83 h 138"/>
                <a:gd name="T78" fmla="*/ 91 w 121"/>
                <a:gd name="T79" fmla="*/ 75 h 138"/>
                <a:gd name="T80" fmla="*/ 91 w 121"/>
                <a:gd name="T81" fmla="*/ 0 h 138"/>
                <a:gd name="T82" fmla="*/ 121 w 121"/>
                <a:gd name="T83" fmla="*/ 0 h 138"/>
                <a:gd name="T84" fmla="*/ 121 w 121"/>
                <a:gd name="T85" fmla="*/ 13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38">
                  <a:moveTo>
                    <a:pt x="121" y="137"/>
                  </a:moveTo>
                  <a:lnTo>
                    <a:pt x="91" y="137"/>
                  </a:lnTo>
                  <a:lnTo>
                    <a:pt x="91" y="121"/>
                  </a:lnTo>
                  <a:lnTo>
                    <a:pt x="91" y="121"/>
                  </a:lnTo>
                  <a:lnTo>
                    <a:pt x="84" y="128"/>
                  </a:lnTo>
                  <a:lnTo>
                    <a:pt x="76" y="134"/>
                  </a:lnTo>
                  <a:lnTo>
                    <a:pt x="71" y="136"/>
                  </a:lnTo>
                  <a:lnTo>
                    <a:pt x="66" y="137"/>
                  </a:lnTo>
                  <a:lnTo>
                    <a:pt x="60" y="138"/>
                  </a:lnTo>
                  <a:lnTo>
                    <a:pt x="53" y="138"/>
                  </a:lnTo>
                  <a:lnTo>
                    <a:pt x="53" y="138"/>
                  </a:lnTo>
                  <a:lnTo>
                    <a:pt x="40" y="138"/>
                  </a:lnTo>
                  <a:lnTo>
                    <a:pt x="30" y="135"/>
                  </a:lnTo>
                  <a:lnTo>
                    <a:pt x="21" y="130"/>
                  </a:lnTo>
                  <a:lnTo>
                    <a:pt x="14" y="124"/>
                  </a:lnTo>
                  <a:lnTo>
                    <a:pt x="7" y="116"/>
                  </a:lnTo>
                  <a:lnTo>
                    <a:pt x="4" y="106"/>
                  </a:lnTo>
                  <a:lnTo>
                    <a:pt x="0" y="95"/>
                  </a:lnTo>
                  <a:lnTo>
                    <a:pt x="0" y="82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84"/>
                  </a:lnTo>
                  <a:lnTo>
                    <a:pt x="32" y="91"/>
                  </a:lnTo>
                  <a:lnTo>
                    <a:pt x="35" y="97"/>
                  </a:lnTo>
                  <a:lnTo>
                    <a:pt x="38" y="102"/>
                  </a:lnTo>
                  <a:lnTo>
                    <a:pt x="42" y="106"/>
                  </a:lnTo>
                  <a:lnTo>
                    <a:pt x="47" y="108"/>
                  </a:lnTo>
                  <a:lnTo>
                    <a:pt x="53" y="110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67" y="110"/>
                  </a:lnTo>
                  <a:lnTo>
                    <a:pt x="74" y="107"/>
                  </a:lnTo>
                  <a:lnTo>
                    <a:pt x="78" y="105"/>
                  </a:lnTo>
                  <a:lnTo>
                    <a:pt x="83" y="100"/>
                  </a:lnTo>
                  <a:lnTo>
                    <a:pt x="86" y="96"/>
                  </a:lnTo>
                  <a:lnTo>
                    <a:pt x="89" y="90"/>
                  </a:lnTo>
                  <a:lnTo>
                    <a:pt x="90" y="83"/>
                  </a:lnTo>
                  <a:lnTo>
                    <a:pt x="91" y="75"/>
                  </a:lnTo>
                  <a:lnTo>
                    <a:pt x="91" y="0"/>
                  </a:lnTo>
                  <a:lnTo>
                    <a:pt x="121" y="0"/>
                  </a:lnTo>
                  <a:lnTo>
                    <a:pt x="121" y="1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auto">
            <a:xfrm>
              <a:off x="927" y="3775"/>
              <a:ext cx="47" cy="47"/>
            </a:xfrm>
            <a:custGeom>
              <a:avLst/>
              <a:gdLst>
                <a:gd name="T0" fmla="*/ 71 w 141"/>
                <a:gd name="T1" fmla="*/ 113 h 140"/>
                <a:gd name="T2" fmla="*/ 87 w 141"/>
                <a:gd name="T3" fmla="*/ 109 h 140"/>
                <a:gd name="T4" fmla="*/ 100 w 141"/>
                <a:gd name="T5" fmla="*/ 100 h 140"/>
                <a:gd name="T6" fmla="*/ 108 w 141"/>
                <a:gd name="T7" fmla="*/ 88 h 140"/>
                <a:gd name="T8" fmla="*/ 110 w 141"/>
                <a:gd name="T9" fmla="*/ 70 h 140"/>
                <a:gd name="T10" fmla="*/ 141 w 141"/>
                <a:gd name="T11" fmla="*/ 70 h 140"/>
                <a:gd name="T12" fmla="*/ 139 w 141"/>
                <a:gd name="T13" fmla="*/ 85 h 140"/>
                <a:gd name="T14" fmla="*/ 136 w 141"/>
                <a:gd name="T15" fmla="*/ 98 h 140"/>
                <a:gd name="T16" fmla="*/ 121 w 141"/>
                <a:gd name="T17" fmla="*/ 121 h 140"/>
                <a:gd name="T18" fmla="*/ 99 w 141"/>
                <a:gd name="T19" fmla="*/ 136 h 140"/>
                <a:gd name="T20" fmla="*/ 85 w 141"/>
                <a:gd name="T21" fmla="*/ 139 h 140"/>
                <a:gd name="T22" fmla="*/ 71 w 141"/>
                <a:gd name="T23" fmla="*/ 140 h 140"/>
                <a:gd name="T24" fmla="*/ 63 w 141"/>
                <a:gd name="T25" fmla="*/ 140 h 140"/>
                <a:gd name="T26" fmla="*/ 50 w 141"/>
                <a:gd name="T27" fmla="*/ 138 h 140"/>
                <a:gd name="T28" fmla="*/ 31 w 141"/>
                <a:gd name="T29" fmla="*/ 129 h 140"/>
                <a:gd name="T30" fmla="*/ 12 w 141"/>
                <a:gd name="T31" fmla="*/ 110 h 140"/>
                <a:gd name="T32" fmla="*/ 4 w 141"/>
                <a:gd name="T33" fmla="*/ 92 h 140"/>
                <a:gd name="T34" fmla="*/ 2 w 141"/>
                <a:gd name="T35" fmla="*/ 78 h 140"/>
                <a:gd name="T36" fmla="*/ 0 w 141"/>
                <a:gd name="T37" fmla="*/ 70 h 140"/>
                <a:gd name="T38" fmla="*/ 2 w 141"/>
                <a:gd name="T39" fmla="*/ 55 h 140"/>
                <a:gd name="T40" fmla="*/ 6 w 141"/>
                <a:gd name="T41" fmla="*/ 43 h 140"/>
                <a:gd name="T42" fmla="*/ 21 w 141"/>
                <a:gd name="T43" fmla="*/ 20 h 140"/>
                <a:gd name="T44" fmla="*/ 43 w 141"/>
                <a:gd name="T45" fmla="*/ 5 h 140"/>
                <a:gd name="T46" fmla="*/ 57 w 141"/>
                <a:gd name="T47" fmla="*/ 2 h 140"/>
                <a:gd name="T48" fmla="*/ 71 w 141"/>
                <a:gd name="T49" fmla="*/ 0 h 140"/>
                <a:gd name="T50" fmla="*/ 78 w 141"/>
                <a:gd name="T51" fmla="*/ 0 h 140"/>
                <a:gd name="T52" fmla="*/ 93 w 141"/>
                <a:gd name="T53" fmla="*/ 4 h 140"/>
                <a:gd name="T54" fmla="*/ 106 w 141"/>
                <a:gd name="T55" fmla="*/ 8 h 140"/>
                <a:gd name="T56" fmla="*/ 121 w 141"/>
                <a:gd name="T57" fmla="*/ 21 h 140"/>
                <a:gd name="T58" fmla="*/ 99 w 141"/>
                <a:gd name="T59" fmla="*/ 41 h 140"/>
                <a:gd name="T60" fmla="*/ 86 w 141"/>
                <a:gd name="T61" fmla="*/ 33 h 140"/>
                <a:gd name="T62" fmla="*/ 71 w 141"/>
                <a:gd name="T63" fmla="*/ 29 h 140"/>
                <a:gd name="T64" fmla="*/ 62 w 141"/>
                <a:gd name="T65" fmla="*/ 29 h 140"/>
                <a:gd name="T66" fmla="*/ 48 w 141"/>
                <a:gd name="T67" fmla="*/ 36 h 140"/>
                <a:gd name="T68" fmla="*/ 38 w 141"/>
                <a:gd name="T69" fmla="*/ 46 h 140"/>
                <a:gd name="T70" fmla="*/ 32 w 141"/>
                <a:gd name="T71" fmla="*/ 61 h 140"/>
                <a:gd name="T72" fmla="*/ 31 w 141"/>
                <a:gd name="T73" fmla="*/ 70 h 140"/>
                <a:gd name="T74" fmla="*/ 35 w 141"/>
                <a:gd name="T75" fmla="*/ 88 h 140"/>
                <a:gd name="T76" fmla="*/ 43 w 141"/>
                <a:gd name="T77" fmla="*/ 100 h 140"/>
                <a:gd name="T78" fmla="*/ 54 w 141"/>
                <a:gd name="T79" fmla="*/ 109 h 140"/>
                <a:gd name="T80" fmla="*/ 71 w 141"/>
                <a:gd name="T81" fmla="*/ 11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0">
                  <a:moveTo>
                    <a:pt x="71" y="113"/>
                  </a:moveTo>
                  <a:lnTo>
                    <a:pt x="71" y="113"/>
                  </a:lnTo>
                  <a:lnTo>
                    <a:pt x="79" y="112"/>
                  </a:lnTo>
                  <a:lnTo>
                    <a:pt x="87" y="109"/>
                  </a:lnTo>
                  <a:lnTo>
                    <a:pt x="94" y="106"/>
                  </a:lnTo>
                  <a:lnTo>
                    <a:pt x="100" y="100"/>
                  </a:lnTo>
                  <a:lnTo>
                    <a:pt x="105" y="94"/>
                  </a:lnTo>
                  <a:lnTo>
                    <a:pt x="108" y="88"/>
                  </a:lnTo>
                  <a:lnTo>
                    <a:pt x="110" y="80"/>
                  </a:lnTo>
                  <a:lnTo>
                    <a:pt x="110" y="70"/>
                  </a:lnTo>
                  <a:lnTo>
                    <a:pt x="141" y="70"/>
                  </a:lnTo>
                  <a:lnTo>
                    <a:pt x="141" y="70"/>
                  </a:lnTo>
                  <a:lnTo>
                    <a:pt x="140" y="78"/>
                  </a:lnTo>
                  <a:lnTo>
                    <a:pt x="139" y="85"/>
                  </a:lnTo>
                  <a:lnTo>
                    <a:pt x="138" y="92"/>
                  </a:lnTo>
                  <a:lnTo>
                    <a:pt x="136" y="98"/>
                  </a:lnTo>
                  <a:lnTo>
                    <a:pt x="129" y="110"/>
                  </a:lnTo>
                  <a:lnTo>
                    <a:pt x="121" y="121"/>
                  </a:lnTo>
                  <a:lnTo>
                    <a:pt x="110" y="129"/>
                  </a:lnTo>
                  <a:lnTo>
                    <a:pt x="99" y="136"/>
                  </a:lnTo>
                  <a:lnTo>
                    <a:pt x="92" y="138"/>
                  </a:lnTo>
                  <a:lnTo>
                    <a:pt x="85" y="139"/>
                  </a:lnTo>
                  <a:lnTo>
                    <a:pt x="78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7" y="139"/>
                  </a:lnTo>
                  <a:lnTo>
                    <a:pt x="50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2" y="110"/>
                  </a:lnTo>
                  <a:lnTo>
                    <a:pt x="6" y="99"/>
                  </a:lnTo>
                  <a:lnTo>
                    <a:pt x="4" y="92"/>
                  </a:lnTo>
                  <a:lnTo>
                    <a:pt x="2" y="85"/>
                  </a:lnTo>
                  <a:lnTo>
                    <a:pt x="2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63"/>
                  </a:lnTo>
                  <a:lnTo>
                    <a:pt x="2" y="55"/>
                  </a:lnTo>
                  <a:lnTo>
                    <a:pt x="4" y="49"/>
                  </a:lnTo>
                  <a:lnTo>
                    <a:pt x="6" y="43"/>
                  </a:lnTo>
                  <a:lnTo>
                    <a:pt x="12" y="30"/>
                  </a:lnTo>
                  <a:lnTo>
                    <a:pt x="21" y="20"/>
                  </a:lnTo>
                  <a:lnTo>
                    <a:pt x="31" y="12"/>
                  </a:lnTo>
                  <a:lnTo>
                    <a:pt x="43" y="5"/>
                  </a:lnTo>
                  <a:lnTo>
                    <a:pt x="50" y="3"/>
                  </a:lnTo>
                  <a:lnTo>
                    <a:pt x="57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4"/>
                  </a:lnTo>
                  <a:lnTo>
                    <a:pt x="99" y="6"/>
                  </a:lnTo>
                  <a:lnTo>
                    <a:pt x="106" y="8"/>
                  </a:lnTo>
                  <a:lnTo>
                    <a:pt x="112" y="12"/>
                  </a:lnTo>
                  <a:lnTo>
                    <a:pt x="121" y="2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3" y="36"/>
                  </a:lnTo>
                  <a:lnTo>
                    <a:pt x="86" y="33"/>
                  </a:lnTo>
                  <a:lnTo>
                    <a:pt x="79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62" y="29"/>
                  </a:lnTo>
                  <a:lnTo>
                    <a:pt x="54" y="31"/>
                  </a:lnTo>
                  <a:lnTo>
                    <a:pt x="48" y="36"/>
                  </a:lnTo>
                  <a:lnTo>
                    <a:pt x="43" y="41"/>
                  </a:lnTo>
                  <a:lnTo>
                    <a:pt x="38" y="46"/>
                  </a:lnTo>
                  <a:lnTo>
                    <a:pt x="35" y="53"/>
                  </a:lnTo>
                  <a:lnTo>
                    <a:pt x="32" y="61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2" y="80"/>
                  </a:lnTo>
                  <a:lnTo>
                    <a:pt x="35" y="88"/>
                  </a:lnTo>
                  <a:lnTo>
                    <a:pt x="38" y="94"/>
                  </a:lnTo>
                  <a:lnTo>
                    <a:pt x="43" y="100"/>
                  </a:lnTo>
                  <a:lnTo>
                    <a:pt x="48" y="106"/>
                  </a:lnTo>
                  <a:lnTo>
                    <a:pt x="54" y="109"/>
                  </a:lnTo>
                  <a:lnTo>
                    <a:pt x="62" y="112"/>
                  </a:lnTo>
                  <a:lnTo>
                    <a:pt x="71" y="113"/>
                  </a:lnTo>
                  <a:lnTo>
                    <a:pt x="71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9"/>
            <p:cNvSpPr>
              <a:spLocks/>
            </p:cNvSpPr>
            <p:nvPr userDrawn="1"/>
          </p:nvSpPr>
          <p:spPr bwMode="auto">
            <a:xfrm>
              <a:off x="982" y="3756"/>
              <a:ext cx="10" cy="66"/>
            </a:xfrm>
            <a:custGeom>
              <a:avLst/>
              <a:gdLst>
                <a:gd name="T0" fmla="*/ 0 w 30"/>
                <a:gd name="T1" fmla="*/ 4 h 196"/>
                <a:gd name="T2" fmla="*/ 30 w 30"/>
                <a:gd name="T3" fmla="*/ 0 h 196"/>
                <a:gd name="T4" fmla="*/ 30 w 30"/>
                <a:gd name="T5" fmla="*/ 196 h 196"/>
                <a:gd name="T6" fmla="*/ 0 w 30"/>
                <a:gd name="T7" fmla="*/ 196 h 196"/>
                <a:gd name="T8" fmla="*/ 0 w 30"/>
                <a:gd name="T9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6">
                  <a:moveTo>
                    <a:pt x="0" y="4"/>
                  </a:moveTo>
                  <a:lnTo>
                    <a:pt x="30" y="0"/>
                  </a:lnTo>
                  <a:lnTo>
                    <a:pt x="30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6" name="Freeform 30"/>
            <p:cNvSpPr>
              <a:spLocks noEditPoints="1"/>
            </p:cNvSpPr>
            <p:nvPr userDrawn="1"/>
          </p:nvSpPr>
          <p:spPr bwMode="auto">
            <a:xfrm>
              <a:off x="1002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6 w 140"/>
                <a:gd name="T5" fmla="*/ 104 h 140"/>
                <a:gd name="T6" fmla="*/ 57 w 140"/>
                <a:gd name="T7" fmla="*/ 109 h 140"/>
                <a:gd name="T8" fmla="*/ 71 w 140"/>
                <a:gd name="T9" fmla="*/ 113 h 140"/>
                <a:gd name="T10" fmla="*/ 81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4 w 140"/>
                <a:gd name="T17" fmla="*/ 108 h 140"/>
                <a:gd name="T18" fmla="*/ 121 w 140"/>
                <a:gd name="T19" fmla="*/ 123 h 140"/>
                <a:gd name="T20" fmla="*/ 103 w 140"/>
                <a:gd name="T21" fmla="*/ 135 h 140"/>
                <a:gd name="T22" fmla="*/ 82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3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2 w 140"/>
                <a:gd name="T35" fmla="*/ 85 h 140"/>
                <a:gd name="T36" fmla="*/ 0 w 140"/>
                <a:gd name="T37" fmla="*/ 70 h 140"/>
                <a:gd name="T38" fmla="*/ 1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6 w 140"/>
                <a:gd name="T47" fmla="*/ 2 h 140"/>
                <a:gd name="T48" fmla="*/ 70 w 140"/>
                <a:gd name="T49" fmla="*/ 0 h 140"/>
                <a:gd name="T50" fmla="*/ 78 w 140"/>
                <a:gd name="T51" fmla="*/ 0 h 140"/>
                <a:gd name="T52" fmla="*/ 92 w 140"/>
                <a:gd name="T53" fmla="*/ 4 h 140"/>
                <a:gd name="T54" fmla="*/ 109 w 140"/>
                <a:gd name="T55" fmla="*/ 12 h 140"/>
                <a:gd name="T56" fmla="*/ 128 w 140"/>
                <a:gd name="T57" fmla="*/ 31 h 140"/>
                <a:gd name="T58" fmla="*/ 139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2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4 w 140"/>
                <a:gd name="T77" fmla="*/ 29 h 140"/>
                <a:gd name="T78" fmla="*/ 53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4" y="88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6" y="104"/>
                  </a:lnTo>
                  <a:lnTo>
                    <a:pt x="50" y="107"/>
                  </a:lnTo>
                  <a:lnTo>
                    <a:pt x="57" y="109"/>
                  </a:lnTo>
                  <a:lnTo>
                    <a:pt x="64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1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4" y="108"/>
                  </a:lnTo>
                  <a:lnTo>
                    <a:pt x="128" y="116"/>
                  </a:lnTo>
                  <a:lnTo>
                    <a:pt x="121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4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3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2" y="85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63"/>
                  </a:lnTo>
                  <a:lnTo>
                    <a:pt x="2" y="57"/>
                  </a:lnTo>
                  <a:lnTo>
                    <a:pt x="6" y="43"/>
                  </a:lnTo>
                  <a:lnTo>
                    <a:pt x="13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2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8" y="31"/>
                  </a:lnTo>
                  <a:lnTo>
                    <a:pt x="134" y="43"/>
                  </a:lnTo>
                  <a:lnTo>
                    <a:pt x="139" y="57"/>
                  </a:lnTo>
                  <a:lnTo>
                    <a:pt x="140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2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7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4" y="29"/>
                  </a:lnTo>
                  <a:lnTo>
                    <a:pt x="57" y="30"/>
                  </a:lnTo>
                  <a:lnTo>
                    <a:pt x="53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9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7" name="Freeform 31"/>
            <p:cNvSpPr>
              <a:spLocks noEditPoints="1"/>
            </p:cNvSpPr>
            <p:nvPr userDrawn="1"/>
          </p:nvSpPr>
          <p:spPr bwMode="auto">
            <a:xfrm>
              <a:off x="1055" y="3775"/>
              <a:ext cx="46" cy="47"/>
            </a:xfrm>
            <a:custGeom>
              <a:avLst/>
              <a:gdLst>
                <a:gd name="T0" fmla="*/ 139 w 139"/>
                <a:gd name="T1" fmla="*/ 139 h 140"/>
                <a:gd name="T2" fmla="*/ 108 w 139"/>
                <a:gd name="T3" fmla="*/ 125 h 140"/>
                <a:gd name="T4" fmla="*/ 102 w 139"/>
                <a:gd name="T5" fmla="*/ 130 h 140"/>
                <a:gd name="T6" fmla="*/ 81 w 139"/>
                <a:gd name="T7" fmla="*/ 139 h 140"/>
                <a:gd name="T8" fmla="*/ 69 w 139"/>
                <a:gd name="T9" fmla="*/ 140 h 140"/>
                <a:gd name="T10" fmla="*/ 54 w 139"/>
                <a:gd name="T11" fmla="*/ 139 h 140"/>
                <a:gd name="T12" fmla="*/ 30 w 139"/>
                <a:gd name="T13" fmla="*/ 130 h 140"/>
                <a:gd name="T14" fmla="*/ 12 w 139"/>
                <a:gd name="T15" fmla="*/ 110 h 140"/>
                <a:gd name="T16" fmla="*/ 2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5 w 139"/>
                <a:gd name="T25" fmla="*/ 42 h 140"/>
                <a:gd name="T26" fmla="*/ 20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8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2 w 139"/>
                <a:gd name="T47" fmla="*/ 54 h 140"/>
                <a:gd name="T48" fmla="*/ 30 w 139"/>
                <a:gd name="T49" fmla="*/ 70 h 140"/>
                <a:gd name="T50" fmla="*/ 30 w 139"/>
                <a:gd name="T51" fmla="*/ 78 h 140"/>
                <a:gd name="T52" fmla="*/ 36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5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09 w 139"/>
                <a:gd name="T67" fmla="*/ 70 h 140"/>
                <a:gd name="T68" fmla="*/ 108 w 139"/>
                <a:gd name="T69" fmla="*/ 62 h 140"/>
                <a:gd name="T70" fmla="*/ 102 w 139"/>
                <a:gd name="T71" fmla="*/ 47 h 140"/>
                <a:gd name="T72" fmla="*/ 92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8" y="139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2" y="130"/>
                  </a:lnTo>
                  <a:lnTo>
                    <a:pt x="93" y="136"/>
                  </a:lnTo>
                  <a:lnTo>
                    <a:pt x="81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4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20" y="121"/>
                  </a:lnTo>
                  <a:lnTo>
                    <a:pt x="12" y="110"/>
                  </a:lnTo>
                  <a:lnTo>
                    <a:pt x="5" y="99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2" y="49"/>
                  </a:lnTo>
                  <a:lnTo>
                    <a:pt x="5" y="42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4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1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8" y="16"/>
                  </a:lnTo>
                  <a:lnTo>
                    <a:pt x="108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6" y="47"/>
                  </a:lnTo>
                  <a:lnTo>
                    <a:pt x="32" y="54"/>
                  </a:lnTo>
                  <a:lnTo>
                    <a:pt x="30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8"/>
                  </a:lnTo>
                  <a:lnTo>
                    <a:pt x="32" y="86"/>
                  </a:lnTo>
                  <a:lnTo>
                    <a:pt x="36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5" y="108"/>
                  </a:lnTo>
                  <a:lnTo>
                    <a:pt x="92" y="105"/>
                  </a:lnTo>
                  <a:lnTo>
                    <a:pt x="98" y="99"/>
                  </a:lnTo>
                  <a:lnTo>
                    <a:pt x="102" y="93"/>
                  </a:lnTo>
                  <a:lnTo>
                    <a:pt x="106" y="86"/>
                  </a:lnTo>
                  <a:lnTo>
                    <a:pt x="108" y="78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8" y="62"/>
                  </a:lnTo>
                  <a:lnTo>
                    <a:pt x="106" y="54"/>
                  </a:lnTo>
                  <a:lnTo>
                    <a:pt x="102" y="47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5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8" name="Freeform 32"/>
            <p:cNvSpPr>
              <a:spLocks/>
            </p:cNvSpPr>
            <p:nvPr userDrawn="1"/>
          </p:nvSpPr>
          <p:spPr bwMode="auto">
            <a:xfrm>
              <a:off x="1112" y="3775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30 w 65"/>
                <a:gd name="T3" fmla="*/ 2 h 139"/>
                <a:gd name="T4" fmla="*/ 30 w 65"/>
                <a:gd name="T5" fmla="*/ 16 h 139"/>
                <a:gd name="T6" fmla="*/ 30 w 65"/>
                <a:gd name="T7" fmla="*/ 16 h 139"/>
                <a:gd name="T8" fmla="*/ 36 w 65"/>
                <a:gd name="T9" fmla="*/ 10 h 139"/>
                <a:gd name="T10" fmla="*/ 44 w 65"/>
                <a:gd name="T11" fmla="*/ 5 h 139"/>
                <a:gd name="T12" fmla="*/ 47 w 65"/>
                <a:gd name="T13" fmla="*/ 3 h 139"/>
                <a:gd name="T14" fmla="*/ 53 w 65"/>
                <a:gd name="T15" fmla="*/ 2 h 139"/>
                <a:gd name="T16" fmla="*/ 58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49 w 65"/>
                <a:gd name="T29" fmla="*/ 31 h 139"/>
                <a:gd name="T30" fmla="*/ 44 w 65"/>
                <a:gd name="T31" fmla="*/ 35 h 139"/>
                <a:gd name="T32" fmla="*/ 39 w 65"/>
                <a:gd name="T33" fmla="*/ 38 h 139"/>
                <a:gd name="T34" fmla="*/ 36 w 65"/>
                <a:gd name="T35" fmla="*/ 44 h 139"/>
                <a:gd name="T36" fmla="*/ 32 w 65"/>
                <a:gd name="T37" fmla="*/ 50 h 139"/>
                <a:gd name="T38" fmla="*/ 31 w 65"/>
                <a:gd name="T39" fmla="*/ 57 h 139"/>
                <a:gd name="T40" fmla="*/ 30 w 65"/>
                <a:gd name="T41" fmla="*/ 63 h 139"/>
                <a:gd name="T42" fmla="*/ 30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30" y="2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6" y="10"/>
                  </a:lnTo>
                  <a:lnTo>
                    <a:pt x="44" y="5"/>
                  </a:lnTo>
                  <a:lnTo>
                    <a:pt x="47" y="3"/>
                  </a:lnTo>
                  <a:lnTo>
                    <a:pt x="53" y="2"/>
                  </a:lnTo>
                  <a:lnTo>
                    <a:pt x="58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49" y="31"/>
                  </a:lnTo>
                  <a:lnTo>
                    <a:pt x="44" y="35"/>
                  </a:lnTo>
                  <a:lnTo>
                    <a:pt x="39" y="38"/>
                  </a:lnTo>
                  <a:lnTo>
                    <a:pt x="36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9" name="Freeform 33"/>
            <p:cNvSpPr>
              <a:spLocks noEditPoints="1"/>
            </p:cNvSpPr>
            <p:nvPr userDrawn="1"/>
          </p:nvSpPr>
          <p:spPr bwMode="auto">
            <a:xfrm>
              <a:off x="1170" y="3758"/>
              <a:ext cx="37" cy="64"/>
            </a:xfrm>
            <a:custGeom>
              <a:avLst/>
              <a:gdLst>
                <a:gd name="T0" fmla="*/ 56 w 111"/>
                <a:gd name="T1" fmla="*/ 0 h 192"/>
                <a:gd name="T2" fmla="*/ 56 w 111"/>
                <a:gd name="T3" fmla="*/ 0 h 192"/>
                <a:gd name="T4" fmla="*/ 68 w 111"/>
                <a:gd name="T5" fmla="*/ 1 h 192"/>
                <a:gd name="T6" fmla="*/ 78 w 111"/>
                <a:gd name="T7" fmla="*/ 3 h 192"/>
                <a:gd name="T8" fmla="*/ 87 w 111"/>
                <a:gd name="T9" fmla="*/ 8 h 192"/>
                <a:gd name="T10" fmla="*/ 95 w 111"/>
                <a:gd name="T11" fmla="*/ 14 h 192"/>
                <a:gd name="T12" fmla="*/ 102 w 111"/>
                <a:gd name="T13" fmla="*/ 23 h 192"/>
                <a:gd name="T14" fmla="*/ 107 w 111"/>
                <a:gd name="T15" fmla="*/ 32 h 192"/>
                <a:gd name="T16" fmla="*/ 110 w 111"/>
                <a:gd name="T17" fmla="*/ 42 h 192"/>
                <a:gd name="T18" fmla="*/ 111 w 111"/>
                <a:gd name="T19" fmla="*/ 55 h 192"/>
                <a:gd name="T20" fmla="*/ 111 w 111"/>
                <a:gd name="T21" fmla="*/ 55 h 192"/>
                <a:gd name="T22" fmla="*/ 110 w 111"/>
                <a:gd name="T23" fmla="*/ 66 h 192"/>
                <a:gd name="T24" fmla="*/ 108 w 111"/>
                <a:gd name="T25" fmla="*/ 75 h 192"/>
                <a:gd name="T26" fmla="*/ 103 w 111"/>
                <a:gd name="T27" fmla="*/ 84 h 192"/>
                <a:gd name="T28" fmla="*/ 99 w 111"/>
                <a:gd name="T29" fmla="*/ 91 h 192"/>
                <a:gd name="T30" fmla="*/ 92 w 111"/>
                <a:gd name="T31" fmla="*/ 98 h 192"/>
                <a:gd name="T32" fmla="*/ 85 w 111"/>
                <a:gd name="T33" fmla="*/ 103 h 192"/>
                <a:gd name="T34" fmla="*/ 76 w 111"/>
                <a:gd name="T35" fmla="*/ 106 h 192"/>
                <a:gd name="T36" fmla="*/ 68 w 111"/>
                <a:gd name="T37" fmla="*/ 108 h 192"/>
                <a:gd name="T38" fmla="*/ 111 w 111"/>
                <a:gd name="T39" fmla="*/ 192 h 192"/>
                <a:gd name="T40" fmla="*/ 76 w 111"/>
                <a:gd name="T41" fmla="*/ 192 h 192"/>
                <a:gd name="T42" fmla="*/ 35 w 111"/>
                <a:gd name="T43" fmla="*/ 110 h 192"/>
                <a:gd name="T44" fmla="*/ 31 w 111"/>
                <a:gd name="T45" fmla="*/ 110 h 192"/>
                <a:gd name="T46" fmla="*/ 31 w 111"/>
                <a:gd name="T47" fmla="*/ 192 h 192"/>
                <a:gd name="T48" fmla="*/ 0 w 111"/>
                <a:gd name="T49" fmla="*/ 192 h 192"/>
                <a:gd name="T50" fmla="*/ 0 w 111"/>
                <a:gd name="T51" fmla="*/ 0 h 192"/>
                <a:gd name="T52" fmla="*/ 56 w 111"/>
                <a:gd name="T53" fmla="*/ 0 h 192"/>
                <a:gd name="T54" fmla="*/ 31 w 111"/>
                <a:gd name="T55" fmla="*/ 81 h 192"/>
                <a:gd name="T56" fmla="*/ 56 w 111"/>
                <a:gd name="T57" fmla="*/ 81 h 192"/>
                <a:gd name="T58" fmla="*/ 56 w 111"/>
                <a:gd name="T59" fmla="*/ 81 h 192"/>
                <a:gd name="T60" fmla="*/ 62 w 111"/>
                <a:gd name="T61" fmla="*/ 80 h 192"/>
                <a:gd name="T62" fmla="*/ 68 w 111"/>
                <a:gd name="T63" fmla="*/ 79 h 192"/>
                <a:gd name="T64" fmla="*/ 71 w 111"/>
                <a:gd name="T65" fmla="*/ 76 h 192"/>
                <a:gd name="T66" fmla="*/ 75 w 111"/>
                <a:gd name="T67" fmla="*/ 73 h 192"/>
                <a:gd name="T68" fmla="*/ 78 w 111"/>
                <a:gd name="T69" fmla="*/ 69 h 192"/>
                <a:gd name="T70" fmla="*/ 79 w 111"/>
                <a:gd name="T71" fmla="*/ 65 h 192"/>
                <a:gd name="T72" fmla="*/ 80 w 111"/>
                <a:gd name="T73" fmla="*/ 60 h 192"/>
                <a:gd name="T74" fmla="*/ 81 w 111"/>
                <a:gd name="T75" fmla="*/ 55 h 192"/>
                <a:gd name="T76" fmla="*/ 81 w 111"/>
                <a:gd name="T77" fmla="*/ 55 h 192"/>
                <a:gd name="T78" fmla="*/ 80 w 111"/>
                <a:gd name="T79" fmla="*/ 50 h 192"/>
                <a:gd name="T80" fmla="*/ 79 w 111"/>
                <a:gd name="T81" fmla="*/ 44 h 192"/>
                <a:gd name="T82" fmla="*/ 78 w 111"/>
                <a:gd name="T83" fmla="*/ 40 h 192"/>
                <a:gd name="T84" fmla="*/ 75 w 111"/>
                <a:gd name="T85" fmla="*/ 36 h 192"/>
                <a:gd name="T86" fmla="*/ 71 w 111"/>
                <a:gd name="T87" fmla="*/ 33 h 192"/>
                <a:gd name="T88" fmla="*/ 68 w 111"/>
                <a:gd name="T89" fmla="*/ 31 h 192"/>
                <a:gd name="T90" fmla="*/ 62 w 111"/>
                <a:gd name="T91" fmla="*/ 29 h 192"/>
                <a:gd name="T92" fmla="*/ 56 w 111"/>
                <a:gd name="T93" fmla="*/ 29 h 192"/>
                <a:gd name="T94" fmla="*/ 31 w 111"/>
                <a:gd name="T95" fmla="*/ 29 h 192"/>
                <a:gd name="T96" fmla="*/ 31 w 111"/>
                <a:gd name="T97" fmla="*/ 8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1" h="192">
                  <a:moveTo>
                    <a:pt x="56" y="0"/>
                  </a:moveTo>
                  <a:lnTo>
                    <a:pt x="56" y="0"/>
                  </a:lnTo>
                  <a:lnTo>
                    <a:pt x="68" y="1"/>
                  </a:lnTo>
                  <a:lnTo>
                    <a:pt x="78" y="3"/>
                  </a:lnTo>
                  <a:lnTo>
                    <a:pt x="87" y="8"/>
                  </a:lnTo>
                  <a:lnTo>
                    <a:pt x="95" y="14"/>
                  </a:lnTo>
                  <a:lnTo>
                    <a:pt x="102" y="23"/>
                  </a:lnTo>
                  <a:lnTo>
                    <a:pt x="107" y="32"/>
                  </a:lnTo>
                  <a:lnTo>
                    <a:pt x="110" y="42"/>
                  </a:lnTo>
                  <a:lnTo>
                    <a:pt x="111" y="55"/>
                  </a:lnTo>
                  <a:lnTo>
                    <a:pt x="111" y="55"/>
                  </a:lnTo>
                  <a:lnTo>
                    <a:pt x="110" y="66"/>
                  </a:lnTo>
                  <a:lnTo>
                    <a:pt x="108" y="75"/>
                  </a:lnTo>
                  <a:lnTo>
                    <a:pt x="103" y="84"/>
                  </a:lnTo>
                  <a:lnTo>
                    <a:pt x="99" y="91"/>
                  </a:lnTo>
                  <a:lnTo>
                    <a:pt x="92" y="98"/>
                  </a:lnTo>
                  <a:lnTo>
                    <a:pt x="85" y="103"/>
                  </a:lnTo>
                  <a:lnTo>
                    <a:pt x="76" y="106"/>
                  </a:lnTo>
                  <a:lnTo>
                    <a:pt x="68" y="108"/>
                  </a:lnTo>
                  <a:lnTo>
                    <a:pt x="111" y="192"/>
                  </a:lnTo>
                  <a:lnTo>
                    <a:pt x="76" y="192"/>
                  </a:lnTo>
                  <a:lnTo>
                    <a:pt x="35" y="110"/>
                  </a:lnTo>
                  <a:lnTo>
                    <a:pt x="31" y="110"/>
                  </a:lnTo>
                  <a:lnTo>
                    <a:pt x="31" y="192"/>
                  </a:lnTo>
                  <a:lnTo>
                    <a:pt x="0" y="192"/>
                  </a:lnTo>
                  <a:lnTo>
                    <a:pt x="0" y="0"/>
                  </a:lnTo>
                  <a:lnTo>
                    <a:pt x="56" y="0"/>
                  </a:lnTo>
                  <a:close/>
                  <a:moveTo>
                    <a:pt x="31" y="81"/>
                  </a:moveTo>
                  <a:lnTo>
                    <a:pt x="56" y="81"/>
                  </a:lnTo>
                  <a:lnTo>
                    <a:pt x="56" y="81"/>
                  </a:lnTo>
                  <a:lnTo>
                    <a:pt x="62" y="80"/>
                  </a:lnTo>
                  <a:lnTo>
                    <a:pt x="68" y="79"/>
                  </a:lnTo>
                  <a:lnTo>
                    <a:pt x="71" y="76"/>
                  </a:lnTo>
                  <a:lnTo>
                    <a:pt x="75" y="73"/>
                  </a:lnTo>
                  <a:lnTo>
                    <a:pt x="78" y="69"/>
                  </a:lnTo>
                  <a:lnTo>
                    <a:pt x="79" y="65"/>
                  </a:lnTo>
                  <a:lnTo>
                    <a:pt x="80" y="60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0" y="50"/>
                  </a:lnTo>
                  <a:lnTo>
                    <a:pt x="79" y="44"/>
                  </a:lnTo>
                  <a:lnTo>
                    <a:pt x="78" y="40"/>
                  </a:lnTo>
                  <a:lnTo>
                    <a:pt x="75" y="36"/>
                  </a:lnTo>
                  <a:lnTo>
                    <a:pt x="71" y="33"/>
                  </a:lnTo>
                  <a:lnTo>
                    <a:pt x="68" y="31"/>
                  </a:lnTo>
                  <a:lnTo>
                    <a:pt x="62" y="29"/>
                  </a:lnTo>
                  <a:lnTo>
                    <a:pt x="56" y="29"/>
                  </a:lnTo>
                  <a:lnTo>
                    <a:pt x="31" y="29"/>
                  </a:lnTo>
                  <a:lnTo>
                    <a:pt x="31" y="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0" name="Freeform 34"/>
            <p:cNvSpPr>
              <a:spLocks noEditPoints="1"/>
            </p:cNvSpPr>
            <p:nvPr userDrawn="1"/>
          </p:nvSpPr>
          <p:spPr bwMode="auto">
            <a:xfrm>
              <a:off x="1212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1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2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1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1" name="Freeform 35"/>
            <p:cNvSpPr>
              <a:spLocks/>
            </p:cNvSpPr>
            <p:nvPr userDrawn="1"/>
          </p:nvSpPr>
          <p:spPr bwMode="auto">
            <a:xfrm>
              <a:off x="1264" y="3775"/>
              <a:ext cx="32" cy="47"/>
            </a:xfrm>
            <a:custGeom>
              <a:avLst/>
              <a:gdLst>
                <a:gd name="T0" fmla="*/ 29 w 95"/>
                <a:gd name="T1" fmla="*/ 93 h 140"/>
                <a:gd name="T2" fmla="*/ 31 w 95"/>
                <a:gd name="T3" fmla="*/ 101 h 140"/>
                <a:gd name="T4" fmla="*/ 34 w 95"/>
                <a:gd name="T5" fmla="*/ 107 h 140"/>
                <a:gd name="T6" fmla="*/ 47 w 95"/>
                <a:gd name="T7" fmla="*/ 113 h 140"/>
                <a:gd name="T8" fmla="*/ 54 w 95"/>
                <a:gd name="T9" fmla="*/ 112 h 140"/>
                <a:gd name="T10" fmla="*/ 62 w 95"/>
                <a:gd name="T11" fmla="*/ 106 h 140"/>
                <a:gd name="T12" fmla="*/ 64 w 95"/>
                <a:gd name="T13" fmla="*/ 99 h 140"/>
                <a:gd name="T14" fmla="*/ 64 w 95"/>
                <a:gd name="T15" fmla="*/ 96 h 140"/>
                <a:gd name="T16" fmla="*/ 62 w 95"/>
                <a:gd name="T17" fmla="*/ 86 h 140"/>
                <a:gd name="T18" fmla="*/ 56 w 95"/>
                <a:gd name="T19" fmla="*/ 81 h 140"/>
                <a:gd name="T20" fmla="*/ 38 w 95"/>
                <a:gd name="T21" fmla="*/ 75 h 140"/>
                <a:gd name="T22" fmla="*/ 33 w 95"/>
                <a:gd name="T23" fmla="*/ 73 h 140"/>
                <a:gd name="T24" fmla="*/ 23 w 95"/>
                <a:gd name="T25" fmla="*/ 67 h 140"/>
                <a:gd name="T26" fmla="*/ 15 w 95"/>
                <a:gd name="T27" fmla="*/ 59 h 140"/>
                <a:gd name="T28" fmla="*/ 10 w 95"/>
                <a:gd name="T29" fmla="*/ 46 h 140"/>
                <a:gd name="T30" fmla="*/ 9 w 95"/>
                <a:gd name="T31" fmla="*/ 38 h 140"/>
                <a:gd name="T32" fmla="*/ 13 w 95"/>
                <a:gd name="T33" fmla="*/ 23 h 140"/>
                <a:gd name="T34" fmla="*/ 21 w 95"/>
                <a:gd name="T35" fmla="*/ 11 h 140"/>
                <a:gd name="T36" fmla="*/ 32 w 95"/>
                <a:gd name="T37" fmla="*/ 3 h 140"/>
                <a:gd name="T38" fmla="*/ 47 w 95"/>
                <a:gd name="T39" fmla="*/ 0 h 140"/>
                <a:gd name="T40" fmla="*/ 57 w 95"/>
                <a:gd name="T41" fmla="*/ 2 h 140"/>
                <a:gd name="T42" fmla="*/ 73 w 95"/>
                <a:gd name="T43" fmla="*/ 11 h 140"/>
                <a:gd name="T44" fmla="*/ 61 w 95"/>
                <a:gd name="T45" fmla="*/ 36 h 140"/>
                <a:gd name="T46" fmla="*/ 60 w 95"/>
                <a:gd name="T47" fmla="*/ 33 h 140"/>
                <a:gd name="T48" fmla="*/ 53 w 95"/>
                <a:gd name="T49" fmla="*/ 28 h 140"/>
                <a:gd name="T50" fmla="*/ 49 w 95"/>
                <a:gd name="T51" fmla="*/ 27 h 140"/>
                <a:gd name="T52" fmla="*/ 41 w 95"/>
                <a:gd name="T53" fmla="*/ 30 h 140"/>
                <a:gd name="T54" fmla="*/ 38 w 95"/>
                <a:gd name="T55" fmla="*/ 38 h 140"/>
                <a:gd name="T56" fmla="*/ 39 w 95"/>
                <a:gd name="T57" fmla="*/ 42 h 140"/>
                <a:gd name="T58" fmla="*/ 44 w 95"/>
                <a:gd name="T59" fmla="*/ 47 h 140"/>
                <a:gd name="T60" fmla="*/ 57 w 95"/>
                <a:gd name="T61" fmla="*/ 52 h 140"/>
                <a:gd name="T62" fmla="*/ 69 w 95"/>
                <a:gd name="T63" fmla="*/ 55 h 140"/>
                <a:gd name="T64" fmla="*/ 78 w 95"/>
                <a:gd name="T65" fmla="*/ 60 h 140"/>
                <a:gd name="T66" fmla="*/ 87 w 95"/>
                <a:gd name="T67" fmla="*/ 68 h 140"/>
                <a:gd name="T68" fmla="*/ 93 w 95"/>
                <a:gd name="T69" fmla="*/ 80 h 140"/>
                <a:gd name="T70" fmla="*/ 95 w 95"/>
                <a:gd name="T71" fmla="*/ 94 h 140"/>
                <a:gd name="T72" fmla="*/ 94 w 95"/>
                <a:gd name="T73" fmla="*/ 105 h 140"/>
                <a:gd name="T74" fmla="*/ 87 w 95"/>
                <a:gd name="T75" fmla="*/ 121 h 140"/>
                <a:gd name="T76" fmla="*/ 75 w 95"/>
                <a:gd name="T77" fmla="*/ 133 h 140"/>
                <a:gd name="T78" fmla="*/ 57 w 95"/>
                <a:gd name="T79" fmla="*/ 140 h 140"/>
                <a:gd name="T80" fmla="*/ 47 w 95"/>
                <a:gd name="T81" fmla="*/ 140 h 140"/>
                <a:gd name="T82" fmla="*/ 28 w 95"/>
                <a:gd name="T83" fmla="*/ 137 h 140"/>
                <a:gd name="T84" fmla="*/ 13 w 95"/>
                <a:gd name="T85" fmla="*/ 128 h 140"/>
                <a:gd name="T86" fmla="*/ 4 w 95"/>
                <a:gd name="T87" fmla="*/ 112 h 140"/>
                <a:gd name="T88" fmla="*/ 0 w 95"/>
                <a:gd name="T89" fmla="*/ 9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5" h="140">
                  <a:moveTo>
                    <a:pt x="29" y="93"/>
                  </a:moveTo>
                  <a:lnTo>
                    <a:pt x="29" y="93"/>
                  </a:lnTo>
                  <a:lnTo>
                    <a:pt x="30" y="98"/>
                  </a:lnTo>
                  <a:lnTo>
                    <a:pt x="31" y="101"/>
                  </a:lnTo>
                  <a:lnTo>
                    <a:pt x="32" y="105"/>
                  </a:lnTo>
                  <a:lnTo>
                    <a:pt x="34" y="107"/>
                  </a:lnTo>
                  <a:lnTo>
                    <a:pt x="40" y="110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54" y="112"/>
                  </a:lnTo>
                  <a:lnTo>
                    <a:pt x="60" y="108"/>
                  </a:lnTo>
                  <a:lnTo>
                    <a:pt x="62" y="106"/>
                  </a:lnTo>
                  <a:lnTo>
                    <a:pt x="63" y="102"/>
                  </a:lnTo>
                  <a:lnTo>
                    <a:pt x="64" y="99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0"/>
                  </a:lnTo>
                  <a:lnTo>
                    <a:pt x="62" y="86"/>
                  </a:lnTo>
                  <a:lnTo>
                    <a:pt x="60" y="83"/>
                  </a:lnTo>
                  <a:lnTo>
                    <a:pt x="56" y="81"/>
                  </a:lnTo>
                  <a:lnTo>
                    <a:pt x="48" y="77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3" y="73"/>
                  </a:lnTo>
                  <a:lnTo>
                    <a:pt x="28" y="70"/>
                  </a:lnTo>
                  <a:lnTo>
                    <a:pt x="23" y="67"/>
                  </a:lnTo>
                  <a:lnTo>
                    <a:pt x="18" y="63"/>
                  </a:lnTo>
                  <a:lnTo>
                    <a:pt x="15" y="59"/>
                  </a:lnTo>
                  <a:lnTo>
                    <a:pt x="12" y="53"/>
                  </a:lnTo>
                  <a:lnTo>
                    <a:pt x="10" y="46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0"/>
                  </a:lnTo>
                  <a:lnTo>
                    <a:pt x="13" y="23"/>
                  </a:lnTo>
                  <a:lnTo>
                    <a:pt x="16" y="16"/>
                  </a:lnTo>
                  <a:lnTo>
                    <a:pt x="21" y="11"/>
                  </a:lnTo>
                  <a:lnTo>
                    <a:pt x="26" y="6"/>
                  </a:lnTo>
                  <a:lnTo>
                    <a:pt x="32" y="3"/>
                  </a:lnTo>
                  <a:lnTo>
                    <a:pt x="40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57" y="2"/>
                  </a:lnTo>
                  <a:lnTo>
                    <a:pt x="67" y="5"/>
                  </a:lnTo>
                  <a:lnTo>
                    <a:pt x="73" y="11"/>
                  </a:lnTo>
                  <a:lnTo>
                    <a:pt x="80" y="18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0" y="33"/>
                  </a:lnTo>
                  <a:lnTo>
                    <a:pt x="56" y="29"/>
                  </a:lnTo>
                  <a:lnTo>
                    <a:pt x="53" y="28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5" y="28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9" y="42"/>
                  </a:lnTo>
                  <a:lnTo>
                    <a:pt x="41" y="45"/>
                  </a:lnTo>
                  <a:lnTo>
                    <a:pt x="44" y="47"/>
                  </a:lnTo>
                  <a:lnTo>
                    <a:pt x="48" y="50"/>
                  </a:lnTo>
                  <a:lnTo>
                    <a:pt x="57" y="52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73" y="58"/>
                  </a:lnTo>
                  <a:lnTo>
                    <a:pt x="78" y="60"/>
                  </a:lnTo>
                  <a:lnTo>
                    <a:pt x="83" y="63"/>
                  </a:lnTo>
                  <a:lnTo>
                    <a:pt x="87" y="68"/>
                  </a:lnTo>
                  <a:lnTo>
                    <a:pt x="91" y="74"/>
                  </a:lnTo>
                  <a:lnTo>
                    <a:pt x="93" y="80"/>
                  </a:lnTo>
                  <a:lnTo>
                    <a:pt x="94" y="86"/>
                  </a:lnTo>
                  <a:lnTo>
                    <a:pt x="95" y="94"/>
                  </a:lnTo>
                  <a:lnTo>
                    <a:pt x="95" y="94"/>
                  </a:lnTo>
                  <a:lnTo>
                    <a:pt x="94" y="105"/>
                  </a:lnTo>
                  <a:lnTo>
                    <a:pt x="92" y="114"/>
                  </a:lnTo>
                  <a:lnTo>
                    <a:pt x="87" y="121"/>
                  </a:lnTo>
                  <a:lnTo>
                    <a:pt x="81" y="128"/>
                  </a:lnTo>
                  <a:lnTo>
                    <a:pt x="75" y="133"/>
                  </a:lnTo>
                  <a:lnTo>
                    <a:pt x="67" y="138"/>
                  </a:lnTo>
                  <a:lnTo>
                    <a:pt x="57" y="140"/>
                  </a:lnTo>
                  <a:lnTo>
                    <a:pt x="47" y="140"/>
                  </a:lnTo>
                  <a:lnTo>
                    <a:pt x="47" y="140"/>
                  </a:lnTo>
                  <a:lnTo>
                    <a:pt x="37" y="140"/>
                  </a:lnTo>
                  <a:lnTo>
                    <a:pt x="28" y="137"/>
                  </a:lnTo>
                  <a:lnTo>
                    <a:pt x="20" y="132"/>
                  </a:lnTo>
                  <a:lnTo>
                    <a:pt x="13" y="128"/>
                  </a:lnTo>
                  <a:lnTo>
                    <a:pt x="8" y="120"/>
                  </a:lnTo>
                  <a:lnTo>
                    <a:pt x="4" y="112"/>
                  </a:lnTo>
                  <a:lnTo>
                    <a:pt x="1" y="104"/>
                  </a:lnTo>
                  <a:lnTo>
                    <a:pt x="0" y="93"/>
                  </a:lnTo>
                  <a:lnTo>
                    <a:pt x="29" y="9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2" name="Freeform 36"/>
            <p:cNvSpPr>
              <a:spLocks noEditPoints="1"/>
            </p:cNvSpPr>
            <p:nvPr userDrawn="1"/>
          </p:nvSpPr>
          <p:spPr bwMode="auto">
            <a:xfrm>
              <a:off x="1303" y="3775"/>
              <a:ext cx="47" cy="47"/>
            </a:xfrm>
            <a:custGeom>
              <a:avLst/>
              <a:gdLst>
                <a:gd name="T0" fmla="*/ 32 w 140"/>
                <a:gd name="T1" fmla="*/ 81 h 140"/>
                <a:gd name="T2" fmla="*/ 36 w 140"/>
                <a:gd name="T3" fmla="*/ 93 h 140"/>
                <a:gd name="T4" fmla="*/ 44 w 140"/>
                <a:gd name="T5" fmla="*/ 104 h 140"/>
                <a:gd name="T6" fmla="*/ 56 w 140"/>
                <a:gd name="T7" fmla="*/ 109 h 140"/>
                <a:gd name="T8" fmla="*/ 70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0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0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19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8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1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1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6" y="93"/>
                  </a:lnTo>
                  <a:lnTo>
                    <a:pt x="40" y="99"/>
                  </a:lnTo>
                  <a:lnTo>
                    <a:pt x="44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1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0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19" y="21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48" y="4"/>
                  </a:lnTo>
                  <a:lnTo>
                    <a:pt x="55" y="2"/>
                  </a:lnTo>
                  <a:lnTo>
                    <a:pt x="6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3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8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81" y="30"/>
                  </a:lnTo>
                  <a:lnTo>
                    <a:pt x="75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1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3" name="Freeform 37"/>
            <p:cNvSpPr>
              <a:spLocks noEditPoints="1"/>
            </p:cNvSpPr>
            <p:nvPr userDrawn="1"/>
          </p:nvSpPr>
          <p:spPr bwMode="auto">
            <a:xfrm>
              <a:off x="1356" y="3775"/>
              <a:ext cx="46" cy="47"/>
            </a:xfrm>
            <a:custGeom>
              <a:avLst/>
              <a:gdLst>
                <a:gd name="T0" fmla="*/ 139 w 139"/>
                <a:gd name="T1" fmla="*/ 139 h 140"/>
                <a:gd name="T2" fmla="*/ 108 w 139"/>
                <a:gd name="T3" fmla="*/ 125 h 140"/>
                <a:gd name="T4" fmla="*/ 102 w 139"/>
                <a:gd name="T5" fmla="*/ 130 h 140"/>
                <a:gd name="T6" fmla="*/ 82 w 139"/>
                <a:gd name="T7" fmla="*/ 139 h 140"/>
                <a:gd name="T8" fmla="*/ 69 w 139"/>
                <a:gd name="T9" fmla="*/ 140 h 140"/>
                <a:gd name="T10" fmla="*/ 55 w 139"/>
                <a:gd name="T11" fmla="*/ 139 h 140"/>
                <a:gd name="T12" fmla="*/ 30 w 139"/>
                <a:gd name="T13" fmla="*/ 130 h 140"/>
                <a:gd name="T14" fmla="*/ 11 w 139"/>
                <a:gd name="T15" fmla="*/ 110 h 140"/>
                <a:gd name="T16" fmla="*/ 3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6 w 139"/>
                <a:gd name="T25" fmla="*/ 42 h 140"/>
                <a:gd name="T26" fmla="*/ 19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8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3 w 139"/>
                <a:gd name="T47" fmla="*/ 54 h 140"/>
                <a:gd name="T48" fmla="*/ 30 w 139"/>
                <a:gd name="T49" fmla="*/ 70 h 140"/>
                <a:gd name="T50" fmla="*/ 31 w 139"/>
                <a:gd name="T51" fmla="*/ 78 h 140"/>
                <a:gd name="T52" fmla="*/ 37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6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09 w 139"/>
                <a:gd name="T67" fmla="*/ 70 h 140"/>
                <a:gd name="T68" fmla="*/ 109 w 139"/>
                <a:gd name="T69" fmla="*/ 62 h 140"/>
                <a:gd name="T70" fmla="*/ 103 w 139"/>
                <a:gd name="T71" fmla="*/ 47 h 140"/>
                <a:gd name="T72" fmla="*/ 92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8" y="139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2" y="130"/>
                  </a:lnTo>
                  <a:lnTo>
                    <a:pt x="93" y="136"/>
                  </a:lnTo>
                  <a:lnTo>
                    <a:pt x="82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5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19" y="121"/>
                  </a:lnTo>
                  <a:lnTo>
                    <a:pt x="11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3" y="49"/>
                  </a:lnTo>
                  <a:lnTo>
                    <a:pt x="6" y="42"/>
                  </a:lnTo>
                  <a:lnTo>
                    <a:pt x="11" y="30"/>
                  </a:lnTo>
                  <a:lnTo>
                    <a:pt x="19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1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8" y="16"/>
                  </a:lnTo>
                  <a:lnTo>
                    <a:pt x="108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7" y="47"/>
                  </a:lnTo>
                  <a:lnTo>
                    <a:pt x="33" y="54"/>
                  </a:lnTo>
                  <a:lnTo>
                    <a:pt x="31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8"/>
                  </a:lnTo>
                  <a:lnTo>
                    <a:pt x="33" y="86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6" y="108"/>
                  </a:lnTo>
                  <a:lnTo>
                    <a:pt x="92" y="105"/>
                  </a:lnTo>
                  <a:lnTo>
                    <a:pt x="98" y="99"/>
                  </a:lnTo>
                  <a:lnTo>
                    <a:pt x="103" y="93"/>
                  </a:lnTo>
                  <a:lnTo>
                    <a:pt x="106" y="86"/>
                  </a:lnTo>
                  <a:lnTo>
                    <a:pt x="109" y="78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62"/>
                  </a:lnTo>
                  <a:lnTo>
                    <a:pt x="106" y="54"/>
                  </a:lnTo>
                  <a:lnTo>
                    <a:pt x="103" y="47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6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4" name="Freeform 38"/>
            <p:cNvSpPr>
              <a:spLocks/>
            </p:cNvSpPr>
            <p:nvPr userDrawn="1"/>
          </p:nvSpPr>
          <p:spPr bwMode="auto">
            <a:xfrm>
              <a:off x="1413" y="3775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31 w 65"/>
                <a:gd name="T3" fmla="*/ 2 h 139"/>
                <a:gd name="T4" fmla="*/ 31 w 65"/>
                <a:gd name="T5" fmla="*/ 16 h 139"/>
                <a:gd name="T6" fmla="*/ 31 w 65"/>
                <a:gd name="T7" fmla="*/ 16 h 139"/>
                <a:gd name="T8" fmla="*/ 35 w 65"/>
                <a:gd name="T9" fmla="*/ 10 h 139"/>
                <a:gd name="T10" fmla="*/ 43 w 65"/>
                <a:gd name="T11" fmla="*/ 5 h 139"/>
                <a:gd name="T12" fmla="*/ 48 w 65"/>
                <a:gd name="T13" fmla="*/ 3 h 139"/>
                <a:gd name="T14" fmla="*/ 52 w 65"/>
                <a:gd name="T15" fmla="*/ 2 h 139"/>
                <a:gd name="T16" fmla="*/ 59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50 w 65"/>
                <a:gd name="T29" fmla="*/ 31 h 139"/>
                <a:gd name="T30" fmla="*/ 44 w 65"/>
                <a:gd name="T31" fmla="*/ 35 h 139"/>
                <a:gd name="T32" fmla="*/ 40 w 65"/>
                <a:gd name="T33" fmla="*/ 38 h 139"/>
                <a:gd name="T34" fmla="*/ 35 w 65"/>
                <a:gd name="T35" fmla="*/ 44 h 139"/>
                <a:gd name="T36" fmla="*/ 33 w 65"/>
                <a:gd name="T37" fmla="*/ 50 h 139"/>
                <a:gd name="T38" fmla="*/ 31 w 65"/>
                <a:gd name="T39" fmla="*/ 57 h 139"/>
                <a:gd name="T40" fmla="*/ 31 w 65"/>
                <a:gd name="T41" fmla="*/ 63 h 139"/>
                <a:gd name="T42" fmla="*/ 31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31" y="2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0"/>
                  </a:lnTo>
                  <a:lnTo>
                    <a:pt x="43" y="5"/>
                  </a:lnTo>
                  <a:lnTo>
                    <a:pt x="48" y="3"/>
                  </a:lnTo>
                  <a:lnTo>
                    <a:pt x="52" y="2"/>
                  </a:lnTo>
                  <a:lnTo>
                    <a:pt x="59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50" y="31"/>
                  </a:lnTo>
                  <a:lnTo>
                    <a:pt x="44" y="35"/>
                  </a:lnTo>
                  <a:lnTo>
                    <a:pt x="40" y="38"/>
                  </a:lnTo>
                  <a:lnTo>
                    <a:pt x="35" y="44"/>
                  </a:lnTo>
                  <a:lnTo>
                    <a:pt x="33" y="50"/>
                  </a:lnTo>
                  <a:lnTo>
                    <a:pt x="31" y="57"/>
                  </a:lnTo>
                  <a:lnTo>
                    <a:pt x="31" y="63"/>
                  </a:lnTo>
                  <a:lnTo>
                    <a:pt x="31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5" name="Freeform 39"/>
            <p:cNvSpPr>
              <a:spLocks/>
            </p:cNvSpPr>
            <p:nvPr userDrawn="1"/>
          </p:nvSpPr>
          <p:spPr bwMode="auto">
            <a:xfrm>
              <a:off x="1440" y="3775"/>
              <a:ext cx="47" cy="47"/>
            </a:xfrm>
            <a:custGeom>
              <a:avLst/>
              <a:gdLst>
                <a:gd name="T0" fmla="*/ 71 w 141"/>
                <a:gd name="T1" fmla="*/ 113 h 140"/>
                <a:gd name="T2" fmla="*/ 87 w 141"/>
                <a:gd name="T3" fmla="*/ 109 h 140"/>
                <a:gd name="T4" fmla="*/ 100 w 141"/>
                <a:gd name="T5" fmla="*/ 100 h 140"/>
                <a:gd name="T6" fmla="*/ 108 w 141"/>
                <a:gd name="T7" fmla="*/ 88 h 140"/>
                <a:gd name="T8" fmla="*/ 110 w 141"/>
                <a:gd name="T9" fmla="*/ 70 h 140"/>
                <a:gd name="T10" fmla="*/ 141 w 141"/>
                <a:gd name="T11" fmla="*/ 70 h 140"/>
                <a:gd name="T12" fmla="*/ 140 w 141"/>
                <a:gd name="T13" fmla="*/ 85 h 140"/>
                <a:gd name="T14" fmla="*/ 135 w 141"/>
                <a:gd name="T15" fmla="*/ 98 h 140"/>
                <a:gd name="T16" fmla="*/ 120 w 141"/>
                <a:gd name="T17" fmla="*/ 121 h 140"/>
                <a:gd name="T18" fmla="*/ 98 w 141"/>
                <a:gd name="T19" fmla="*/ 136 h 140"/>
                <a:gd name="T20" fmla="*/ 85 w 141"/>
                <a:gd name="T21" fmla="*/ 139 h 140"/>
                <a:gd name="T22" fmla="*/ 71 w 141"/>
                <a:gd name="T23" fmla="*/ 140 h 140"/>
                <a:gd name="T24" fmla="*/ 63 w 141"/>
                <a:gd name="T25" fmla="*/ 140 h 140"/>
                <a:gd name="T26" fmla="*/ 49 w 141"/>
                <a:gd name="T27" fmla="*/ 138 h 140"/>
                <a:gd name="T28" fmla="*/ 31 w 141"/>
                <a:gd name="T29" fmla="*/ 129 h 140"/>
                <a:gd name="T30" fmla="*/ 13 w 141"/>
                <a:gd name="T31" fmla="*/ 110 h 140"/>
                <a:gd name="T32" fmla="*/ 3 w 141"/>
                <a:gd name="T33" fmla="*/ 92 h 140"/>
                <a:gd name="T34" fmla="*/ 1 w 141"/>
                <a:gd name="T35" fmla="*/ 78 h 140"/>
                <a:gd name="T36" fmla="*/ 0 w 141"/>
                <a:gd name="T37" fmla="*/ 70 h 140"/>
                <a:gd name="T38" fmla="*/ 2 w 141"/>
                <a:gd name="T39" fmla="*/ 55 h 140"/>
                <a:gd name="T40" fmla="*/ 6 w 141"/>
                <a:gd name="T41" fmla="*/ 43 h 140"/>
                <a:gd name="T42" fmla="*/ 21 w 141"/>
                <a:gd name="T43" fmla="*/ 20 h 140"/>
                <a:gd name="T44" fmla="*/ 42 w 141"/>
                <a:gd name="T45" fmla="*/ 5 h 140"/>
                <a:gd name="T46" fmla="*/ 56 w 141"/>
                <a:gd name="T47" fmla="*/ 2 h 140"/>
                <a:gd name="T48" fmla="*/ 71 w 141"/>
                <a:gd name="T49" fmla="*/ 0 h 140"/>
                <a:gd name="T50" fmla="*/ 79 w 141"/>
                <a:gd name="T51" fmla="*/ 0 h 140"/>
                <a:gd name="T52" fmla="*/ 93 w 141"/>
                <a:gd name="T53" fmla="*/ 4 h 140"/>
                <a:gd name="T54" fmla="*/ 105 w 141"/>
                <a:gd name="T55" fmla="*/ 8 h 140"/>
                <a:gd name="T56" fmla="*/ 121 w 141"/>
                <a:gd name="T57" fmla="*/ 21 h 140"/>
                <a:gd name="T58" fmla="*/ 98 w 141"/>
                <a:gd name="T59" fmla="*/ 41 h 140"/>
                <a:gd name="T60" fmla="*/ 87 w 141"/>
                <a:gd name="T61" fmla="*/ 33 h 140"/>
                <a:gd name="T62" fmla="*/ 71 w 141"/>
                <a:gd name="T63" fmla="*/ 29 h 140"/>
                <a:gd name="T64" fmla="*/ 62 w 141"/>
                <a:gd name="T65" fmla="*/ 29 h 140"/>
                <a:gd name="T66" fmla="*/ 48 w 141"/>
                <a:gd name="T67" fmla="*/ 36 h 140"/>
                <a:gd name="T68" fmla="*/ 38 w 141"/>
                <a:gd name="T69" fmla="*/ 46 h 140"/>
                <a:gd name="T70" fmla="*/ 32 w 141"/>
                <a:gd name="T71" fmla="*/ 61 h 140"/>
                <a:gd name="T72" fmla="*/ 31 w 141"/>
                <a:gd name="T73" fmla="*/ 70 h 140"/>
                <a:gd name="T74" fmla="*/ 34 w 141"/>
                <a:gd name="T75" fmla="*/ 88 h 140"/>
                <a:gd name="T76" fmla="*/ 42 w 141"/>
                <a:gd name="T77" fmla="*/ 100 h 140"/>
                <a:gd name="T78" fmla="*/ 55 w 141"/>
                <a:gd name="T79" fmla="*/ 109 h 140"/>
                <a:gd name="T80" fmla="*/ 71 w 141"/>
                <a:gd name="T81" fmla="*/ 11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0">
                  <a:moveTo>
                    <a:pt x="71" y="113"/>
                  </a:moveTo>
                  <a:lnTo>
                    <a:pt x="71" y="113"/>
                  </a:lnTo>
                  <a:lnTo>
                    <a:pt x="79" y="112"/>
                  </a:lnTo>
                  <a:lnTo>
                    <a:pt x="87" y="109"/>
                  </a:lnTo>
                  <a:lnTo>
                    <a:pt x="94" y="106"/>
                  </a:lnTo>
                  <a:lnTo>
                    <a:pt x="100" y="100"/>
                  </a:lnTo>
                  <a:lnTo>
                    <a:pt x="104" y="94"/>
                  </a:lnTo>
                  <a:lnTo>
                    <a:pt x="108" y="88"/>
                  </a:lnTo>
                  <a:lnTo>
                    <a:pt x="110" y="80"/>
                  </a:lnTo>
                  <a:lnTo>
                    <a:pt x="110" y="70"/>
                  </a:lnTo>
                  <a:lnTo>
                    <a:pt x="141" y="70"/>
                  </a:lnTo>
                  <a:lnTo>
                    <a:pt x="141" y="70"/>
                  </a:lnTo>
                  <a:lnTo>
                    <a:pt x="141" y="78"/>
                  </a:lnTo>
                  <a:lnTo>
                    <a:pt x="140" y="85"/>
                  </a:lnTo>
                  <a:lnTo>
                    <a:pt x="137" y="92"/>
                  </a:lnTo>
                  <a:lnTo>
                    <a:pt x="135" y="98"/>
                  </a:lnTo>
                  <a:lnTo>
                    <a:pt x="129" y="110"/>
                  </a:lnTo>
                  <a:lnTo>
                    <a:pt x="120" y="121"/>
                  </a:lnTo>
                  <a:lnTo>
                    <a:pt x="110" y="129"/>
                  </a:lnTo>
                  <a:lnTo>
                    <a:pt x="98" y="136"/>
                  </a:lnTo>
                  <a:lnTo>
                    <a:pt x="92" y="138"/>
                  </a:lnTo>
                  <a:lnTo>
                    <a:pt x="85" y="139"/>
                  </a:lnTo>
                  <a:lnTo>
                    <a:pt x="78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3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1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63"/>
                  </a:lnTo>
                  <a:lnTo>
                    <a:pt x="2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13" y="30"/>
                  </a:lnTo>
                  <a:lnTo>
                    <a:pt x="21" y="20"/>
                  </a:lnTo>
                  <a:lnTo>
                    <a:pt x="31" y="12"/>
                  </a:lnTo>
                  <a:lnTo>
                    <a:pt x="42" y="5"/>
                  </a:lnTo>
                  <a:lnTo>
                    <a:pt x="49" y="3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6" y="2"/>
                  </a:lnTo>
                  <a:lnTo>
                    <a:pt x="93" y="4"/>
                  </a:lnTo>
                  <a:lnTo>
                    <a:pt x="100" y="6"/>
                  </a:lnTo>
                  <a:lnTo>
                    <a:pt x="105" y="8"/>
                  </a:lnTo>
                  <a:lnTo>
                    <a:pt x="111" y="12"/>
                  </a:lnTo>
                  <a:lnTo>
                    <a:pt x="121" y="21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79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62" y="29"/>
                  </a:lnTo>
                  <a:lnTo>
                    <a:pt x="55" y="31"/>
                  </a:lnTo>
                  <a:lnTo>
                    <a:pt x="48" y="36"/>
                  </a:lnTo>
                  <a:lnTo>
                    <a:pt x="42" y="41"/>
                  </a:lnTo>
                  <a:lnTo>
                    <a:pt x="38" y="46"/>
                  </a:lnTo>
                  <a:lnTo>
                    <a:pt x="34" y="53"/>
                  </a:lnTo>
                  <a:lnTo>
                    <a:pt x="32" y="61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2" y="80"/>
                  </a:lnTo>
                  <a:lnTo>
                    <a:pt x="34" y="88"/>
                  </a:lnTo>
                  <a:lnTo>
                    <a:pt x="38" y="94"/>
                  </a:lnTo>
                  <a:lnTo>
                    <a:pt x="42" y="100"/>
                  </a:lnTo>
                  <a:lnTo>
                    <a:pt x="48" y="106"/>
                  </a:lnTo>
                  <a:lnTo>
                    <a:pt x="55" y="109"/>
                  </a:lnTo>
                  <a:lnTo>
                    <a:pt x="62" y="112"/>
                  </a:lnTo>
                  <a:lnTo>
                    <a:pt x="71" y="113"/>
                  </a:lnTo>
                  <a:lnTo>
                    <a:pt x="71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6" name="Freeform 40"/>
            <p:cNvSpPr>
              <a:spLocks/>
            </p:cNvSpPr>
            <p:nvPr userDrawn="1"/>
          </p:nvSpPr>
          <p:spPr bwMode="auto">
            <a:xfrm>
              <a:off x="1495" y="3756"/>
              <a:ext cx="40" cy="66"/>
            </a:xfrm>
            <a:custGeom>
              <a:avLst/>
              <a:gdLst>
                <a:gd name="T0" fmla="*/ 0 w 122"/>
                <a:gd name="T1" fmla="*/ 4 h 196"/>
                <a:gd name="T2" fmla="*/ 30 w 122"/>
                <a:gd name="T3" fmla="*/ 0 h 196"/>
                <a:gd name="T4" fmla="*/ 30 w 122"/>
                <a:gd name="T5" fmla="*/ 75 h 196"/>
                <a:gd name="T6" fmla="*/ 30 w 122"/>
                <a:gd name="T7" fmla="*/ 75 h 196"/>
                <a:gd name="T8" fmla="*/ 37 w 122"/>
                <a:gd name="T9" fmla="*/ 68 h 196"/>
                <a:gd name="T10" fmla="*/ 46 w 122"/>
                <a:gd name="T11" fmla="*/ 62 h 196"/>
                <a:gd name="T12" fmla="*/ 57 w 122"/>
                <a:gd name="T13" fmla="*/ 59 h 196"/>
                <a:gd name="T14" fmla="*/ 63 w 122"/>
                <a:gd name="T15" fmla="*/ 57 h 196"/>
                <a:gd name="T16" fmla="*/ 70 w 122"/>
                <a:gd name="T17" fmla="*/ 57 h 196"/>
                <a:gd name="T18" fmla="*/ 70 w 122"/>
                <a:gd name="T19" fmla="*/ 57 h 196"/>
                <a:gd name="T20" fmla="*/ 81 w 122"/>
                <a:gd name="T21" fmla="*/ 59 h 196"/>
                <a:gd name="T22" fmla="*/ 92 w 122"/>
                <a:gd name="T23" fmla="*/ 61 h 196"/>
                <a:gd name="T24" fmla="*/ 101 w 122"/>
                <a:gd name="T25" fmla="*/ 65 h 196"/>
                <a:gd name="T26" fmla="*/ 108 w 122"/>
                <a:gd name="T27" fmla="*/ 72 h 196"/>
                <a:gd name="T28" fmla="*/ 113 w 122"/>
                <a:gd name="T29" fmla="*/ 80 h 196"/>
                <a:gd name="T30" fmla="*/ 118 w 122"/>
                <a:gd name="T31" fmla="*/ 90 h 196"/>
                <a:gd name="T32" fmla="*/ 121 w 122"/>
                <a:gd name="T33" fmla="*/ 101 h 196"/>
                <a:gd name="T34" fmla="*/ 122 w 122"/>
                <a:gd name="T35" fmla="*/ 114 h 196"/>
                <a:gd name="T36" fmla="*/ 122 w 122"/>
                <a:gd name="T37" fmla="*/ 196 h 196"/>
                <a:gd name="T38" fmla="*/ 92 w 122"/>
                <a:gd name="T39" fmla="*/ 196 h 196"/>
                <a:gd name="T40" fmla="*/ 92 w 122"/>
                <a:gd name="T41" fmla="*/ 120 h 196"/>
                <a:gd name="T42" fmla="*/ 92 w 122"/>
                <a:gd name="T43" fmla="*/ 120 h 196"/>
                <a:gd name="T44" fmla="*/ 92 w 122"/>
                <a:gd name="T45" fmla="*/ 112 h 196"/>
                <a:gd name="T46" fmla="*/ 90 w 122"/>
                <a:gd name="T47" fmla="*/ 106 h 196"/>
                <a:gd name="T48" fmla="*/ 88 w 122"/>
                <a:gd name="T49" fmla="*/ 100 h 196"/>
                <a:gd name="T50" fmla="*/ 85 w 122"/>
                <a:gd name="T51" fmla="*/ 95 h 196"/>
                <a:gd name="T52" fmla="*/ 80 w 122"/>
                <a:gd name="T53" fmla="*/ 91 h 196"/>
                <a:gd name="T54" fmla="*/ 76 w 122"/>
                <a:gd name="T55" fmla="*/ 88 h 196"/>
                <a:gd name="T56" fmla="*/ 69 w 122"/>
                <a:gd name="T57" fmla="*/ 86 h 196"/>
                <a:gd name="T58" fmla="*/ 62 w 122"/>
                <a:gd name="T59" fmla="*/ 86 h 196"/>
                <a:gd name="T60" fmla="*/ 62 w 122"/>
                <a:gd name="T61" fmla="*/ 86 h 196"/>
                <a:gd name="T62" fmla="*/ 55 w 122"/>
                <a:gd name="T63" fmla="*/ 86 h 196"/>
                <a:gd name="T64" fmla="*/ 49 w 122"/>
                <a:gd name="T65" fmla="*/ 88 h 196"/>
                <a:gd name="T66" fmla="*/ 43 w 122"/>
                <a:gd name="T67" fmla="*/ 92 h 196"/>
                <a:gd name="T68" fmla="*/ 39 w 122"/>
                <a:gd name="T69" fmla="*/ 95 h 196"/>
                <a:gd name="T70" fmla="*/ 35 w 122"/>
                <a:gd name="T71" fmla="*/ 101 h 196"/>
                <a:gd name="T72" fmla="*/ 32 w 122"/>
                <a:gd name="T73" fmla="*/ 107 h 196"/>
                <a:gd name="T74" fmla="*/ 31 w 122"/>
                <a:gd name="T75" fmla="*/ 114 h 196"/>
                <a:gd name="T76" fmla="*/ 30 w 122"/>
                <a:gd name="T77" fmla="*/ 120 h 196"/>
                <a:gd name="T78" fmla="*/ 30 w 122"/>
                <a:gd name="T79" fmla="*/ 196 h 196"/>
                <a:gd name="T80" fmla="*/ 0 w 122"/>
                <a:gd name="T81" fmla="*/ 196 h 196"/>
                <a:gd name="T82" fmla="*/ 0 w 122"/>
                <a:gd name="T83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2" h="196">
                  <a:moveTo>
                    <a:pt x="0" y="4"/>
                  </a:moveTo>
                  <a:lnTo>
                    <a:pt x="30" y="0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7" y="68"/>
                  </a:lnTo>
                  <a:lnTo>
                    <a:pt x="46" y="62"/>
                  </a:lnTo>
                  <a:lnTo>
                    <a:pt x="57" y="59"/>
                  </a:lnTo>
                  <a:lnTo>
                    <a:pt x="63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81" y="59"/>
                  </a:lnTo>
                  <a:lnTo>
                    <a:pt x="92" y="61"/>
                  </a:lnTo>
                  <a:lnTo>
                    <a:pt x="101" y="65"/>
                  </a:lnTo>
                  <a:lnTo>
                    <a:pt x="108" y="72"/>
                  </a:lnTo>
                  <a:lnTo>
                    <a:pt x="113" y="80"/>
                  </a:lnTo>
                  <a:lnTo>
                    <a:pt x="118" y="90"/>
                  </a:lnTo>
                  <a:lnTo>
                    <a:pt x="121" y="101"/>
                  </a:lnTo>
                  <a:lnTo>
                    <a:pt x="122" y="114"/>
                  </a:lnTo>
                  <a:lnTo>
                    <a:pt x="122" y="196"/>
                  </a:lnTo>
                  <a:lnTo>
                    <a:pt x="92" y="196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2" y="112"/>
                  </a:lnTo>
                  <a:lnTo>
                    <a:pt x="90" y="106"/>
                  </a:lnTo>
                  <a:lnTo>
                    <a:pt x="88" y="100"/>
                  </a:lnTo>
                  <a:lnTo>
                    <a:pt x="85" y="95"/>
                  </a:lnTo>
                  <a:lnTo>
                    <a:pt x="80" y="91"/>
                  </a:lnTo>
                  <a:lnTo>
                    <a:pt x="76" y="88"/>
                  </a:lnTo>
                  <a:lnTo>
                    <a:pt x="69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55" y="86"/>
                  </a:lnTo>
                  <a:lnTo>
                    <a:pt x="49" y="88"/>
                  </a:lnTo>
                  <a:lnTo>
                    <a:pt x="43" y="92"/>
                  </a:lnTo>
                  <a:lnTo>
                    <a:pt x="39" y="95"/>
                  </a:lnTo>
                  <a:lnTo>
                    <a:pt x="35" y="101"/>
                  </a:lnTo>
                  <a:lnTo>
                    <a:pt x="32" y="107"/>
                  </a:lnTo>
                  <a:lnTo>
                    <a:pt x="31" y="114"/>
                  </a:lnTo>
                  <a:lnTo>
                    <a:pt x="30" y="120"/>
                  </a:lnTo>
                  <a:lnTo>
                    <a:pt x="30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7" name="Freeform 41"/>
            <p:cNvSpPr>
              <a:spLocks/>
            </p:cNvSpPr>
            <p:nvPr userDrawn="1"/>
          </p:nvSpPr>
          <p:spPr bwMode="auto">
            <a:xfrm>
              <a:off x="1571" y="3757"/>
              <a:ext cx="64" cy="65"/>
            </a:xfrm>
            <a:custGeom>
              <a:avLst/>
              <a:gdLst>
                <a:gd name="T0" fmla="*/ 95 w 190"/>
                <a:gd name="T1" fmla="*/ 167 h 195"/>
                <a:gd name="T2" fmla="*/ 122 w 190"/>
                <a:gd name="T3" fmla="*/ 162 h 195"/>
                <a:gd name="T4" fmla="*/ 141 w 190"/>
                <a:gd name="T5" fmla="*/ 147 h 195"/>
                <a:gd name="T6" fmla="*/ 155 w 190"/>
                <a:gd name="T7" fmla="*/ 125 h 195"/>
                <a:gd name="T8" fmla="*/ 159 w 190"/>
                <a:gd name="T9" fmla="*/ 98 h 195"/>
                <a:gd name="T10" fmla="*/ 190 w 190"/>
                <a:gd name="T11" fmla="*/ 98 h 195"/>
                <a:gd name="T12" fmla="*/ 189 w 190"/>
                <a:gd name="T13" fmla="*/ 117 h 195"/>
                <a:gd name="T14" fmla="*/ 183 w 190"/>
                <a:gd name="T15" fmla="*/ 136 h 195"/>
                <a:gd name="T16" fmla="*/ 174 w 190"/>
                <a:gd name="T17" fmla="*/ 153 h 195"/>
                <a:gd name="T18" fmla="*/ 163 w 190"/>
                <a:gd name="T19" fmla="*/ 168 h 195"/>
                <a:gd name="T20" fmla="*/ 149 w 190"/>
                <a:gd name="T21" fmla="*/ 179 h 195"/>
                <a:gd name="T22" fmla="*/ 133 w 190"/>
                <a:gd name="T23" fmla="*/ 188 h 195"/>
                <a:gd name="T24" fmla="*/ 115 w 190"/>
                <a:gd name="T25" fmla="*/ 194 h 195"/>
                <a:gd name="T26" fmla="*/ 95 w 190"/>
                <a:gd name="T27" fmla="*/ 195 h 195"/>
                <a:gd name="T28" fmla="*/ 86 w 190"/>
                <a:gd name="T29" fmla="*/ 195 h 195"/>
                <a:gd name="T30" fmla="*/ 67 w 190"/>
                <a:gd name="T31" fmla="*/ 192 h 195"/>
                <a:gd name="T32" fmla="*/ 49 w 190"/>
                <a:gd name="T33" fmla="*/ 184 h 195"/>
                <a:gd name="T34" fmla="*/ 35 w 190"/>
                <a:gd name="T35" fmla="*/ 173 h 195"/>
                <a:gd name="T36" fmla="*/ 22 w 190"/>
                <a:gd name="T37" fmla="*/ 160 h 195"/>
                <a:gd name="T38" fmla="*/ 12 w 190"/>
                <a:gd name="T39" fmla="*/ 145 h 195"/>
                <a:gd name="T40" fmla="*/ 5 w 190"/>
                <a:gd name="T41" fmla="*/ 128 h 195"/>
                <a:gd name="T42" fmla="*/ 1 w 190"/>
                <a:gd name="T43" fmla="*/ 108 h 195"/>
                <a:gd name="T44" fmla="*/ 0 w 190"/>
                <a:gd name="T45" fmla="*/ 98 h 195"/>
                <a:gd name="T46" fmla="*/ 2 w 190"/>
                <a:gd name="T47" fmla="*/ 78 h 195"/>
                <a:gd name="T48" fmla="*/ 8 w 190"/>
                <a:gd name="T49" fmla="*/ 60 h 195"/>
                <a:gd name="T50" fmla="*/ 16 w 190"/>
                <a:gd name="T51" fmla="*/ 43 h 195"/>
                <a:gd name="T52" fmla="*/ 28 w 190"/>
                <a:gd name="T53" fmla="*/ 29 h 195"/>
                <a:gd name="T54" fmla="*/ 41 w 190"/>
                <a:gd name="T55" fmla="*/ 16 h 195"/>
                <a:gd name="T56" fmla="*/ 57 w 190"/>
                <a:gd name="T57" fmla="*/ 8 h 195"/>
                <a:gd name="T58" fmla="*/ 76 w 190"/>
                <a:gd name="T59" fmla="*/ 3 h 195"/>
                <a:gd name="T60" fmla="*/ 95 w 190"/>
                <a:gd name="T61" fmla="*/ 0 h 195"/>
                <a:gd name="T62" fmla="*/ 107 w 190"/>
                <a:gd name="T63" fmla="*/ 0 h 195"/>
                <a:gd name="T64" fmla="*/ 127 w 190"/>
                <a:gd name="T65" fmla="*/ 6 h 195"/>
                <a:gd name="T66" fmla="*/ 146 w 190"/>
                <a:gd name="T67" fmla="*/ 15 h 195"/>
                <a:gd name="T68" fmla="*/ 162 w 190"/>
                <a:gd name="T69" fmla="*/ 28 h 195"/>
                <a:gd name="T70" fmla="*/ 147 w 190"/>
                <a:gd name="T71" fmla="*/ 57 h 195"/>
                <a:gd name="T72" fmla="*/ 142 w 190"/>
                <a:gd name="T73" fmla="*/ 51 h 195"/>
                <a:gd name="T74" fmla="*/ 132 w 190"/>
                <a:gd name="T75" fmla="*/ 41 h 195"/>
                <a:gd name="T76" fmla="*/ 119 w 190"/>
                <a:gd name="T77" fmla="*/ 34 h 195"/>
                <a:gd name="T78" fmla="*/ 104 w 190"/>
                <a:gd name="T79" fmla="*/ 30 h 195"/>
                <a:gd name="T80" fmla="*/ 95 w 190"/>
                <a:gd name="T81" fmla="*/ 29 h 195"/>
                <a:gd name="T82" fmla="*/ 83 w 190"/>
                <a:gd name="T83" fmla="*/ 30 h 195"/>
                <a:gd name="T84" fmla="*/ 70 w 190"/>
                <a:gd name="T85" fmla="*/ 35 h 195"/>
                <a:gd name="T86" fmla="*/ 49 w 190"/>
                <a:gd name="T87" fmla="*/ 50 h 195"/>
                <a:gd name="T88" fmla="*/ 37 w 190"/>
                <a:gd name="T89" fmla="*/ 71 h 195"/>
                <a:gd name="T90" fmla="*/ 32 w 190"/>
                <a:gd name="T91" fmla="*/ 98 h 195"/>
                <a:gd name="T92" fmla="*/ 33 w 190"/>
                <a:gd name="T93" fmla="*/ 112 h 195"/>
                <a:gd name="T94" fmla="*/ 43 w 190"/>
                <a:gd name="T95" fmla="*/ 137 h 195"/>
                <a:gd name="T96" fmla="*/ 59 w 190"/>
                <a:gd name="T97" fmla="*/ 155 h 195"/>
                <a:gd name="T98" fmla="*/ 76 w 190"/>
                <a:gd name="T99" fmla="*/ 163 h 195"/>
                <a:gd name="T100" fmla="*/ 88 w 190"/>
                <a:gd name="T101" fmla="*/ 167 h 195"/>
                <a:gd name="T102" fmla="*/ 95 w 190"/>
                <a:gd name="T103" fmla="*/ 16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0" h="195">
                  <a:moveTo>
                    <a:pt x="95" y="167"/>
                  </a:moveTo>
                  <a:lnTo>
                    <a:pt x="95" y="167"/>
                  </a:lnTo>
                  <a:lnTo>
                    <a:pt x="109" y="165"/>
                  </a:lnTo>
                  <a:lnTo>
                    <a:pt x="122" y="162"/>
                  </a:lnTo>
                  <a:lnTo>
                    <a:pt x="132" y="155"/>
                  </a:lnTo>
                  <a:lnTo>
                    <a:pt x="141" y="147"/>
                  </a:lnTo>
                  <a:lnTo>
                    <a:pt x="149" y="137"/>
                  </a:lnTo>
                  <a:lnTo>
                    <a:pt x="155" y="125"/>
                  </a:lnTo>
                  <a:lnTo>
                    <a:pt x="158" y="113"/>
                  </a:lnTo>
                  <a:lnTo>
                    <a:pt x="159" y="98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90" y="108"/>
                  </a:lnTo>
                  <a:lnTo>
                    <a:pt x="189" y="117"/>
                  </a:lnTo>
                  <a:lnTo>
                    <a:pt x="187" y="128"/>
                  </a:lnTo>
                  <a:lnTo>
                    <a:pt x="183" y="136"/>
                  </a:lnTo>
                  <a:lnTo>
                    <a:pt x="179" y="145"/>
                  </a:lnTo>
                  <a:lnTo>
                    <a:pt x="174" y="153"/>
                  </a:lnTo>
                  <a:lnTo>
                    <a:pt x="170" y="160"/>
                  </a:lnTo>
                  <a:lnTo>
                    <a:pt x="163" y="168"/>
                  </a:lnTo>
                  <a:lnTo>
                    <a:pt x="157" y="173"/>
                  </a:lnTo>
                  <a:lnTo>
                    <a:pt x="149" y="179"/>
                  </a:lnTo>
                  <a:lnTo>
                    <a:pt x="142" y="184"/>
                  </a:lnTo>
                  <a:lnTo>
                    <a:pt x="133" y="188"/>
                  </a:lnTo>
                  <a:lnTo>
                    <a:pt x="125" y="192"/>
                  </a:lnTo>
                  <a:lnTo>
                    <a:pt x="115" y="194"/>
                  </a:lnTo>
                  <a:lnTo>
                    <a:pt x="106" y="195"/>
                  </a:lnTo>
                  <a:lnTo>
                    <a:pt x="95" y="195"/>
                  </a:lnTo>
                  <a:lnTo>
                    <a:pt x="95" y="195"/>
                  </a:lnTo>
                  <a:lnTo>
                    <a:pt x="86" y="195"/>
                  </a:lnTo>
                  <a:lnTo>
                    <a:pt x="76" y="194"/>
                  </a:lnTo>
                  <a:lnTo>
                    <a:pt x="67" y="192"/>
                  </a:lnTo>
                  <a:lnTo>
                    <a:pt x="57" y="188"/>
                  </a:lnTo>
                  <a:lnTo>
                    <a:pt x="49" y="184"/>
                  </a:lnTo>
                  <a:lnTo>
                    <a:pt x="41" y="179"/>
                  </a:lnTo>
                  <a:lnTo>
                    <a:pt x="35" y="173"/>
                  </a:lnTo>
                  <a:lnTo>
                    <a:pt x="28" y="168"/>
                  </a:lnTo>
                  <a:lnTo>
                    <a:pt x="22" y="160"/>
                  </a:lnTo>
                  <a:lnTo>
                    <a:pt x="16" y="153"/>
                  </a:lnTo>
                  <a:lnTo>
                    <a:pt x="12" y="145"/>
                  </a:lnTo>
                  <a:lnTo>
                    <a:pt x="8" y="136"/>
                  </a:lnTo>
                  <a:lnTo>
                    <a:pt x="5" y="128"/>
                  </a:lnTo>
                  <a:lnTo>
                    <a:pt x="2" y="117"/>
                  </a:lnTo>
                  <a:lnTo>
                    <a:pt x="1" y="10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1" y="88"/>
                  </a:lnTo>
                  <a:lnTo>
                    <a:pt x="2" y="78"/>
                  </a:lnTo>
                  <a:lnTo>
                    <a:pt x="5" y="69"/>
                  </a:lnTo>
                  <a:lnTo>
                    <a:pt x="8" y="60"/>
                  </a:lnTo>
                  <a:lnTo>
                    <a:pt x="12" y="51"/>
                  </a:lnTo>
                  <a:lnTo>
                    <a:pt x="16" y="43"/>
                  </a:lnTo>
                  <a:lnTo>
                    <a:pt x="22" y="36"/>
                  </a:lnTo>
                  <a:lnTo>
                    <a:pt x="28" y="29"/>
                  </a:lnTo>
                  <a:lnTo>
                    <a:pt x="35" y="22"/>
                  </a:lnTo>
                  <a:lnTo>
                    <a:pt x="41" y="16"/>
                  </a:lnTo>
                  <a:lnTo>
                    <a:pt x="49" y="12"/>
                  </a:lnTo>
                  <a:lnTo>
                    <a:pt x="57" y="8"/>
                  </a:lnTo>
                  <a:lnTo>
                    <a:pt x="67" y="5"/>
                  </a:lnTo>
                  <a:lnTo>
                    <a:pt x="76" y="3"/>
                  </a:lnTo>
                  <a:lnTo>
                    <a:pt x="86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107" y="0"/>
                  </a:lnTo>
                  <a:lnTo>
                    <a:pt x="118" y="3"/>
                  </a:lnTo>
                  <a:lnTo>
                    <a:pt x="127" y="6"/>
                  </a:lnTo>
                  <a:lnTo>
                    <a:pt x="138" y="10"/>
                  </a:lnTo>
                  <a:lnTo>
                    <a:pt x="146" y="15"/>
                  </a:lnTo>
                  <a:lnTo>
                    <a:pt x="154" y="21"/>
                  </a:lnTo>
                  <a:lnTo>
                    <a:pt x="162" y="28"/>
                  </a:lnTo>
                  <a:lnTo>
                    <a:pt x="169" y="36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2" y="51"/>
                  </a:lnTo>
                  <a:lnTo>
                    <a:pt x="138" y="45"/>
                  </a:lnTo>
                  <a:lnTo>
                    <a:pt x="132" y="41"/>
                  </a:lnTo>
                  <a:lnTo>
                    <a:pt x="126" y="37"/>
                  </a:lnTo>
                  <a:lnTo>
                    <a:pt x="119" y="34"/>
                  </a:lnTo>
                  <a:lnTo>
                    <a:pt x="111" y="31"/>
                  </a:lnTo>
                  <a:lnTo>
                    <a:pt x="104" y="30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88" y="30"/>
                  </a:lnTo>
                  <a:lnTo>
                    <a:pt x="83" y="30"/>
                  </a:lnTo>
                  <a:lnTo>
                    <a:pt x="76" y="33"/>
                  </a:lnTo>
                  <a:lnTo>
                    <a:pt x="70" y="35"/>
                  </a:lnTo>
                  <a:lnTo>
                    <a:pt x="59" y="41"/>
                  </a:lnTo>
                  <a:lnTo>
                    <a:pt x="49" y="50"/>
                  </a:lnTo>
                  <a:lnTo>
                    <a:pt x="43" y="59"/>
                  </a:lnTo>
                  <a:lnTo>
                    <a:pt x="37" y="71"/>
                  </a:lnTo>
                  <a:lnTo>
                    <a:pt x="33" y="84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3" y="112"/>
                  </a:lnTo>
                  <a:lnTo>
                    <a:pt x="37" y="125"/>
                  </a:lnTo>
                  <a:lnTo>
                    <a:pt x="43" y="137"/>
                  </a:lnTo>
                  <a:lnTo>
                    <a:pt x="49" y="147"/>
                  </a:lnTo>
                  <a:lnTo>
                    <a:pt x="59" y="155"/>
                  </a:lnTo>
                  <a:lnTo>
                    <a:pt x="70" y="161"/>
                  </a:lnTo>
                  <a:lnTo>
                    <a:pt x="76" y="163"/>
                  </a:lnTo>
                  <a:lnTo>
                    <a:pt x="83" y="165"/>
                  </a:lnTo>
                  <a:lnTo>
                    <a:pt x="88" y="167"/>
                  </a:lnTo>
                  <a:lnTo>
                    <a:pt x="95" y="167"/>
                  </a:lnTo>
                  <a:lnTo>
                    <a:pt x="95" y="1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8" name="Freeform 42"/>
            <p:cNvSpPr>
              <a:spLocks noEditPoints="1"/>
            </p:cNvSpPr>
            <p:nvPr userDrawn="1"/>
          </p:nvSpPr>
          <p:spPr bwMode="auto">
            <a:xfrm>
              <a:off x="1642" y="3775"/>
              <a:ext cx="47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7 w 140"/>
                <a:gd name="T13" fmla="*/ 105 h 140"/>
                <a:gd name="T14" fmla="*/ 138 w 140"/>
                <a:gd name="T15" fmla="*/ 99 h 140"/>
                <a:gd name="T16" fmla="*/ 133 w 140"/>
                <a:gd name="T17" fmla="*/ 108 h 140"/>
                <a:gd name="T18" fmla="*/ 121 w 140"/>
                <a:gd name="T19" fmla="*/ 123 h 140"/>
                <a:gd name="T20" fmla="*/ 103 w 140"/>
                <a:gd name="T21" fmla="*/ 135 h 140"/>
                <a:gd name="T22" fmla="*/ 83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3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3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1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8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3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3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1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90" y="109"/>
                  </a:lnTo>
                  <a:lnTo>
                    <a:pt x="97" y="105"/>
                  </a:lnTo>
                  <a:lnTo>
                    <a:pt x="102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1" y="123"/>
                  </a:lnTo>
                  <a:lnTo>
                    <a:pt x="113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3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50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2" y="109"/>
                  </a:lnTo>
                  <a:lnTo>
                    <a:pt x="6" y="98"/>
                  </a:lnTo>
                  <a:lnTo>
                    <a:pt x="4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2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3" y="6"/>
                  </a:lnTo>
                  <a:lnTo>
                    <a:pt x="50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1" y="4"/>
                  </a:lnTo>
                  <a:lnTo>
                    <a:pt x="98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8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5" y="49"/>
                  </a:lnTo>
                  <a:lnTo>
                    <a:pt x="101" y="44"/>
                  </a:lnTo>
                  <a:lnTo>
                    <a:pt x="98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3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8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3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9" name="Freeform 43"/>
            <p:cNvSpPr>
              <a:spLocks/>
            </p:cNvSpPr>
            <p:nvPr userDrawn="1"/>
          </p:nvSpPr>
          <p:spPr bwMode="auto">
            <a:xfrm>
              <a:off x="1698" y="3775"/>
              <a:ext cx="40" cy="47"/>
            </a:xfrm>
            <a:custGeom>
              <a:avLst/>
              <a:gdLst>
                <a:gd name="T0" fmla="*/ 0 w 121"/>
                <a:gd name="T1" fmla="*/ 2 h 139"/>
                <a:gd name="T2" fmla="*/ 30 w 121"/>
                <a:gd name="T3" fmla="*/ 2 h 139"/>
                <a:gd name="T4" fmla="*/ 30 w 121"/>
                <a:gd name="T5" fmla="*/ 18 h 139"/>
                <a:gd name="T6" fmla="*/ 30 w 121"/>
                <a:gd name="T7" fmla="*/ 18 h 139"/>
                <a:gd name="T8" fmla="*/ 36 w 121"/>
                <a:gd name="T9" fmla="*/ 12 h 139"/>
                <a:gd name="T10" fmla="*/ 44 w 121"/>
                <a:gd name="T11" fmla="*/ 6 h 139"/>
                <a:gd name="T12" fmla="*/ 50 w 121"/>
                <a:gd name="T13" fmla="*/ 4 h 139"/>
                <a:gd name="T14" fmla="*/ 55 w 121"/>
                <a:gd name="T15" fmla="*/ 2 h 139"/>
                <a:gd name="T16" fmla="*/ 61 w 121"/>
                <a:gd name="T17" fmla="*/ 0 h 139"/>
                <a:gd name="T18" fmla="*/ 68 w 121"/>
                <a:gd name="T19" fmla="*/ 0 h 139"/>
                <a:gd name="T20" fmla="*/ 68 w 121"/>
                <a:gd name="T21" fmla="*/ 0 h 139"/>
                <a:gd name="T22" fmla="*/ 79 w 121"/>
                <a:gd name="T23" fmla="*/ 2 h 139"/>
                <a:gd name="T24" fmla="*/ 91 w 121"/>
                <a:gd name="T25" fmla="*/ 4 h 139"/>
                <a:gd name="T26" fmla="*/ 99 w 121"/>
                <a:gd name="T27" fmla="*/ 8 h 139"/>
                <a:gd name="T28" fmla="*/ 107 w 121"/>
                <a:gd name="T29" fmla="*/ 15 h 139"/>
                <a:gd name="T30" fmla="*/ 113 w 121"/>
                <a:gd name="T31" fmla="*/ 23 h 139"/>
                <a:gd name="T32" fmla="*/ 117 w 121"/>
                <a:gd name="T33" fmla="*/ 33 h 139"/>
                <a:gd name="T34" fmla="*/ 120 w 121"/>
                <a:gd name="T35" fmla="*/ 44 h 139"/>
                <a:gd name="T36" fmla="*/ 121 w 121"/>
                <a:gd name="T37" fmla="*/ 57 h 139"/>
                <a:gd name="T38" fmla="*/ 121 w 121"/>
                <a:gd name="T39" fmla="*/ 139 h 139"/>
                <a:gd name="T40" fmla="*/ 91 w 121"/>
                <a:gd name="T41" fmla="*/ 139 h 139"/>
                <a:gd name="T42" fmla="*/ 91 w 121"/>
                <a:gd name="T43" fmla="*/ 63 h 139"/>
                <a:gd name="T44" fmla="*/ 91 w 121"/>
                <a:gd name="T45" fmla="*/ 63 h 139"/>
                <a:gd name="T46" fmla="*/ 90 w 121"/>
                <a:gd name="T47" fmla="*/ 55 h 139"/>
                <a:gd name="T48" fmla="*/ 89 w 121"/>
                <a:gd name="T49" fmla="*/ 47 h 139"/>
                <a:gd name="T50" fmla="*/ 86 w 121"/>
                <a:gd name="T51" fmla="*/ 42 h 139"/>
                <a:gd name="T52" fmla="*/ 83 w 121"/>
                <a:gd name="T53" fmla="*/ 37 h 139"/>
                <a:gd name="T54" fmla="*/ 78 w 121"/>
                <a:gd name="T55" fmla="*/ 34 h 139"/>
                <a:gd name="T56" fmla="*/ 74 w 121"/>
                <a:gd name="T57" fmla="*/ 30 h 139"/>
                <a:gd name="T58" fmla="*/ 67 w 121"/>
                <a:gd name="T59" fmla="*/ 29 h 139"/>
                <a:gd name="T60" fmla="*/ 60 w 121"/>
                <a:gd name="T61" fmla="*/ 29 h 139"/>
                <a:gd name="T62" fmla="*/ 60 w 121"/>
                <a:gd name="T63" fmla="*/ 29 h 139"/>
                <a:gd name="T64" fmla="*/ 53 w 121"/>
                <a:gd name="T65" fmla="*/ 29 h 139"/>
                <a:gd name="T66" fmla="*/ 47 w 121"/>
                <a:gd name="T67" fmla="*/ 31 h 139"/>
                <a:gd name="T68" fmla="*/ 42 w 121"/>
                <a:gd name="T69" fmla="*/ 35 h 139"/>
                <a:gd name="T70" fmla="*/ 38 w 121"/>
                <a:gd name="T71" fmla="*/ 38 h 139"/>
                <a:gd name="T72" fmla="*/ 35 w 121"/>
                <a:gd name="T73" fmla="*/ 44 h 139"/>
                <a:gd name="T74" fmla="*/ 32 w 121"/>
                <a:gd name="T75" fmla="*/ 50 h 139"/>
                <a:gd name="T76" fmla="*/ 30 w 121"/>
                <a:gd name="T77" fmla="*/ 57 h 139"/>
                <a:gd name="T78" fmla="*/ 30 w 121"/>
                <a:gd name="T79" fmla="*/ 63 h 139"/>
                <a:gd name="T80" fmla="*/ 30 w 121"/>
                <a:gd name="T81" fmla="*/ 139 h 139"/>
                <a:gd name="T82" fmla="*/ 0 w 121"/>
                <a:gd name="T83" fmla="*/ 139 h 139"/>
                <a:gd name="T84" fmla="*/ 0 w 121"/>
                <a:gd name="T85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39">
                  <a:moveTo>
                    <a:pt x="0" y="2"/>
                  </a:moveTo>
                  <a:lnTo>
                    <a:pt x="30" y="2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6"/>
                  </a:lnTo>
                  <a:lnTo>
                    <a:pt x="50" y="4"/>
                  </a:lnTo>
                  <a:lnTo>
                    <a:pt x="55" y="2"/>
                  </a:lnTo>
                  <a:lnTo>
                    <a:pt x="61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9" y="2"/>
                  </a:lnTo>
                  <a:lnTo>
                    <a:pt x="91" y="4"/>
                  </a:lnTo>
                  <a:lnTo>
                    <a:pt x="99" y="8"/>
                  </a:lnTo>
                  <a:lnTo>
                    <a:pt x="107" y="15"/>
                  </a:lnTo>
                  <a:lnTo>
                    <a:pt x="113" y="23"/>
                  </a:lnTo>
                  <a:lnTo>
                    <a:pt x="117" y="33"/>
                  </a:lnTo>
                  <a:lnTo>
                    <a:pt x="120" y="44"/>
                  </a:lnTo>
                  <a:lnTo>
                    <a:pt x="121" y="57"/>
                  </a:lnTo>
                  <a:lnTo>
                    <a:pt x="121" y="139"/>
                  </a:lnTo>
                  <a:lnTo>
                    <a:pt x="91" y="139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90" y="55"/>
                  </a:lnTo>
                  <a:lnTo>
                    <a:pt x="89" y="47"/>
                  </a:lnTo>
                  <a:lnTo>
                    <a:pt x="86" y="42"/>
                  </a:lnTo>
                  <a:lnTo>
                    <a:pt x="83" y="37"/>
                  </a:lnTo>
                  <a:lnTo>
                    <a:pt x="78" y="34"/>
                  </a:lnTo>
                  <a:lnTo>
                    <a:pt x="74" y="30"/>
                  </a:lnTo>
                  <a:lnTo>
                    <a:pt x="67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3" y="29"/>
                  </a:lnTo>
                  <a:lnTo>
                    <a:pt x="47" y="31"/>
                  </a:lnTo>
                  <a:lnTo>
                    <a:pt x="42" y="35"/>
                  </a:lnTo>
                  <a:lnTo>
                    <a:pt x="38" y="38"/>
                  </a:lnTo>
                  <a:lnTo>
                    <a:pt x="35" y="44"/>
                  </a:lnTo>
                  <a:lnTo>
                    <a:pt x="32" y="50"/>
                  </a:lnTo>
                  <a:lnTo>
                    <a:pt x="30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0" name="Freeform 44"/>
            <p:cNvSpPr>
              <a:spLocks/>
            </p:cNvSpPr>
            <p:nvPr userDrawn="1"/>
          </p:nvSpPr>
          <p:spPr bwMode="auto">
            <a:xfrm>
              <a:off x="1744" y="3756"/>
              <a:ext cx="33" cy="66"/>
            </a:xfrm>
            <a:custGeom>
              <a:avLst/>
              <a:gdLst>
                <a:gd name="T0" fmla="*/ 29 w 100"/>
                <a:gd name="T1" fmla="*/ 4 h 196"/>
                <a:gd name="T2" fmla="*/ 58 w 100"/>
                <a:gd name="T3" fmla="*/ 0 h 196"/>
                <a:gd name="T4" fmla="*/ 58 w 100"/>
                <a:gd name="T5" fmla="*/ 59 h 196"/>
                <a:gd name="T6" fmla="*/ 100 w 100"/>
                <a:gd name="T7" fmla="*/ 59 h 196"/>
                <a:gd name="T8" fmla="*/ 100 w 100"/>
                <a:gd name="T9" fmla="*/ 87 h 196"/>
                <a:gd name="T10" fmla="*/ 58 w 100"/>
                <a:gd name="T11" fmla="*/ 87 h 196"/>
                <a:gd name="T12" fmla="*/ 58 w 100"/>
                <a:gd name="T13" fmla="*/ 196 h 196"/>
                <a:gd name="T14" fmla="*/ 29 w 100"/>
                <a:gd name="T15" fmla="*/ 196 h 196"/>
                <a:gd name="T16" fmla="*/ 29 w 100"/>
                <a:gd name="T17" fmla="*/ 87 h 196"/>
                <a:gd name="T18" fmla="*/ 0 w 100"/>
                <a:gd name="T19" fmla="*/ 87 h 196"/>
                <a:gd name="T20" fmla="*/ 0 w 100"/>
                <a:gd name="T21" fmla="*/ 59 h 196"/>
                <a:gd name="T22" fmla="*/ 29 w 100"/>
                <a:gd name="T23" fmla="*/ 59 h 196"/>
                <a:gd name="T24" fmla="*/ 29 w 100"/>
                <a:gd name="T25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96">
                  <a:moveTo>
                    <a:pt x="29" y="4"/>
                  </a:moveTo>
                  <a:lnTo>
                    <a:pt x="58" y="0"/>
                  </a:lnTo>
                  <a:lnTo>
                    <a:pt x="58" y="59"/>
                  </a:lnTo>
                  <a:lnTo>
                    <a:pt x="100" y="59"/>
                  </a:lnTo>
                  <a:lnTo>
                    <a:pt x="100" y="87"/>
                  </a:lnTo>
                  <a:lnTo>
                    <a:pt x="58" y="87"/>
                  </a:lnTo>
                  <a:lnTo>
                    <a:pt x="58" y="196"/>
                  </a:lnTo>
                  <a:lnTo>
                    <a:pt x="29" y="196"/>
                  </a:lnTo>
                  <a:lnTo>
                    <a:pt x="29" y="87"/>
                  </a:lnTo>
                  <a:lnTo>
                    <a:pt x="0" y="87"/>
                  </a:lnTo>
                  <a:lnTo>
                    <a:pt x="0" y="59"/>
                  </a:lnTo>
                  <a:lnTo>
                    <a:pt x="29" y="59"/>
                  </a:lnTo>
                  <a:lnTo>
                    <a:pt x="2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1" name="Freeform 45"/>
            <p:cNvSpPr>
              <a:spLocks/>
            </p:cNvSpPr>
            <p:nvPr userDrawn="1"/>
          </p:nvSpPr>
          <p:spPr bwMode="auto">
            <a:xfrm>
              <a:off x="1785" y="3775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29 w 65"/>
                <a:gd name="T3" fmla="*/ 2 h 139"/>
                <a:gd name="T4" fmla="*/ 29 w 65"/>
                <a:gd name="T5" fmla="*/ 16 h 139"/>
                <a:gd name="T6" fmla="*/ 29 w 65"/>
                <a:gd name="T7" fmla="*/ 16 h 139"/>
                <a:gd name="T8" fmla="*/ 35 w 65"/>
                <a:gd name="T9" fmla="*/ 10 h 139"/>
                <a:gd name="T10" fmla="*/ 42 w 65"/>
                <a:gd name="T11" fmla="*/ 5 h 139"/>
                <a:gd name="T12" fmla="*/ 47 w 65"/>
                <a:gd name="T13" fmla="*/ 3 h 139"/>
                <a:gd name="T14" fmla="*/ 52 w 65"/>
                <a:gd name="T15" fmla="*/ 2 h 139"/>
                <a:gd name="T16" fmla="*/ 58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49 w 65"/>
                <a:gd name="T29" fmla="*/ 31 h 139"/>
                <a:gd name="T30" fmla="*/ 43 w 65"/>
                <a:gd name="T31" fmla="*/ 35 h 139"/>
                <a:gd name="T32" fmla="*/ 39 w 65"/>
                <a:gd name="T33" fmla="*/ 38 h 139"/>
                <a:gd name="T34" fmla="*/ 35 w 65"/>
                <a:gd name="T35" fmla="*/ 44 h 139"/>
                <a:gd name="T36" fmla="*/ 32 w 65"/>
                <a:gd name="T37" fmla="*/ 50 h 139"/>
                <a:gd name="T38" fmla="*/ 31 w 65"/>
                <a:gd name="T39" fmla="*/ 57 h 139"/>
                <a:gd name="T40" fmla="*/ 29 w 65"/>
                <a:gd name="T41" fmla="*/ 63 h 139"/>
                <a:gd name="T42" fmla="*/ 29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29" y="2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5" y="10"/>
                  </a:lnTo>
                  <a:lnTo>
                    <a:pt x="42" y="5"/>
                  </a:lnTo>
                  <a:lnTo>
                    <a:pt x="47" y="3"/>
                  </a:lnTo>
                  <a:lnTo>
                    <a:pt x="52" y="2"/>
                  </a:lnTo>
                  <a:lnTo>
                    <a:pt x="58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49" y="31"/>
                  </a:lnTo>
                  <a:lnTo>
                    <a:pt x="43" y="35"/>
                  </a:lnTo>
                  <a:lnTo>
                    <a:pt x="39" y="38"/>
                  </a:lnTo>
                  <a:lnTo>
                    <a:pt x="35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29" y="63"/>
                  </a:lnTo>
                  <a:lnTo>
                    <a:pt x="29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2" name="Freeform 46"/>
            <p:cNvSpPr>
              <a:spLocks noEditPoints="1"/>
            </p:cNvSpPr>
            <p:nvPr userDrawn="1"/>
          </p:nvSpPr>
          <p:spPr bwMode="auto">
            <a:xfrm>
              <a:off x="1812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6 w 140"/>
                <a:gd name="T3" fmla="*/ 93 h 140"/>
                <a:gd name="T4" fmla="*/ 44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0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0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8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1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6" y="93"/>
                  </a:lnTo>
                  <a:lnTo>
                    <a:pt x="40" y="99"/>
                  </a:lnTo>
                  <a:lnTo>
                    <a:pt x="44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0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0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3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8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5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1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96637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7" name="Title Placeholder 1"/>
          <p:cNvSpPr>
            <a:spLocks noGrp="1"/>
          </p:cNvSpPr>
          <p:nvPr>
            <p:ph type="title"/>
          </p:nvPr>
        </p:nvSpPr>
        <p:spPr>
          <a:xfrm>
            <a:off x="3181350" y="5635663"/>
            <a:ext cx="8362949" cy="6020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7" name="Afbeelding 3">
            <a:extLst>
              <a:ext uri="{FF2B5EF4-FFF2-40B4-BE49-F238E27FC236}">
                <a16:creationId xmlns:a16="http://schemas.microsoft.com/office/drawing/2014/main" id="{AA5B3CA4-7383-4A08-AD3F-748BE844E0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39931" r="6884" b="9611"/>
          <a:stretch/>
        </p:blipFill>
        <p:spPr>
          <a:xfrm>
            <a:off x="754743" y="769256"/>
            <a:ext cx="10711543" cy="4475843"/>
          </a:xfrm>
          <a:prstGeom prst="rect">
            <a:avLst/>
          </a:prstGeom>
        </p:spPr>
      </p:pic>
      <p:sp>
        <p:nvSpPr>
          <p:cNvPr id="8" name="Tijdelijke aanduiding voor tekst 16">
            <a:extLst>
              <a:ext uri="{FF2B5EF4-FFF2-40B4-BE49-F238E27FC236}">
                <a16:creationId xmlns:a16="http://schemas.microsoft.com/office/drawing/2014/main" id="{84146CB0-6BC6-4934-BF0B-44A468D396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81350" y="5321300"/>
            <a:ext cx="8270421" cy="28578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BE" dirty="0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752475" y="5310188"/>
            <a:ext cx="2193925" cy="793750"/>
            <a:chOff x="474" y="3345"/>
            <a:chExt cx="1382" cy="50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74" y="3345"/>
              <a:ext cx="1382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474" y="3424"/>
              <a:ext cx="167" cy="236"/>
            </a:xfrm>
            <a:custGeom>
              <a:avLst/>
              <a:gdLst>
                <a:gd name="T0" fmla="*/ 116 w 502"/>
                <a:gd name="T1" fmla="*/ 486 h 709"/>
                <a:gd name="T2" fmla="*/ 156 w 502"/>
                <a:gd name="T3" fmla="*/ 539 h 709"/>
                <a:gd name="T4" fmla="*/ 181 w 502"/>
                <a:gd name="T5" fmla="*/ 557 h 709"/>
                <a:gd name="T6" fmla="*/ 210 w 502"/>
                <a:gd name="T7" fmla="*/ 568 h 709"/>
                <a:gd name="T8" fmla="*/ 243 w 502"/>
                <a:gd name="T9" fmla="*/ 574 h 709"/>
                <a:gd name="T10" fmla="*/ 275 w 502"/>
                <a:gd name="T11" fmla="*/ 573 h 709"/>
                <a:gd name="T12" fmla="*/ 313 w 502"/>
                <a:gd name="T13" fmla="*/ 560 h 709"/>
                <a:gd name="T14" fmla="*/ 330 w 502"/>
                <a:gd name="T15" fmla="*/ 548 h 709"/>
                <a:gd name="T16" fmla="*/ 340 w 502"/>
                <a:gd name="T17" fmla="*/ 531 h 709"/>
                <a:gd name="T18" fmla="*/ 344 w 502"/>
                <a:gd name="T19" fmla="*/ 511 h 709"/>
                <a:gd name="T20" fmla="*/ 343 w 502"/>
                <a:gd name="T21" fmla="*/ 497 h 709"/>
                <a:gd name="T22" fmla="*/ 335 w 502"/>
                <a:gd name="T23" fmla="*/ 478 h 709"/>
                <a:gd name="T24" fmla="*/ 321 w 502"/>
                <a:gd name="T25" fmla="*/ 462 h 709"/>
                <a:gd name="T26" fmla="*/ 274 w 502"/>
                <a:gd name="T27" fmla="*/ 433 h 709"/>
                <a:gd name="T28" fmla="*/ 204 w 502"/>
                <a:gd name="T29" fmla="*/ 406 h 709"/>
                <a:gd name="T30" fmla="*/ 144 w 502"/>
                <a:gd name="T31" fmla="*/ 377 h 709"/>
                <a:gd name="T32" fmla="*/ 99 w 502"/>
                <a:gd name="T33" fmla="*/ 343 h 709"/>
                <a:gd name="T34" fmla="*/ 66 w 502"/>
                <a:gd name="T35" fmla="*/ 304 h 709"/>
                <a:gd name="T36" fmla="*/ 46 w 502"/>
                <a:gd name="T37" fmla="*/ 260 h 709"/>
                <a:gd name="T38" fmla="*/ 37 w 502"/>
                <a:gd name="T39" fmla="*/ 211 h 709"/>
                <a:gd name="T40" fmla="*/ 37 w 502"/>
                <a:gd name="T41" fmla="*/ 173 h 709"/>
                <a:gd name="T42" fmla="*/ 53 w 502"/>
                <a:gd name="T43" fmla="*/ 117 h 709"/>
                <a:gd name="T44" fmla="*/ 85 w 502"/>
                <a:gd name="T45" fmla="*/ 69 h 709"/>
                <a:gd name="T46" fmla="*/ 131 w 502"/>
                <a:gd name="T47" fmla="*/ 32 h 709"/>
                <a:gd name="T48" fmla="*/ 189 w 502"/>
                <a:gd name="T49" fmla="*/ 8 h 709"/>
                <a:gd name="T50" fmla="*/ 257 w 502"/>
                <a:gd name="T51" fmla="*/ 0 h 709"/>
                <a:gd name="T52" fmla="*/ 290 w 502"/>
                <a:gd name="T53" fmla="*/ 1 h 709"/>
                <a:gd name="T54" fmla="*/ 336 w 502"/>
                <a:gd name="T55" fmla="*/ 10 h 709"/>
                <a:gd name="T56" fmla="*/ 378 w 502"/>
                <a:gd name="T57" fmla="*/ 28 h 709"/>
                <a:gd name="T58" fmla="*/ 417 w 502"/>
                <a:gd name="T59" fmla="*/ 54 h 709"/>
                <a:gd name="T60" fmla="*/ 451 w 502"/>
                <a:gd name="T61" fmla="*/ 89 h 709"/>
                <a:gd name="T62" fmla="*/ 360 w 502"/>
                <a:gd name="T63" fmla="*/ 196 h 709"/>
                <a:gd name="T64" fmla="*/ 340 w 502"/>
                <a:gd name="T65" fmla="*/ 169 h 709"/>
                <a:gd name="T66" fmla="*/ 305 w 502"/>
                <a:gd name="T67" fmla="*/ 143 h 709"/>
                <a:gd name="T68" fmla="*/ 260 w 502"/>
                <a:gd name="T69" fmla="*/ 134 h 709"/>
                <a:gd name="T70" fmla="*/ 231 w 502"/>
                <a:gd name="T71" fmla="*/ 139 h 709"/>
                <a:gd name="T72" fmla="*/ 197 w 502"/>
                <a:gd name="T73" fmla="*/ 157 h 709"/>
                <a:gd name="T74" fmla="*/ 188 w 502"/>
                <a:gd name="T75" fmla="*/ 172 h 709"/>
                <a:gd name="T76" fmla="*/ 184 w 502"/>
                <a:gd name="T77" fmla="*/ 189 h 709"/>
                <a:gd name="T78" fmla="*/ 189 w 502"/>
                <a:gd name="T79" fmla="*/ 214 h 709"/>
                <a:gd name="T80" fmla="*/ 204 w 502"/>
                <a:gd name="T81" fmla="*/ 235 h 709"/>
                <a:gd name="T82" fmla="*/ 250 w 502"/>
                <a:gd name="T83" fmla="*/ 264 h 709"/>
                <a:gd name="T84" fmla="*/ 322 w 502"/>
                <a:gd name="T85" fmla="*/ 291 h 709"/>
                <a:gd name="T86" fmla="*/ 381 w 502"/>
                <a:gd name="T87" fmla="*/ 319 h 709"/>
                <a:gd name="T88" fmla="*/ 430 w 502"/>
                <a:gd name="T89" fmla="*/ 351 h 709"/>
                <a:gd name="T90" fmla="*/ 465 w 502"/>
                <a:gd name="T91" fmla="*/ 387 h 709"/>
                <a:gd name="T92" fmla="*/ 489 w 502"/>
                <a:gd name="T93" fmla="*/ 432 h 709"/>
                <a:gd name="T94" fmla="*/ 501 w 502"/>
                <a:gd name="T95" fmla="*/ 485 h 709"/>
                <a:gd name="T96" fmla="*/ 501 w 502"/>
                <a:gd name="T97" fmla="*/ 526 h 709"/>
                <a:gd name="T98" fmla="*/ 483 w 502"/>
                <a:gd name="T99" fmla="*/ 587 h 709"/>
                <a:gd name="T100" fmla="*/ 449 w 502"/>
                <a:gd name="T101" fmla="*/ 638 h 709"/>
                <a:gd name="T102" fmla="*/ 398 w 502"/>
                <a:gd name="T103" fmla="*/ 676 h 709"/>
                <a:gd name="T104" fmla="*/ 332 w 502"/>
                <a:gd name="T105" fmla="*/ 700 h 709"/>
                <a:gd name="T106" fmla="*/ 255 w 502"/>
                <a:gd name="T107" fmla="*/ 709 h 709"/>
                <a:gd name="T108" fmla="*/ 215 w 502"/>
                <a:gd name="T109" fmla="*/ 707 h 709"/>
                <a:gd name="T110" fmla="*/ 159 w 502"/>
                <a:gd name="T111" fmla="*/ 696 h 709"/>
                <a:gd name="T112" fmla="*/ 108 w 502"/>
                <a:gd name="T113" fmla="*/ 675 h 709"/>
                <a:gd name="T114" fmla="*/ 62 w 502"/>
                <a:gd name="T115" fmla="*/ 644 h 709"/>
                <a:gd name="T116" fmla="*/ 23 w 502"/>
                <a:gd name="T117" fmla="*/ 6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709">
                  <a:moveTo>
                    <a:pt x="0" y="568"/>
                  </a:moveTo>
                  <a:lnTo>
                    <a:pt x="116" y="486"/>
                  </a:lnTo>
                  <a:lnTo>
                    <a:pt x="116" y="486"/>
                  </a:lnTo>
                  <a:lnTo>
                    <a:pt x="128" y="507"/>
                  </a:lnTo>
                  <a:lnTo>
                    <a:pt x="142" y="524"/>
                  </a:lnTo>
                  <a:lnTo>
                    <a:pt x="156" y="539"/>
                  </a:lnTo>
                  <a:lnTo>
                    <a:pt x="164" y="546"/>
                  </a:lnTo>
                  <a:lnTo>
                    <a:pt x="172" y="551"/>
                  </a:lnTo>
                  <a:lnTo>
                    <a:pt x="181" y="557"/>
                  </a:lnTo>
                  <a:lnTo>
                    <a:pt x="190" y="562"/>
                  </a:lnTo>
                  <a:lnTo>
                    <a:pt x="199" y="565"/>
                  </a:lnTo>
                  <a:lnTo>
                    <a:pt x="210" y="568"/>
                  </a:lnTo>
                  <a:lnTo>
                    <a:pt x="220" y="571"/>
                  </a:lnTo>
                  <a:lnTo>
                    <a:pt x="231" y="573"/>
                  </a:lnTo>
                  <a:lnTo>
                    <a:pt x="243" y="574"/>
                  </a:lnTo>
                  <a:lnTo>
                    <a:pt x="255" y="574"/>
                  </a:lnTo>
                  <a:lnTo>
                    <a:pt x="255" y="574"/>
                  </a:lnTo>
                  <a:lnTo>
                    <a:pt x="275" y="573"/>
                  </a:lnTo>
                  <a:lnTo>
                    <a:pt x="291" y="570"/>
                  </a:lnTo>
                  <a:lnTo>
                    <a:pt x="306" y="564"/>
                  </a:lnTo>
                  <a:lnTo>
                    <a:pt x="313" y="560"/>
                  </a:lnTo>
                  <a:lnTo>
                    <a:pt x="320" y="557"/>
                  </a:lnTo>
                  <a:lnTo>
                    <a:pt x="324" y="552"/>
                  </a:lnTo>
                  <a:lnTo>
                    <a:pt x="330" y="548"/>
                  </a:lnTo>
                  <a:lnTo>
                    <a:pt x="333" y="542"/>
                  </a:lnTo>
                  <a:lnTo>
                    <a:pt x="337" y="536"/>
                  </a:lnTo>
                  <a:lnTo>
                    <a:pt x="340" y="531"/>
                  </a:lnTo>
                  <a:lnTo>
                    <a:pt x="341" y="525"/>
                  </a:lnTo>
                  <a:lnTo>
                    <a:pt x="344" y="518"/>
                  </a:lnTo>
                  <a:lnTo>
                    <a:pt x="344" y="511"/>
                  </a:lnTo>
                  <a:lnTo>
                    <a:pt x="344" y="511"/>
                  </a:lnTo>
                  <a:lnTo>
                    <a:pt x="344" y="504"/>
                  </a:lnTo>
                  <a:lnTo>
                    <a:pt x="343" y="497"/>
                  </a:lnTo>
                  <a:lnTo>
                    <a:pt x="340" y="491"/>
                  </a:lnTo>
                  <a:lnTo>
                    <a:pt x="338" y="484"/>
                  </a:lnTo>
                  <a:lnTo>
                    <a:pt x="335" y="478"/>
                  </a:lnTo>
                  <a:lnTo>
                    <a:pt x="331" y="472"/>
                  </a:lnTo>
                  <a:lnTo>
                    <a:pt x="327" y="466"/>
                  </a:lnTo>
                  <a:lnTo>
                    <a:pt x="321" y="462"/>
                  </a:lnTo>
                  <a:lnTo>
                    <a:pt x="308" y="452"/>
                  </a:lnTo>
                  <a:lnTo>
                    <a:pt x="292" y="442"/>
                  </a:lnTo>
                  <a:lnTo>
                    <a:pt x="274" y="433"/>
                  </a:lnTo>
                  <a:lnTo>
                    <a:pt x="252" y="424"/>
                  </a:lnTo>
                  <a:lnTo>
                    <a:pt x="204" y="406"/>
                  </a:lnTo>
                  <a:lnTo>
                    <a:pt x="204" y="406"/>
                  </a:lnTo>
                  <a:lnTo>
                    <a:pt x="182" y="397"/>
                  </a:lnTo>
                  <a:lnTo>
                    <a:pt x="163" y="387"/>
                  </a:lnTo>
                  <a:lnTo>
                    <a:pt x="144" y="377"/>
                  </a:lnTo>
                  <a:lnTo>
                    <a:pt x="128" y="367"/>
                  </a:lnTo>
                  <a:lnTo>
                    <a:pt x="112" y="355"/>
                  </a:lnTo>
                  <a:lnTo>
                    <a:pt x="99" y="343"/>
                  </a:lnTo>
                  <a:lnTo>
                    <a:pt x="87" y="330"/>
                  </a:lnTo>
                  <a:lnTo>
                    <a:pt x="76" y="317"/>
                  </a:lnTo>
                  <a:lnTo>
                    <a:pt x="66" y="304"/>
                  </a:lnTo>
                  <a:lnTo>
                    <a:pt x="58" y="290"/>
                  </a:lnTo>
                  <a:lnTo>
                    <a:pt x="52" y="275"/>
                  </a:lnTo>
                  <a:lnTo>
                    <a:pt x="46" y="260"/>
                  </a:lnTo>
                  <a:lnTo>
                    <a:pt x="41" y="244"/>
                  </a:lnTo>
                  <a:lnTo>
                    <a:pt x="38" y="228"/>
                  </a:lnTo>
                  <a:lnTo>
                    <a:pt x="37" y="211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7" y="173"/>
                  </a:lnTo>
                  <a:lnTo>
                    <a:pt x="40" y="154"/>
                  </a:lnTo>
                  <a:lnTo>
                    <a:pt x="45" y="134"/>
                  </a:lnTo>
                  <a:lnTo>
                    <a:pt x="53" y="117"/>
                  </a:lnTo>
                  <a:lnTo>
                    <a:pt x="62" y="100"/>
                  </a:lnTo>
                  <a:lnTo>
                    <a:pt x="72" y="84"/>
                  </a:lnTo>
                  <a:lnTo>
                    <a:pt x="85" y="69"/>
                  </a:lnTo>
                  <a:lnTo>
                    <a:pt x="99" y="55"/>
                  </a:lnTo>
                  <a:lnTo>
                    <a:pt x="113" y="42"/>
                  </a:lnTo>
                  <a:lnTo>
                    <a:pt x="131" y="32"/>
                  </a:lnTo>
                  <a:lnTo>
                    <a:pt x="149" y="22"/>
                  </a:lnTo>
                  <a:lnTo>
                    <a:pt x="168" y="15"/>
                  </a:lnTo>
                  <a:lnTo>
                    <a:pt x="189" y="8"/>
                  </a:lnTo>
                  <a:lnTo>
                    <a:pt x="211" y="3"/>
                  </a:lnTo>
                  <a:lnTo>
                    <a:pt x="234" y="1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74" y="0"/>
                  </a:lnTo>
                  <a:lnTo>
                    <a:pt x="290" y="1"/>
                  </a:lnTo>
                  <a:lnTo>
                    <a:pt x="305" y="3"/>
                  </a:lnTo>
                  <a:lnTo>
                    <a:pt x="321" y="7"/>
                  </a:lnTo>
                  <a:lnTo>
                    <a:pt x="336" y="10"/>
                  </a:lnTo>
                  <a:lnTo>
                    <a:pt x="351" y="15"/>
                  </a:lnTo>
                  <a:lnTo>
                    <a:pt x="364" y="21"/>
                  </a:lnTo>
                  <a:lnTo>
                    <a:pt x="378" y="28"/>
                  </a:lnTo>
                  <a:lnTo>
                    <a:pt x="392" y="36"/>
                  </a:lnTo>
                  <a:lnTo>
                    <a:pt x="404" y="44"/>
                  </a:lnTo>
                  <a:lnTo>
                    <a:pt x="417" y="54"/>
                  </a:lnTo>
                  <a:lnTo>
                    <a:pt x="428" y="65"/>
                  </a:lnTo>
                  <a:lnTo>
                    <a:pt x="440" y="77"/>
                  </a:lnTo>
                  <a:lnTo>
                    <a:pt x="451" y="89"/>
                  </a:lnTo>
                  <a:lnTo>
                    <a:pt x="462" y="104"/>
                  </a:lnTo>
                  <a:lnTo>
                    <a:pt x="471" y="119"/>
                  </a:lnTo>
                  <a:lnTo>
                    <a:pt x="360" y="196"/>
                  </a:lnTo>
                  <a:lnTo>
                    <a:pt x="360" y="196"/>
                  </a:lnTo>
                  <a:lnTo>
                    <a:pt x="351" y="181"/>
                  </a:lnTo>
                  <a:lnTo>
                    <a:pt x="340" y="169"/>
                  </a:lnTo>
                  <a:lnTo>
                    <a:pt x="330" y="158"/>
                  </a:lnTo>
                  <a:lnTo>
                    <a:pt x="317" y="149"/>
                  </a:lnTo>
                  <a:lnTo>
                    <a:pt x="305" y="143"/>
                  </a:lnTo>
                  <a:lnTo>
                    <a:pt x="291" y="139"/>
                  </a:lnTo>
                  <a:lnTo>
                    <a:pt x="276" y="135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45" y="135"/>
                  </a:lnTo>
                  <a:lnTo>
                    <a:pt x="231" y="139"/>
                  </a:lnTo>
                  <a:lnTo>
                    <a:pt x="219" y="143"/>
                  </a:lnTo>
                  <a:lnTo>
                    <a:pt x="207" y="149"/>
                  </a:lnTo>
                  <a:lnTo>
                    <a:pt x="197" y="157"/>
                  </a:lnTo>
                  <a:lnTo>
                    <a:pt x="194" y="162"/>
                  </a:lnTo>
                  <a:lnTo>
                    <a:pt x="190" y="166"/>
                  </a:lnTo>
                  <a:lnTo>
                    <a:pt x="188" y="172"/>
                  </a:lnTo>
                  <a:lnTo>
                    <a:pt x="186" y="178"/>
                  </a:lnTo>
                  <a:lnTo>
                    <a:pt x="184" y="183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6" y="203"/>
                  </a:lnTo>
                  <a:lnTo>
                    <a:pt x="189" y="214"/>
                  </a:lnTo>
                  <a:lnTo>
                    <a:pt x="191" y="220"/>
                  </a:lnTo>
                  <a:lnTo>
                    <a:pt x="195" y="225"/>
                  </a:lnTo>
                  <a:lnTo>
                    <a:pt x="204" y="235"/>
                  </a:lnTo>
                  <a:lnTo>
                    <a:pt x="215" y="245"/>
                  </a:lnTo>
                  <a:lnTo>
                    <a:pt x="231" y="254"/>
                  </a:lnTo>
                  <a:lnTo>
                    <a:pt x="250" y="264"/>
                  </a:lnTo>
                  <a:lnTo>
                    <a:pt x="273" y="274"/>
                  </a:lnTo>
                  <a:lnTo>
                    <a:pt x="322" y="291"/>
                  </a:lnTo>
                  <a:lnTo>
                    <a:pt x="322" y="291"/>
                  </a:lnTo>
                  <a:lnTo>
                    <a:pt x="343" y="300"/>
                  </a:lnTo>
                  <a:lnTo>
                    <a:pt x="362" y="309"/>
                  </a:lnTo>
                  <a:lnTo>
                    <a:pt x="381" y="319"/>
                  </a:lnTo>
                  <a:lnTo>
                    <a:pt x="399" y="329"/>
                  </a:lnTo>
                  <a:lnTo>
                    <a:pt x="415" y="339"/>
                  </a:lnTo>
                  <a:lnTo>
                    <a:pt x="430" y="351"/>
                  </a:lnTo>
                  <a:lnTo>
                    <a:pt x="442" y="362"/>
                  </a:lnTo>
                  <a:lnTo>
                    <a:pt x="455" y="375"/>
                  </a:lnTo>
                  <a:lnTo>
                    <a:pt x="465" y="387"/>
                  </a:lnTo>
                  <a:lnTo>
                    <a:pt x="475" y="402"/>
                  </a:lnTo>
                  <a:lnTo>
                    <a:pt x="483" y="416"/>
                  </a:lnTo>
                  <a:lnTo>
                    <a:pt x="489" y="432"/>
                  </a:lnTo>
                  <a:lnTo>
                    <a:pt x="495" y="449"/>
                  </a:lnTo>
                  <a:lnTo>
                    <a:pt x="498" y="466"/>
                  </a:lnTo>
                  <a:lnTo>
                    <a:pt x="501" y="485"/>
                  </a:lnTo>
                  <a:lnTo>
                    <a:pt x="502" y="504"/>
                  </a:lnTo>
                  <a:lnTo>
                    <a:pt x="502" y="504"/>
                  </a:lnTo>
                  <a:lnTo>
                    <a:pt x="501" y="526"/>
                  </a:lnTo>
                  <a:lnTo>
                    <a:pt x="497" y="548"/>
                  </a:lnTo>
                  <a:lnTo>
                    <a:pt x="491" y="568"/>
                  </a:lnTo>
                  <a:lnTo>
                    <a:pt x="483" y="587"/>
                  </a:lnTo>
                  <a:lnTo>
                    <a:pt x="474" y="605"/>
                  </a:lnTo>
                  <a:lnTo>
                    <a:pt x="462" y="622"/>
                  </a:lnTo>
                  <a:lnTo>
                    <a:pt x="449" y="638"/>
                  </a:lnTo>
                  <a:lnTo>
                    <a:pt x="433" y="652"/>
                  </a:lnTo>
                  <a:lnTo>
                    <a:pt x="416" y="665"/>
                  </a:lnTo>
                  <a:lnTo>
                    <a:pt x="398" y="676"/>
                  </a:lnTo>
                  <a:lnTo>
                    <a:pt x="377" y="686"/>
                  </a:lnTo>
                  <a:lnTo>
                    <a:pt x="355" y="694"/>
                  </a:lnTo>
                  <a:lnTo>
                    <a:pt x="332" y="700"/>
                  </a:lnTo>
                  <a:lnTo>
                    <a:pt x="308" y="705"/>
                  </a:lnTo>
                  <a:lnTo>
                    <a:pt x="282" y="708"/>
                  </a:lnTo>
                  <a:lnTo>
                    <a:pt x="255" y="709"/>
                  </a:lnTo>
                  <a:lnTo>
                    <a:pt x="255" y="709"/>
                  </a:lnTo>
                  <a:lnTo>
                    <a:pt x="236" y="708"/>
                  </a:lnTo>
                  <a:lnTo>
                    <a:pt x="215" y="707"/>
                  </a:lnTo>
                  <a:lnTo>
                    <a:pt x="197" y="705"/>
                  </a:lnTo>
                  <a:lnTo>
                    <a:pt x="178" y="700"/>
                  </a:lnTo>
                  <a:lnTo>
                    <a:pt x="159" y="696"/>
                  </a:lnTo>
                  <a:lnTo>
                    <a:pt x="142" y="690"/>
                  </a:lnTo>
                  <a:lnTo>
                    <a:pt x="125" y="683"/>
                  </a:lnTo>
                  <a:lnTo>
                    <a:pt x="108" y="675"/>
                  </a:lnTo>
                  <a:lnTo>
                    <a:pt x="93" y="666"/>
                  </a:lnTo>
                  <a:lnTo>
                    <a:pt x="77" y="656"/>
                  </a:lnTo>
                  <a:lnTo>
                    <a:pt x="62" y="644"/>
                  </a:lnTo>
                  <a:lnTo>
                    <a:pt x="48" y="631"/>
                  </a:lnTo>
                  <a:lnTo>
                    <a:pt x="36" y="618"/>
                  </a:lnTo>
                  <a:lnTo>
                    <a:pt x="23" y="603"/>
                  </a:lnTo>
                  <a:lnTo>
                    <a:pt x="11" y="587"/>
                  </a:lnTo>
                  <a:lnTo>
                    <a:pt x="0" y="568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474" y="3424"/>
              <a:ext cx="167" cy="236"/>
            </a:xfrm>
            <a:custGeom>
              <a:avLst/>
              <a:gdLst>
                <a:gd name="T0" fmla="*/ 116 w 502"/>
                <a:gd name="T1" fmla="*/ 486 h 709"/>
                <a:gd name="T2" fmla="*/ 156 w 502"/>
                <a:gd name="T3" fmla="*/ 539 h 709"/>
                <a:gd name="T4" fmla="*/ 181 w 502"/>
                <a:gd name="T5" fmla="*/ 557 h 709"/>
                <a:gd name="T6" fmla="*/ 210 w 502"/>
                <a:gd name="T7" fmla="*/ 568 h 709"/>
                <a:gd name="T8" fmla="*/ 243 w 502"/>
                <a:gd name="T9" fmla="*/ 574 h 709"/>
                <a:gd name="T10" fmla="*/ 275 w 502"/>
                <a:gd name="T11" fmla="*/ 573 h 709"/>
                <a:gd name="T12" fmla="*/ 313 w 502"/>
                <a:gd name="T13" fmla="*/ 560 h 709"/>
                <a:gd name="T14" fmla="*/ 330 w 502"/>
                <a:gd name="T15" fmla="*/ 548 h 709"/>
                <a:gd name="T16" fmla="*/ 340 w 502"/>
                <a:gd name="T17" fmla="*/ 531 h 709"/>
                <a:gd name="T18" fmla="*/ 344 w 502"/>
                <a:gd name="T19" fmla="*/ 511 h 709"/>
                <a:gd name="T20" fmla="*/ 343 w 502"/>
                <a:gd name="T21" fmla="*/ 497 h 709"/>
                <a:gd name="T22" fmla="*/ 335 w 502"/>
                <a:gd name="T23" fmla="*/ 478 h 709"/>
                <a:gd name="T24" fmla="*/ 321 w 502"/>
                <a:gd name="T25" fmla="*/ 462 h 709"/>
                <a:gd name="T26" fmla="*/ 274 w 502"/>
                <a:gd name="T27" fmla="*/ 433 h 709"/>
                <a:gd name="T28" fmla="*/ 204 w 502"/>
                <a:gd name="T29" fmla="*/ 406 h 709"/>
                <a:gd name="T30" fmla="*/ 144 w 502"/>
                <a:gd name="T31" fmla="*/ 377 h 709"/>
                <a:gd name="T32" fmla="*/ 99 w 502"/>
                <a:gd name="T33" fmla="*/ 343 h 709"/>
                <a:gd name="T34" fmla="*/ 66 w 502"/>
                <a:gd name="T35" fmla="*/ 304 h 709"/>
                <a:gd name="T36" fmla="*/ 46 w 502"/>
                <a:gd name="T37" fmla="*/ 260 h 709"/>
                <a:gd name="T38" fmla="*/ 37 w 502"/>
                <a:gd name="T39" fmla="*/ 211 h 709"/>
                <a:gd name="T40" fmla="*/ 37 w 502"/>
                <a:gd name="T41" fmla="*/ 173 h 709"/>
                <a:gd name="T42" fmla="*/ 53 w 502"/>
                <a:gd name="T43" fmla="*/ 117 h 709"/>
                <a:gd name="T44" fmla="*/ 85 w 502"/>
                <a:gd name="T45" fmla="*/ 69 h 709"/>
                <a:gd name="T46" fmla="*/ 131 w 502"/>
                <a:gd name="T47" fmla="*/ 32 h 709"/>
                <a:gd name="T48" fmla="*/ 189 w 502"/>
                <a:gd name="T49" fmla="*/ 8 h 709"/>
                <a:gd name="T50" fmla="*/ 257 w 502"/>
                <a:gd name="T51" fmla="*/ 0 h 709"/>
                <a:gd name="T52" fmla="*/ 290 w 502"/>
                <a:gd name="T53" fmla="*/ 1 h 709"/>
                <a:gd name="T54" fmla="*/ 336 w 502"/>
                <a:gd name="T55" fmla="*/ 10 h 709"/>
                <a:gd name="T56" fmla="*/ 378 w 502"/>
                <a:gd name="T57" fmla="*/ 28 h 709"/>
                <a:gd name="T58" fmla="*/ 417 w 502"/>
                <a:gd name="T59" fmla="*/ 54 h 709"/>
                <a:gd name="T60" fmla="*/ 451 w 502"/>
                <a:gd name="T61" fmla="*/ 89 h 709"/>
                <a:gd name="T62" fmla="*/ 360 w 502"/>
                <a:gd name="T63" fmla="*/ 196 h 709"/>
                <a:gd name="T64" fmla="*/ 340 w 502"/>
                <a:gd name="T65" fmla="*/ 169 h 709"/>
                <a:gd name="T66" fmla="*/ 305 w 502"/>
                <a:gd name="T67" fmla="*/ 143 h 709"/>
                <a:gd name="T68" fmla="*/ 260 w 502"/>
                <a:gd name="T69" fmla="*/ 134 h 709"/>
                <a:gd name="T70" fmla="*/ 231 w 502"/>
                <a:gd name="T71" fmla="*/ 139 h 709"/>
                <a:gd name="T72" fmla="*/ 197 w 502"/>
                <a:gd name="T73" fmla="*/ 157 h 709"/>
                <a:gd name="T74" fmla="*/ 188 w 502"/>
                <a:gd name="T75" fmla="*/ 172 h 709"/>
                <a:gd name="T76" fmla="*/ 184 w 502"/>
                <a:gd name="T77" fmla="*/ 189 h 709"/>
                <a:gd name="T78" fmla="*/ 189 w 502"/>
                <a:gd name="T79" fmla="*/ 214 h 709"/>
                <a:gd name="T80" fmla="*/ 204 w 502"/>
                <a:gd name="T81" fmla="*/ 235 h 709"/>
                <a:gd name="T82" fmla="*/ 250 w 502"/>
                <a:gd name="T83" fmla="*/ 264 h 709"/>
                <a:gd name="T84" fmla="*/ 322 w 502"/>
                <a:gd name="T85" fmla="*/ 291 h 709"/>
                <a:gd name="T86" fmla="*/ 381 w 502"/>
                <a:gd name="T87" fmla="*/ 319 h 709"/>
                <a:gd name="T88" fmla="*/ 430 w 502"/>
                <a:gd name="T89" fmla="*/ 351 h 709"/>
                <a:gd name="T90" fmla="*/ 465 w 502"/>
                <a:gd name="T91" fmla="*/ 387 h 709"/>
                <a:gd name="T92" fmla="*/ 489 w 502"/>
                <a:gd name="T93" fmla="*/ 432 h 709"/>
                <a:gd name="T94" fmla="*/ 501 w 502"/>
                <a:gd name="T95" fmla="*/ 485 h 709"/>
                <a:gd name="T96" fmla="*/ 501 w 502"/>
                <a:gd name="T97" fmla="*/ 526 h 709"/>
                <a:gd name="T98" fmla="*/ 483 w 502"/>
                <a:gd name="T99" fmla="*/ 587 h 709"/>
                <a:gd name="T100" fmla="*/ 449 w 502"/>
                <a:gd name="T101" fmla="*/ 638 h 709"/>
                <a:gd name="T102" fmla="*/ 398 w 502"/>
                <a:gd name="T103" fmla="*/ 676 h 709"/>
                <a:gd name="T104" fmla="*/ 332 w 502"/>
                <a:gd name="T105" fmla="*/ 700 h 709"/>
                <a:gd name="T106" fmla="*/ 255 w 502"/>
                <a:gd name="T107" fmla="*/ 709 h 709"/>
                <a:gd name="T108" fmla="*/ 215 w 502"/>
                <a:gd name="T109" fmla="*/ 707 h 709"/>
                <a:gd name="T110" fmla="*/ 159 w 502"/>
                <a:gd name="T111" fmla="*/ 696 h 709"/>
                <a:gd name="T112" fmla="*/ 108 w 502"/>
                <a:gd name="T113" fmla="*/ 675 h 709"/>
                <a:gd name="T114" fmla="*/ 62 w 502"/>
                <a:gd name="T115" fmla="*/ 644 h 709"/>
                <a:gd name="T116" fmla="*/ 23 w 502"/>
                <a:gd name="T117" fmla="*/ 6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709">
                  <a:moveTo>
                    <a:pt x="0" y="568"/>
                  </a:moveTo>
                  <a:lnTo>
                    <a:pt x="116" y="486"/>
                  </a:lnTo>
                  <a:lnTo>
                    <a:pt x="116" y="486"/>
                  </a:lnTo>
                  <a:lnTo>
                    <a:pt x="128" y="507"/>
                  </a:lnTo>
                  <a:lnTo>
                    <a:pt x="142" y="524"/>
                  </a:lnTo>
                  <a:lnTo>
                    <a:pt x="156" y="539"/>
                  </a:lnTo>
                  <a:lnTo>
                    <a:pt x="164" y="546"/>
                  </a:lnTo>
                  <a:lnTo>
                    <a:pt x="172" y="551"/>
                  </a:lnTo>
                  <a:lnTo>
                    <a:pt x="181" y="557"/>
                  </a:lnTo>
                  <a:lnTo>
                    <a:pt x="190" y="562"/>
                  </a:lnTo>
                  <a:lnTo>
                    <a:pt x="199" y="565"/>
                  </a:lnTo>
                  <a:lnTo>
                    <a:pt x="210" y="568"/>
                  </a:lnTo>
                  <a:lnTo>
                    <a:pt x="220" y="571"/>
                  </a:lnTo>
                  <a:lnTo>
                    <a:pt x="231" y="573"/>
                  </a:lnTo>
                  <a:lnTo>
                    <a:pt x="243" y="574"/>
                  </a:lnTo>
                  <a:lnTo>
                    <a:pt x="255" y="574"/>
                  </a:lnTo>
                  <a:lnTo>
                    <a:pt x="255" y="574"/>
                  </a:lnTo>
                  <a:lnTo>
                    <a:pt x="275" y="573"/>
                  </a:lnTo>
                  <a:lnTo>
                    <a:pt x="291" y="570"/>
                  </a:lnTo>
                  <a:lnTo>
                    <a:pt x="306" y="564"/>
                  </a:lnTo>
                  <a:lnTo>
                    <a:pt x="313" y="560"/>
                  </a:lnTo>
                  <a:lnTo>
                    <a:pt x="320" y="557"/>
                  </a:lnTo>
                  <a:lnTo>
                    <a:pt x="324" y="552"/>
                  </a:lnTo>
                  <a:lnTo>
                    <a:pt x="330" y="548"/>
                  </a:lnTo>
                  <a:lnTo>
                    <a:pt x="333" y="542"/>
                  </a:lnTo>
                  <a:lnTo>
                    <a:pt x="337" y="536"/>
                  </a:lnTo>
                  <a:lnTo>
                    <a:pt x="340" y="531"/>
                  </a:lnTo>
                  <a:lnTo>
                    <a:pt x="341" y="525"/>
                  </a:lnTo>
                  <a:lnTo>
                    <a:pt x="344" y="518"/>
                  </a:lnTo>
                  <a:lnTo>
                    <a:pt x="344" y="511"/>
                  </a:lnTo>
                  <a:lnTo>
                    <a:pt x="344" y="511"/>
                  </a:lnTo>
                  <a:lnTo>
                    <a:pt x="344" y="504"/>
                  </a:lnTo>
                  <a:lnTo>
                    <a:pt x="343" y="497"/>
                  </a:lnTo>
                  <a:lnTo>
                    <a:pt x="340" y="491"/>
                  </a:lnTo>
                  <a:lnTo>
                    <a:pt x="338" y="484"/>
                  </a:lnTo>
                  <a:lnTo>
                    <a:pt x="335" y="478"/>
                  </a:lnTo>
                  <a:lnTo>
                    <a:pt x="331" y="472"/>
                  </a:lnTo>
                  <a:lnTo>
                    <a:pt x="327" y="466"/>
                  </a:lnTo>
                  <a:lnTo>
                    <a:pt x="321" y="462"/>
                  </a:lnTo>
                  <a:lnTo>
                    <a:pt x="308" y="452"/>
                  </a:lnTo>
                  <a:lnTo>
                    <a:pt x="292" y="442"/>
                  </a:lnTo>
                  <a:lnTo>
                    <a:pt x="274" y="433"/>
                  </a:lnTo>
                  <a:lnTo>
                    <a:pt x="252" y="424"/>
                  </a:lnTo>
                  <a:lnTo>
                    <a:pt x="204" y="406"/>
                  </a:lnTo>
                  <a:lnTo>
                    <a:pt x="204" y="406"/>
                  </a:lnTo>
                  <a:lnTo>
                    <a:pt x="182" y="397"/>
                  </a:lnTo>
                  <a:lnTo>
                    <a:pt x="163" y="387"/>
                  </a:lnTo>
                  <a:lnTo>
                    <a:pt x="144" y="377"/>
                  </a:lnTo>
                  <a:lnTo>
                    <a:pt x="128" y="367"/>
                  </a:lnTo>
                  <a:lnTo>
                    <a:pt x="112" y="355"/>
                  </a:lnTo>
                  <a:lnTo>
                    <a:pt x="99" y="343"/>
                  </a:lnTo>
                  <a:lnTo>
                    <a:pt x="87" y="330"/>
                  </a:lnTo>
                  <a:lnTo>
                    <a:pt x="76" y="317"/>
                  </a:lnTo>
                  <a:lnTo>
                    <a:pt x="66" y="304"/>
                  </a:lnTo>
                  <a:lnTo>
                    <a:pt x="58" y="290"/>
                  </a:lnTo>
                  <a:lnTo>
                    <a:pt x="52" y="275"/>
                  </a:lnTo>
                  <a:lnTo>
                    <a:pt x="46" y="260"/>
                  </a:lnTo>
                  <a:lnTo>
                    <a:pt x="41" y="244"/>
                  </a:lnTo>
                  <a:lnTo>
                    <a:pt x="38" y="228"/>
                  </a:lnTo>
                  <a:lnTo>
                    <a:pt x="37" y="211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7" y="173"/>
                  </a:lnTo>
                  <a:lnTo>
                    <a:pt x="40" y="154"/>
                  </a:lnTo>
                  <a:lnTo>
                    <a:pt x="45" y="134"/>
                  </a:lnTo>
                  <a:lnTo>
                    <a:pt x="53" y="117"/>
                  </a:lnTo>
                  <a:lnTo>
                    <a:pt x="62" y="100"/>
                  </a:lnTo>
                  <a:lnTo>
                    <a:pt x="72" y="84"/>
                  </a:lnTo>
                  <a:lnTo>
                    <a:pt x="85" y="69"/>
                  </a:lnTo>
                  <a:lnTo>
                    <a:pt x="99" y="55"/>
                  </a:lnTo>
                  <a:lnTo>
                    <a:pt x="113" y="42"/>
                  </a:lnTo>
                  <a:lnTo>
                    <a:pt x="131" y="32"/>
                  </a:lnTo>
                  <a:lnTo>
                    <a:pt x="149" y="22"/>
                  </a:lnTo>
                  <a:lnTo>
                    <a:pt x="168" y="15"/>
                  </a:lnTo>
                  <a:lnTo>
                    <a:pt x="189" y="8"/>
                  </a:lnTo>
                  <a:lnTo>
                    <a:pt x="211" y="3"/>
                  </a:lnTo>
                  <a:lnTo>
                    <a:pt x="234" y="1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74" y="0"/>
                  </a:lnTo>
                  <a:lnTo>
                    <a:pt x="290" y="1"/>
                  </a:lnTo>
                  <a:lnTo>
                    <a:pt x="305" y="3"/>
                  </a:lnTo>
                  <a:lnTo>
                    <a:pt x="321" y="7"/>
                  </a:lnTo>
                  <a:lnTo>
                    <a:pt x="336" y="10"/>
                  </a:lnTo>
                  <a:lnTo>
                    <a:pt x="351" y="15"/>
                  </a:lnTo>
                  <a:lnTo>
                    <a:pt x="364" y="21"/>
                  </a:lnTo>
                  <a:lnTo>
                    <a:pt x="378" y="28"/>
                  </a:lnTo>
                  <a:lnTo>
                    <a:pt x="392" y="36"/>
                  </a:lnTo>
                  <a:lnTo>
                    <a:pt x="404" y="44"/>
                  </a:lnTo>
                  <a:lnTo>
                    <a:pt x="417" y="54"/>
                  </a:lnTo>
                  <a:lnTo>
                    <a:pt x="428" y="65"/>
                  </a:lnTo>
                  <a:lnTo>
                    <a:pt x="440" y="77"/>
                  </a:lnTo>
                  <a:lnTo>
                    <a:pt x="451" y="89"/>
                  </a:lnTo>
                  <a:lnTo>
                    <a:pt x="462" y="104"/>
                  </a:lnTo>
                  <a:lnTo>
                    <a:pt x="471" y="119"/>
                  </a:lnTo>
                  <a:lnTo>
                    <a:pt x="360" y="196"/>
                  </a:lnTo>
                  <a:lnTo>
                    <a:pt x="360" y="196"/>
                  </a:lnTo>
                  <a:lnTo>
                    <a:pt x="351" y="181"/>
                  </a:lnTo>
                  <a:lnTo>
                    <a:pt x="340" y="169"/>
                  </a:lnTo>
                  <a:lnTo>
                    <a:pt x="330" y="158"/>
                  </a:lnTo>
                  <a:lnTo>
                    <a:pt x="317" y="149"/>
                  </a:lnTo>
                  <a:lnTo>
                    <a:pt x="305" y="143"/>
                  </a:lnTo>
                  <a:lnTo>
                    <a:pt x="291" y="139"/>
                  </a:lnTo>
                  <a:lnTo>
                    <a:pt x="276" y="135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45" y="135"/>
                  </a:lnTo>
                  <a:lnTo>
                    <a:pt x="231" y="139"/>
                  </a:lnTo>
                  <a:lnTo>
                    <a:pt x="219" y="143"/>
                  </a:lnTo>
                  <a:lnTo>
                    <a:pt x="207" y="149"/>
                  </a:lnTo>
                  <a:lnTo>
                    <a:pt x="197" y="157"/>
                  </a:lnTo>
                  <a:lnTo>
                    <a:pt x="194" y="162"/>
                  </a:lnTo>
                  <a:lnTo>
                    <a:pt x="190" y="166"/>
                  </a:lnTo>
                  <a:lnTo>
                    <a:pt x="188" y="172"/>
                  </a:lnTo>
                  <a:lnTo>
                    <a:pt x="186" y="178"/>
                  </a:lnTo>
                  <a:lnTo>
                    <a:pt x="184" y="183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6" y="203"/>
                  </a:lnTo>
                  <a:lnTo>
                    <a:pt x="189" y="214"/>
                  </a:lnTo>
                  <a:lnTo>
                    <a:pt x="191" y="220"/>
                  </a:lnTo>
                  <a:lnTo>
                    <a:pt x="195" y="225"/>
                  </a:lnTo>
                  <a:lnTo>
                    <a:pt x="204" y="235"/>
                  </a:lnTo>
                  <a:lnTo>
                    <a:pt x="215" y="245"/>
                  </a:lnTo>
                  <a:lnTo>
                    <a:pt x="231" y="254"/>
                  </a:lnTo>
                  <a:lnTo>
                    <a:pt x="250" y="264"/>
                  </a:lnTo>
                  <a:lnTo>
                    <a:pt x="273" y="274"/>
                  </a:lnTo>
                  <a:lnTo>
                    <a:pt x="322" y="291"/>
                  </a:lnTo>
                  <a:lnTo>
                    <a:pt x="322" y="291"/>
                  </a:lnTo>
                  <a:lnTo>
                    <a:pt x="343" y="300"/>
                  </a:lnTo>
                  <a:lnTo>
                    <a:pt x="362" y="309"/>
                  </a:lnTo>
                  <a:lnTo>
                    <a:pt x="381" y="319"/>
                  </a:lnTo>
                  <a:lnTo>
                    <a:pt x="399" y="329"/>
                  </a:lnTo>
                  <a:lnTo>
                    <a:pt x="415" y="339"/>
                  </a:lnTo>
                  <a:lnTo>
                    <a:pt x="430" y="351"/>
                  </a:lnTo>
                  <a:lnTo>
                    <a:pt x="442" y="362"/>
                  </a:lnTo>
                  <a:lnTo>
                    <a:pt x="455" y="375"/>
                  </a:lnTo>
                  <a:lnTo>
                    <a:pt x="465" y="387"/>
                  </a:lnTo>
                  <a:lnTo>
                    <a:pt x="475" y="402"/>
                  </a:lnTo>
                  <a:lnTo>
                    <a:pt x="483" y="416"/>
                  </a:lnTo>
                  <a:lnTo>
                    <a:pt x="489" y="432"/>
                  </a:lnTo>
                  <a:lnTo>
                    <a:pt x="495" y="449"/>
                  </a:lnTo>
                  <a:lnTo>
                    <a:pt x="498" y="466"/>
                  </a:lnTo>
                  <a:lnTo>
                    <a:pt x="501" y="485"/>
                  </a:lnTo>
                  <a:lnTo>
                    <a:pt x="502" y="504"/>
                  </a:lnTo>
                  <a:lnTo>
                    <a:pt x="502" y="504"/>
                  </a:lnTo>
                  <a:lnTo>
                    <a:pt x="501" y="526"/>
                  </a:lnTo>
                  <a:lnTo>
                    <a:pt x="497" y="548"/>
                  </a:lnTo>
                  <a:lnTo>
                    <a:pt x="491" y="568"/>
                  </a:lnTo>
                  <a:lnTo>
                    <a:pt x="483" y="587"/>
                  </a:lnTo>
                  <a:lnTo>
                    <a:pt x="474" y="605"/>
                  </a:lnTo>
                  <a:lnTo>
                    <a:pt x="462" y="622"/>
                  </a:lnTo>
                  <a:lnTo>
                    <a:pt x="449" y="638"/>
                  </a:lnTo>
                  <a:lnTo>
                    <a:pt x="433" y="652"/>
                  </a:lnTo>
                  <a:lnTo>
                    <a:pt x="416" y="665"/>
                  </a:lnTo>
                  <a:lnTo>
                    <a:pt x="398" y="676"/>
                  </a:lnTo>
                  <a:lnTo>
                    <a:pt x="377" y="686"/>
                  </a:lnTo>
                  <a:lnTo>
                    <a:pt x="355" y="694"/>
                  </a:lnTo>
                  <a:lnTo>
                    <a:pt x="332" y="700"/>
                  </a:lnTo>
                  <a:lnTo>
                    <a:pt x="308" y="705"/>
                  </a:lnTo>
                  <a:lnTo>
                    <a:pt x="282" y="708"/>
                  </a:lnTo>
                  <a:lnTo>
                    <a:pt x="255" y="709"/>
                  </a:lnTo>
                  <a:lnTo>
                    <a:pt x="255" y="709"/>
                  </a:lnTo>
                  <a:lnTo>
                    <a:pt x="236" y="708"/>
                  </a:lnTo>
                  <a:lnTo>
                    <a:pt x="215" y="707"/>
                  </a:lnTo>
                  <a:lnTo>
                    <a:pt x="197" y="705"/>
                  </a:lnTo>
                  <a:lnTo>
                    <a:pt x="178" y="700"/>
                  </a:lnTo>
                  <a:lnTo>
                    <a:pt x="159" y="696"/>
                  </a:lnTo>
                  <a:lnTo>
                    <a:pt x="142" y="690"/>
                  </a:lnTo>
                  <a:lnTo>
                    <a:pt x="125" y="683"/>
                  </a:lnTo>
                  <a:lnTo>
                    <a:pt x="108" y="675"/>
                  </a:lnTo>
                  <a:lnTo>
                    <a:pt x="93" y="666"/>
                  </a:lnTo>
                  <a:lnTo>
                    <a:pt x="77" y="656"/>
                  </a:lnTo>
                  <a:lnTo>
                    <a:pt x="62" y="644"/>
                  </a:lnTo>
                  <a:lnTo>
                    <a:pt x="48" y="631"/>
                  </a:lnTo>
                  <a:lnTo>
                    <a:pt x="36" y="618"/>
                  </a:lnTo>
                  <a:lnTo>
                    <a:pt x="23" y="603"/>
                  </a:lnTo>
                  <a:lnTo>
                    <a:pt x="11" y="587"/>
                  </a:lnTo>
                  <a:lnTo>
                    <a:pt x="0" y="56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/>
            <p:cNvSpPr>
              <a:spLocks/>
            </p:cNvSpPr>
            <p:nvPr userDrawn="1"/>
          </p:nvSpPr>
          <p:spPr bwMode="auto">
            <a:xfrm>
              <a:off x="656" y="3424"/>
              <a:ext cx="206" cy="236"/>
            </a:xfrm>
            <a:custGeom>
              <a:avLst/>
              <a:gdLst>
                <a:gd name="T0" fmla="*/ 1 w 618"/>
                <a:gd name="T1" fmla="*/ 336 h 709"/>
                <a:gd name="T2" fmla="*/ 7 w 618"/>
                <a:gd name="T3" fmla="*/ 282 h 709"/>
                <a:gd name="T4" fmla="*/ 21 w 618"/>
                <a:gd name="T5" fmla="*/ 230 h 709"/>
                <a:gd name="T6" fmla="*/ 42 w 618"/>
                <a:gd name="T7" fmla="*/ 183 h 709"/>
                <a:gd name="T8" fmla="*/ 69 w 618"/>
                <a:gd name="T9" fmla="*/ 140 h 709"/>
                <a:gd name="T10" fmla="*/ 101 w 618"/>
                <a:gd name="T11" fmla="*/ 102 h 709"/>
                <a:gd name="T12" fmla="*/ 140 w 618"/>
                <a:gd name="T13" fmla="*/ 69 h 709"/>
                <a:gd name="T14" fmla="*/ 182 w 618"/>
                <a:gd name="T15" fmla="*/ 41 h 709"/>
                <a:gd name="T16" fmla="*/ 231 w 618"/>
                <a:gd name="T17" fmla="*/ 21 h 709"/>
                <a:gd name="T18" fmla="*/ 282 w 618"/>
                <a:gd name="T19" fmla="*/ 7 h 709"/>
                <a:gd name="T20" fmla="*/ 336 w 618"/>
                <a:gd name="T21" fmla="*/ 0 h 709"/>
                <a:gd name="T22" fmla="*/ 376 w 618"/>
                <a:gd name="T23" fmla="*/ 0 h 709"/>
                <a:gd name="T24" fmla="*/ 433 w 618"/>
                <a:gd name="T25" fmla="*/ 8 h 709"/>
                <a:gd name="T26" fmla="*/ 487 w 618"/>
                <a:gd name="T27" fmla="*/ 24 h 709"/>
                <a:gd name="T28" fmla="*/ 535 w 618"/>
                <a:gd name="T29" fmla="*/ 48 h 709"/>
                <a:gd name="T30" fmla="*/ 579 w 618"/>
                <a:gd name="T31" fmla="*/ 78 h 709"/>
                <a:gd name="T32" fmla="*/ 618 w 618"/>
                <a:gd name="T33" fmla="*/ 114 h 709"/>
                <a:gd name="T34" fmla="*/ 501 w 618"/>
                <a:gd name="T35" fmla="*/ 205 h 709"/>
                <a:gd name="T36" fmla="*/ 448 w 618"/>
                <a:gd name="T37" fmla="*/ 167 h 709"/>
                <a:gd name="T38" fmla="*/ 405 w 618"/>
                <a:gd name="T39" fmla="*/ 152 h 709"/>
                <a:gd name="T40" fmla="*/ 368 w 618"/>
                <a:gd name="T41" fmla="*/ 147 h 709"/>
                <a:gd name="T42" fmla="*/ 334 w 618"/>
                <a:gd name="T43" fmla="*/ 148 h 709"/>
                <a:gd name="T44" fmla="*/ 275 w 618"/>
                <a:gd name="T45" fmla="*/ 163 h 709"/>
                <a:gd name="T46" fmla="*/ 226 w 618"/>
                <a:gd name="T47" fmla="*/ 193 h 709"/>
                <a:gd name="T48" fmla="*/ 188 w 618"/>
                <a:gd name="T49" fmla="*/ 236 h 709"/>
                <a:gd name="T50" fmla="*/ 164 w 618"/>
                <a:gd name="T51" fmla="*/ 291 h 709"/>
                <a:gd name="T52" fmla="*/ 156 w 618"/>
                <a:gd name="T53" fmla="*/ 354 h 709"/>
                <a:gd name="T54" fmla="*/ 160 w 618"/>
                <a:gd name="T55" fmla="*/ 398 h 709"/>
                <a:gd name="T56" fmla="*/ 179 w 618"/>
                <a:gd name="T57" fmla="*/ 456 h 709"/>
                <a:gd name="T58" fmla="*/ 212 w 618"/>
                <a:gd name="T59" fmla="*/ 503 h 709"/>
                <a:gd name="T60" fmla="*/ 257 w 618"/>
                <a:gd name="T61" fmla="*/ 537 h 709"/>
                <a:gd name="T62" fmla="*/ 313 w 618"/>
                <a:gd name="T63" fmla="*/ 558 h 709"/>
                <a:gd name="T64" fmla="*/ 355 w 618"/>
                <a:gd name="T65" fmla="*/ 562 h 709"/>
                <a:gd name="T66" fmla="*/ 393 w 618"/>
                <a:gd name="T67" fmla="*/ 559 h 709"/>
                <a:gd name="T68" fmla="*/ 428 w 618"/>
                <a:gd name="T69" fmla="*/ 550 h 709"/>
                <a:gd name="T70" fmla="*/ 485 w 618"/>
                <a:gd name="T71" fmla="*/ 518 h 709"/>
                <a:gd name="T72" fmla="*/ 618 w 618"/>
                <a:gd name="T73" fmla="*/ 595 h 709"/>
                <a:gd name="T74" fmla="*/ 593 w 618"/>
                <a:gd name="T75" fmla="*/ 620 h 709"/>
                <a:gd name="T76" fmla="*/ 551 w 618"/>
                <a:gd name="T77" fmla="*/ 652 h 709"/>
                <a:gd name="T78" fmla="*/ 504 w 618"/>
                <a:gd name="T79" fmla="*/ 677 h 709"/>
                <a:gd name="T80" fmla="*/ 452 w 618"/>
                <a:gd name="T81" fmla="*/ 697 h 709"/>
                <a:gd name="T82" fmla="*/ 396 w 618"/>
                <a:gd name="T83" fmla="*/ 707 h 709"/>
                <a:gd name="T84" fmla="*/ 355 w 618"/>
                <a:gd name="T85" fmla="*/ 709 h 709"/>
                <a:gd name="T86" fmla="*/ 299 w 618"/>
                <a:gd name="T87" fmla="*/ 705 h 709"/>
                <a:gd name="T88" fmla="*/ 247 w 618"/>
                <a:gd name="T89" fmla="*/ 693 h 709"/>
                <a:gd name="T90" fmla="*/ 199 w 618"/>
                <a:gd name="T91" fmla="*/ 675 h 709"/>
                <a:gd name="T92" fmla="*/ 154 w 618"/>
                <a:gd name="T93" fmla="*/ 650 h 709"/>
                <a:gd name="T94" fmla="*/ 114 w 618"/>
                <a:gd name="T95" fmla="*/ 619 h 709"/>
                <a:gd name="T96" fmla="*/ 79 w 618"/>
                <a:gd name="T97" fmla="*/ 582 h 709"/>
                <a:gd name="T98" fmla="*/ 51 w 618"/>
                <a:gd name="T99" fmla="*/ 541 h 709"/>
                <a:gd name="T100" fmla="*/ 28 w 618"/>
                <a:gd name="T101" fmla="*/ 495 h 709"/>
                <a:gd name="T102" fmla="*/ 12 w 618"/>
                <a:gd name="T103" fmla="*/ 445 h 709"/>
                <a:gd name="T104" fmla="*/ 3 w 618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8" h="709">
                  <a:moveTo>
                    <a:pt x="0" y="354"/>
                  </a:moveTo>
                  <a:lnTo>
                    <a:pt x="0" y="354"/>
                  </a:lnTo>
                  <a:lnTo>
                    <a:pt x="1" y="336"/>
                  </a:lnTo>
                  <a:lnTo>
                    <a:pt x="3" y="317"/>
                  </a:lnTo>
                  <a:lnTo>
                    <a:pt x="5" y="299"/>
                  </a:lnTo>
                  <a:lnTo>
                    <a:pt x="7" y="282"/>
                  </a:lnTo>
                  <a:lnTo>
                    <a:pt x="12" y="265"/>
                  </a:lnTo>
                  <a:lnTo>
                    <a:pt x="16" y="248"/>
                  </a:lnTo>
                  <a:lnTo>
                    <a:pt x="21" y="230"/>
                  </a:lnTo>
                  <a:lnTo>
                    <a:pt x="28" y="214"/>
                  </a:lnTo>
                  <a:lnTo>
                    <a:pt x="35" y="198"/>
                  </a:lnTo>
                  <a:lnTo>
                    <a:pt x="42" y="183"/>
                  </a:lnTo>
                  <a:lnTo>
                    <a:pt x="51" y="169"/>
                  </a:lnTo>
                  <a:lnTo>
                    <a:pt x="59" y="154"/>
                  </a:lnTo>
                  <a:lnTo>
                    <a:pt x="69" y="140"/>
                  </a:lnTo>
                  <a:lnTo>
                    <a:pt x="79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40" y="69"/>
                  </a:lnTo>
                  <a:lnTo>
                    <a:pt x="154" y="60"/>
                  </a:lnTo>
                  <a:lnTo>
                    <a:pt x="168" y="50"/>
                  </a:lnTo>
                  <a:lnTo>
                    <a:pt x="182" y="41"/>
                  </a:lnTo>
                  <a:lnTo>
                    <a:pt x="199" y="34"/>
                  </a:lnTo>
                  <a:lnTo>
                    <a:pt x="215" y="28"/>
                  </a:lnTo>
                  <a:lnTo>
                    <a:pt x="231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2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76" y="0"/>
                  </a:lnTo>
                  <a:lnTo>
                    <a:pt x="396" y="2"/>
                  </a:lnTo>
                  <a:lnTo>
                    <a:pt x="415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70" y="18"/>
                  </a:lnTo>
                  <a:lnTo>
                    <a:pt x="487" y="24"/>
                  </a:lnTo>
                  <a:lnTo>
                    <a:pt x="504" y="31"/>
                  </a:lnTo>
                  <a:lnTo>
                    <a:pt x="520" y="39"/>
                  </a:lnTo>
                  <a:lnTo>
                    <a:pt x="535" y="48"/>
                  </a:lnTo>
                  <a:lnTo>
                    <a:pt x="551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8" y="114"/>
                  </a:lnTo>
                  <a:lnTo>
                    <a:pt x="515" y="220"/>
                  </a:lnTo>
                  <a:lnTo>
                    <a:pt x="515" y="220"/>
                  </a:lnTo>
                  <a:lnTo>
                    <a:pt x="501" y="205"/>
                  </a:lnTo>
                  <a:lnTo>
                    <a:pt x="485" y="191"/>
                  </a:lnTo>
                  <a:lnTo>
                    <a:pt x="468" y="179"/>
                  </a:lnTo>
                  <a:lnTo>
                    <a:pt x="448" y="167"/>
                  </a:lnTo>
                  <a:lnTo>
                    <a:pt x="428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4" y="156"/>
                  </a:lnTo>
                  <a:lnTo>
                    <a:pt x="275" y="163"/>
                  </a:lnTo>
                  <a:lnTo>
                    <a:pt x="257" y="171"/>
                  </a:lnTo>
                  <a:lnTo>
                    <a:pt x="241" y="181"/>
                  </a:lnTo>
                  <a:lnTo>
                    <a:pt x="226" y="193"/>
                  </a:lnTo>
                  <a:lnTo>
                    <a:pt x="212" y="206"/>
                  </a:lnTo>
                  <a:lnTo>
                    <a:pt x="200" y="220"/>
                  </a:lnTo>
                  <a:lnTo>
                    <a:pt x="188" y="236"/>
                  </a:lnTo>
                  <a:lnTo>
                    <a:pt x="179" y="253"/>
                  </a:lnTo>
                  <a:lnTo>
                    <a:pt x="171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7" y="332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57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1" y="438"/>
                  </a:lnTo>
                  <a:lnTo>
                    <a:pt x="179" y="456"/>
                  </a:lnTo>
                  <a:lnTo>
                    <a:pt x="188" y="472"/>
                  </a:lnTo>
                  <a:lnTo>
                    <a:pt x="200" y="488"/>
                  </a:lnTo>
                  <a:lnTo>
                    <a:pt x="212" y="503"/>
                  </a:lnTo>
                  <a:lnTo>
                    <a:pt x="226" y="516"/>
                  </a:lnTo>
                  <a:lnTo>
                    <a:pt x="241" y="528"/>
                  </a:lnTo>
                  <a:lnTo>
                    <a:pt x="257" y="537"/>
                  </a:lnTo>
                  <a:lnTo>
                    <a:pt x="275" y="547"/>
                  </a:lnTo>
                  <a:lnTo>
                    <a:pt x="294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5" y="562"/>
                  </a:lnTo>
                  <a:lnTo>
                    <a:pt x="355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8" y="550"/>
                  </a:lnTo>
                  <a:lnTo>
                    <a:pt x="448" y="541"/>
                  </a:lnTo>
                  <a:lnTo>
                    <a:pt x="468" y="531"/>
                  </a:lnTo>
                  <a:lnTo>
                    <a:pt x="485" y="518"/>
                  </a:lnTo>
                  <a:lnTo>
                    <a:pt x="501" y="504"/>
                  </a:lnTo>
                  <a:lnTo>
                    <a:pt x="515" y="489"/>
                  </a:lnTo>
                  <a:lnTo>
                    <a:pt x="618" y="595"/>
                  </a:lnTo>
                  <a:lnTo>
                    <a:pt x="618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1" y="652"/>
                  </a:lnTo>
                  <a:lnTo>
                    <a:pt x="535" y="661"/>
                  </a:lnTo>
                  <a:lnTo>
                    <a:pt x="520" y="670"/>
                  </a:lnTo>
                  <a:lnTo>
                    <a:pt x="504" y="677"/>
                  </a:lnTo>
                  <a:lnTo>
                    <a:pt x="487" y="685"/>
                  </a:lnTo>
                  <a:lnTo>
                    <a:pt x="470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5" y="705"/>
                  </a:lnTo>
                  <a:lnTo>
                    <a:pt x="396" y="707"/>
                  </a:lnTo>
                  <a:lnTo>
                    <a:pt x="376" y="708"/>
                  </a:lnTo>
                  <a:lnTo>
                    <a:pt x="355" y="709"/>
                  </a:lnTo>
                  <a:lnTo>
                    <a:pt x="355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2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31" y="688"/>
                  </a:lnTo>
                  <a:lnTo>
                    <a:pt x="215" y="682"/>
                  </a:lnTo>
                  <a:lnTo>
                    <a:pt x="199" y="675"/>
                  </a:lnTo>
                  <a:lnTo>
                    <a:pt x="182" y="667"/>
                  </a:lnTo>
                  <a:lnTo>
                    <a:pt x="168" y="659"/>
                  </a:lnTo>
                  <a:lnTo>
                    <a:pt x="154" y="650"/>
                  </a:lnTo>
                  <a:lnTo>
                    <a:pt x="140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9" y="582"/>
                  </a:lnTo>
                  <a:lnTo>
                    <a:pt x="69" y="568"/>
                  </a:lnTo>
                  <a:lnTo>
                    <a:pt x="59" y="555"/>
                  </a:lnTo>
                  <a:lnTo>
                    <a:pt x="51" y="541"/>
                  </a:lnTo>
                  <a:lnTo>
                    <a:pt x="42" y="526"/>
                  </a:lnTo>
                  <a:lnTo>
                    <a:pt x="35" y="510"/>
                  </a:lnTo>
                  <a:lnTo>
                    <a:pt x="28" y="495"/>
                  </a:lnTo>
                  <a:lnTo>
                    <a:pt x="21" y="478"/>
                  </a:lnTo>
                  <a:lnTo>
                    <a:pt x="16" y="462"/>
                  </a:lnTo>
                  <a:lnTo>
                    <a:pt x="12" y="445"/>
                  </a:lnTo>
                  <a:lnTo>
                    <a:pt x="7" y="427"/>
                  </a:lnTo>
                  <a:lnTo>
                    <a:pt x="5" y="409"/>
                  </a:lnTo>
                  <a:lnTo>
                    <a:pt x="3" y="392"/>
                  </a:lnTo>
                  <a:lnTo>
                    <a:pt x="1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656" y="3424"/>
              <a:ext cx="206" cy="236"/>
            </a:xfrm>
            <a:custGeom>
              <a:avLst/>
              <a:gdLst>
                <a:gd name="T0" fmla="*/ 1 w 618"/>
                <a:gd name="T1" fmla="*/ 336 h 709"/>
                <a:gd name="T2" fmla="*/ 7 w 618"/>
                <a:gd name="T3" fmla="*/ 282 h 709"/>
                <a:gd name="T4" fmla="*/ 21 w 618"/>
                <a:gd name="T5" fmla="*/ 230 h 709"/>
                <a:gd name="T6" fmla="*/ 42 w 618"/>
                <a:gd name="T7" fmla="*/ 183 h 709"/>
                <a:gd name="T8" fmla="*/ 69 w 618"/>
                <a:gd name="T9" fmla="*/ 140 h 709"/>
                <a:gd name="T10" fmla="*/ 101 w 618"/>
                <a:gd name="T11" fmla="*/ 102 h 709"/>
                <a:gd name="T12" fmla="*/ 140 w 618"/>
                <a:gd name="T13" fmla="*/ 69 h 709"/>
                <a:gd name="T14" fmla="*/ 182 w 618"/>
                <a:gd name="T15" fmla="*/ 41 h 709"/>
                <a:gd name="T16" fmla="*/ 231 w 618"/>
                <a:gd name="T17" fmla="*/ 21 h 709"/>
                <a:gd name="T18" fmla="*/ 282 w 618"/>
                <a:gd name="T19" fmla="*/ 7 h 709"/>
                <a:gd name="T20" fmla="*/ 336 w 618"/>
                <a:gd name="T21" fmla="*/ 0 h 709"/>
                <a:gd name="T22" fmla="*/ 376 w 618"/>
                <a:gd name="T23" fmla="*/ 0 h 709"/>
                <a:gd name="T24" fmla="*/ 433 w 618"/>
                <a:gd name="T25" fmla="*/ 8 h 709"/>
                <a:gd name="T26" fmla="*/ 487 w 618"/>
                <a:gd name="T27" fmla="*/ 24 h 709"/>
                <a:gd name="T28" fmla="*/ 535 w 618"/>
                <a:gd name="T29" fmla="*/ 48 h 709"/>
                <a:gd name="T30" fmla="*/ 579 w 618"/>
                <a:gd name="T31" fmla="*/ 78 h 709"/>
                <a:gd name="T32" fmla="*/ 618 w 618"/>
                <a:gd name="T33" fmla="*/ 114 h 709"/>
                <a:gd name="T34" fmla="*/ 501 w 618"/>
                <a:gd name="T35" fmla="*/ 205 h 709"/>
                <a:gd name="T36" fmla="*/ 448 w 618"/>
                <a:gd name="T37" fmla="*/ 167 h 709"/>
                <a:gd name="T38" fmla="*/ 405 w 618"/>
                <a:gd name="T39" fmla="*/ 152 h 709"/>
                <a:gd name="T40" fmla="*/ 368 w 618"/>
                <a:gd name="T41" fmla="*/ 147 h 709"/>
                <a:gd name="T42" fmla="*/ 334 w 618"/>
                <a:gd name="T43" fmla="*/ 148 h 709"/>
                <a:gd name="T44" fmla="*/ 275 w 618"/>
                <a:gd name="T45" fmla="*/ 163 h 709"/>
                <a:gd name="T46" fmla="*/ 226 w 618"/>
                <a:gd name="T47" fmla="*/ 193 h 709"/>
                <a:gd name="T48" fmla="*/ 188 w 618"/>
                <a:gd name="T49" fmla="*/ 236 h 709"/>
                <a:gd name="T50" fmla="*/ 164 w 618"/>
                <a:gd name="T51" fmla="*/ 291 h 709"/>
                <a:gd name="T52" fmla="*/ 156 w 618"/>
                <a:gd name="T53" fmla="*/ 354 h 709"/>
                <a:gd name="T54" fmla="*/ 160 w 618"/>
                <a:gd name="T55" fmla="*/ 398 h 709"/>
                <a:gd name="T56" fmla="*/ 179 w 618"/>
                <a:gd name="T57" fmla="*/ 456 h 709"/>
                <a:gd name="T58" fmla="*/ 212 w 618"/>
                <a:gd name="T59" fmla="*/ 503 h 709"/>
                <a:gd name="T60" fmla="*/ 257 w 618"/>
                <a:gd name="T61" fmla="*/ 537 h 709"/>
                <a:gd name="T62" fmla="*/ 313 w 618"/>
                <a:gd name="T63" fmla="*/ 558 h 709"/>
                <a:gd name="T64" fmla="*/ 355 w 618"/>
                <a:gd name="T65" fmla="*/ 562 h 709"/>
                <a:gd name="T66" fmla="*/ 393 w 618"/>
                <a:gd name="T67" fmla="*/ 559 h 709"/>
                <a:gd name="T68" fmla="*/ 428 w 618"/>
                <a:gd name="T69" fmla="*/ 550 h 709"/>
                <a:gd name="T70" fmla="*/ 485 w 618"/>
                <a:gd name="T71" fmla="*/ 518 h 709"/>
                <a:gd name="T72" fmla="*/ 618 w 618"/>
                <a:gd name="T73" fmla="*/ 595 h 709"/>
                <a:gd name="T74" fmla="*/ 593 w 618"/>
                <a:gd name="T75" fmla="*/ 620 h 709"/>
                <a:gd name="T76" fmla="*/ 551 w 618"/>
                <a:gd name="T77" fmla="*/ 652 h 709"/>
                <a:gd name="T78" fmla="*/ 504 w 618"/>
                <a:gd name="T79" fmla="*/ 677 h 709"/>
                <a:gd name="T80" fmla="*/ 452 w 618"/>
                <a:gd name="T81" fmla="*/ 697 h 709"/>
                <a:gd name="T82" fmla="*/ 396 w 618"/>
                <a:gd name="T83" fmla="*/ 707 h 709"/>
                <a:gd name="T84" fmla="*/ 355 w 618"/>
                <a:gd name="T85" fmla="*/ 709 h 709"/>
                <a:gd name="T86" fmla="*/ 299 w 618"/>
                <a:gd name="T87" fmla="*/ 705 h 709"/>
                <a:gd name="T88" fmla="*/ 247 w 618"/>
                <a:gd name="T89" fmla="*/ 693 h 709"/>
                <a:gd name="T90" fmla="*/ 199 w 618"/>
                <a:gd name="T91" fmla="*/ 675 h 709"/>
                <a:gd name="T92" fmla="*/ 154 w 618"/>
                <a:gd name="T93" fmla="*/ 650 h 709"/>
                <a:gd name="T94" fmla="*/ 114 w 618"/>
                <a:gd name="T95" fmla="*/ 619 h 709"/>
                <a:gd name="T96" fmla="*/ 79 w 618"/>
                <a:gd name="T97" fmla="*/ 582 h 709"/>
                <a:gd name="T98" fmla="*/ 51 w 618"/>
                <a:gd name="T99" fmla="*/ 541 h 709"/>
                <a:gd name="T100" fmla="*/ 28 w 618"/>
                <a:gd name="T101" fmla="*/ 495 h 709"/>
                <a:gd name="T102" fmla="*/ 12 w 618"/>
                <a:gd name="T103" fmla="*/ 445 h 709"/>
                <a:gd name="T104" fmla="*/ 3 w 618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8" h="709">
                  <a:moveTo>
                    <a:pt x="0" y="354"/>
                  </a:moveTo>
                  <a:lnTo>
                    <a:pt x="0" y="354"/>
                  </a:lnTo>
                  <a:lnTo>
                    <a:pt x="1" y="336"/>
                  </a:lnTo>
                  <a:lnTo>
                    <a:pt x="3" y="317"/>
                  </a:lnTo>
                  <a:lnTo>
                    <a:pt x="5" y="299"/>
                  </a:lnTo>
                  <a:lnTo>
                    <a:pt x="7" y="282"/>
                  </a:lnTo>
                  <a:lnTo>
                    <a:pt x="12" y="265"/>
                  </a:lnTo>
                  <a:lnTo>
                    <a:pt x="16" y="248"/>
                  </a:lnTo>
                  <a:lnTo>
                    <a:pt x="21" y="230"/>
                  </a:lnTo>
                  <a:lnTo>
                    <a:pt x="28" y="214"/>
                  </a:lnTo>
                  <a:lnTo>
                    <a:pt x="35" y="198"/>
                  </a:lnTo>
                  <a:lnTo>
                    <a:pt x="42" y="183"/>
                  </a:lnTo>
                  <a:lnTo>
                    <a:pt x="51" y="169"/>
                  </a:lnTo>
                  <a:lnTo>
                    <a:pt x="59" y="154"/>
                  </a:lnTo>
                  <a:lnTo>
                    <a:pt x="69" y="140"/>
                  </a:lnTo>
                  <a:lnTo>
                    <a:pt x="79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40" y="69"/>
                  </a:lnTo>
                  <a:lnTo>
                    <a:pt x="154" y="60"/>
                  </a:lnTo>
                  <a:lnTo>
                    <a:pt x="168" y="50"/>
                  </a:lnTo>
                  <a:lnTo>
                    <a:pt x="182" y="41"/>
                  </a:lnTo>
                  <a:lnTo>
                    <a:pt x="199" y="34"/>
                  </a:lnTo>
                  <a:lnTo>
                    <a:pt x="215" y="28"/>
                  </a:lnTo>
                  <a:lnTo>
                    <a:pt x="231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2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76" y="0"/>
                  </a:lnTo>
                  <a:lnTo>
                    <a:pt x="396" y="2"/>
                  </a:lnTo>
                  <a:lnTo>
                    <a:pt x="415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70" y="18"/>
                  </a:lnTo>
                  <a:lnTo>
                    <a:pt x="487" y="24"/>
                  </a:lnTo>
                  <a:lnTo>
                    <a:pt x="504" y="31"/>
                  </a:lnTo>
                  <a:lnTo>
                    <a:pt x="520" y="39"/>
                  </a:lnTo>
                  <a:lnTo>
                    <a:pt x="535" y="48"/>
                  </a:lnTo>
                  <a:lnTo>
                    <a:pt x="551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8" y="114"/>
                  </a:lnTo>
                  <a:lnTo>
                    <a:pt x="515" y="220"/>
                  </a:lnTo>
                  <a:lnTo>
                    <a:pt x="515" y="220"/>
                  </a:lnTo>
                  <a:lnTo>
                    <a:pt x="501" y="205"/>
                  </a:lnTo>
                  <a:lnTo>
                    <a:pt x="485" y="191"/>
                  </a:lnTo>
                  <a:lnTo>
                    <a:pt x="468" y="179"/>
                  </a:lnTo>
                  <a:lnTo>
                    <a:pt x="448" y="167"/>
                  </a:lnTo>
                  <a:lnTo>
                    <a:pt x="428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4" y="156"/>
                  </a:lnTo>
                  <a:lnTo>
                    <a:pt x="275" y="163"/>
                  </a:lnTo>
                  <a:lnTo>
                    <a:pt x="257" y="171"/>
                  </a:lnTo>
                  <a:lnTo>
                    <a:pt x="241" y="181"/>
                  </a:lnTo>
                  <a:lnTo>
                    <a:pt x="226" y="193"/>
                  </a:lnTo>
                  <a:lnTo>
                    <a:pt x="212" y="206"/>
                  </a:lnTo>
                  <a:lnTo>
                    <a:pt x="200" y="220"/>
                  </a:lnTo>
                  <a:lnTo>
                    <a:pt x="188" y="236"/>
                  </a:lnTo>
                  <a:lnTo>
                    <a:pt x="179" y="253"/>
                  </a:lnTo>
                  <a:lnTo>
                    <a:pt x="171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7" y="332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57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1" y="438"/>
                  </a:lnTo>
                  <a:lnTo>
                    <a:pt x="179" y="456"/>
                  </a:lnTo>
                  <a:lnTo>
                    <a:pt x="188" y="472"/>
                  </a:lnTo>
                  <a:lnTo>
                    <a:pt x="200" y="488"/>
                  </a:lnTo>
                  <a:lnTo>
                    <a:pt x="212" y="503"/>
                  </a:lnTo>
                  <a:lnTo>
                    <a:pt x="226" y="516"/>
                  </a:lnTo>
                  <a:lnTo>
                    <a:pt x="241" y="528"/>
                  </a:lnTo>
                  <a:lnTo>
                    <a:pt x="257" y="537"/>
                  </a:lnTo>
                  <a:lnTo>
                    <a:pt x="275" y="547"/>
                  </a:lnTo>
                  <a:lnTo>
                    <a:pt x="294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5" y="562"/>
                  </a:lnTo>
                  <a:lnTo>
                    <a:pt x="355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8" y="550"/>
                  </a:lnTo>
                  <a:lnTo>
                    <a:pt x="448" y="541"/>
                  </a:lnTo>
                  <a:lnTo>
                    <a:pt x="468" y="531"/>
                  </a:lnTo>
                  <a:lnTo>
                    <a:pt x="485" y="518"/>
                  </a:lnTo>
                  <a:lnTo>
                    <a:pt x="501" y="504"/>
                  </a:lnTo>
                  <a:lnTo>
                    <a:pt x="515" y="489"/>
                  </a:lnTo>
                  <a:lnTo>
                    <a:pt x="618" y="595"/>
                  </a:lnTo>
                  <a:lnTo>
                    <a:pt x="618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1" y="652"/>
                  </a:lnTo>
                  <a:lnTo>
                    <a:pt x="535" y="661"/>
                  </a:lnTo>
                  <a:lnTo>
                    <a:pt x="520" y="670"/>
                  </a:lnTo>
                  <a:lnTo>
                    <a:pt x="504" y="677"/>
                  </a:lnTo>
                  <a:lnTo>
                    <a:pt x="487" y="685"/>
                  </a:lnTo>
                  <a:lnTo>
                    <a:pt x="470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5" y="705"/>
                  </a:lnTo>
                  <a:lnTo>
                    <a:pt x="396" y="707"/>
                  </a:lnTo>
                  <a:lnTo>
                    <a:pt x="376" y="708"/>
                  </a:lnTo>
                  <a:lnTo>
                    <a:pt x="355" y="709"/>
                  </a:lnTo>
                  <a:lnTo>
                    <a:pt x="355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2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31" y="688"/>
                  </a:lnTo>
                  <a:lnTo>
                    <a:pt x="215" y="682"/>
                  </a:lnTo>
                  <a:lnTo>
                    <a:pt x="199" y="675"/>
                  </a:lnTo>
                  <a:lnTo>
                    <a:pt x="182" y="667"/>
                  </a:lnTo>
                  <a:lnTo>
                    <a:pt x="168" y="659"/>
                  </a:lnTo>
                  <a:lnTo>
                    <a:pt x="154" y="650"/>
                  </a:lnTo>
                  <a:lnTo>
                    <a:pt x="140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9" y="582"/>
                  </a:lnTo>
                  <a:lnTo>
                    <a:pt x="69" y="568"/>
                  </a:lnTo>
                  <a:lnTo>
                    <a:pt x="59" y="555"/>
                  </a:lnTo>
                  <a:lnTo>
                    <a:pt x="51" y="541"/>
                  </a:lnTo>
                  <a:lnTo>
                    <a:pt x="42" y="526"/>
                  </a:lnTo>
                  <a:lnTo>
                    <a:pt x="35" y="510"/>
                  </a:lnTo>
                  <a:lnTo>
                    <a:pt x="28" y="495"/>
                  </a:lnTo>
                  <a:lnTo>
                    <a:pt x="21" y="478"/>
                  </a:lnTo>
                  <a:lnTo>
                    <a:pt x="16" y="462"/>
                  </a:lnTo>
                  <a:lnTo>
                    <a:pt x="12" y="445"/>
                  </a:lnTo>
                  <a:lnTo>
                    <a:pt x="7" y="427"/>
                  </a:lnTo>
                  <a:lnTo>
                    <a:pt x="5" y="409"/>
                  </a:lnTo>
                  <a:lnTo>
                    <a:pt x="3" y="392"/>
                  </a:lnTo>
                  <a:lnTo>
                    <a:pt x="1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950" y="3536"/>
              <a:ext cx="176" cy="123"/>
            </a:xfrm>
            <a:custGeom>
              <a:avLst/>
              <a:gdLst>
                <a:gd name="T0" fmla="*/ 529 w 529"/>
                <a:gd name="T1" fmla="*/ 370 h 370"/>
                <a:gd name="T2" fmla="*/ 203 w 529"/>
                <a:gd name="T3" fmla="*/ 0 h 370"/>
                <a:gd name="T4" fmla="*/ 0 w 529"/>
                <a:gd name="T5" fmla="*/ 0 h 370"/>
                <a:gd name="T6" fmla="*/ 322 w 529"/>
                <a:gd name="T7" fmla="*/ 370 h 370"/>
                <a:gd name="T8" fmla="*/ 529 w 529"/>
                <a:gd name="T9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0">
                  <a:moveTo>
                    <a:pt x="529" y="370"/>
                  </a:moveTo>
                  <a:lnTo>
                    <a:pt x="203" y="0"/>
                  </a:lnTo>
                  <a:lnTo>
                    <a:pt x="0" y="0"/>
                  </a:lnTo>
                  <a:lnTo>
                    <a:pt x="322" y="370"/>
                  </a:lnTo>
                  <a:lnTo>
                    <a:pt x="529" y="37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887" y="3345"/>
              <a:ext cx="50" cy="314"/>
            </a:xfrm>
            <a:custGeom>
              <a:avLst/>
              <a:gdLst>
                <a:gd name="T0" fmla="*/ 0 w 152"/>
                <a:gd name="T1" fmla="*/ 0 h 943"/>
                <a:gd name="T2" fmla="*/ 0 w 152"/>
                <a:gd name="T3" fmla="*/ 943 h 943"/>
                <a:gd name="T4" fmla="*/ 152 w 152"/>
                <a:gd name="T5" fmla="*/ 943 h 943"/>
                <a:gd name="T6" fmla="*/ 152 w 152"/>
                <a:gd name="T7" fmla="*/ 599 h 943"/>
                <a:gd name="T8" fmla="*/ 152 w 152"/>
                <a:gd name="T9" fmla="*/ 600 h 943"/>
                <a:gd name="T10" fmla="*/ 152 w 152"/>
                <a:gd name="T11" fmla="*/ 565 h 943"/>
                <a:gd name="T12" fmla="*/ 152 w 152"/>
                <a:gd name="T13" fmla="*/ 565 h 943"/>
                <a:gd name="T14" fmla="*/ 152 w 152"/>
                <a:gd name="T15" fmla="*/ 0 h 943"/>
                <a:gd name="T16" fmla="*/ 0 w 152"/>
                <a:gd name="T1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943">
                  <a:moveTo>
                    <a:pt x="0" y="0"/>
                  </a:moveTo>
                  <a:lnTo>
                    <a:pt x="0" y="943"/>
                  </a:lnTo>
                  <a:lnTo>
                    <a:pt x="152" y="943"/>
                  </a:lnTo>
                  <a:lnTo>
                    <a:pt x="152" y="599"/>
                  </a:lnTo>
                  <a:lnTo>
                    <a:pt x="152" y="600"/>
                  </a:lnTo>
                  <a:lnTo>
                    <a:pt x="152" y="565"/>
                  </a:lnTo>
                  <a:lnTo>
                    <a:pt x="152" y="565"/>
                  </a:lnTo>
                  <a:lnTo>
                    <a:pt x="15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1196" y="3424"/>
              <a:ext cx="206" cy="236"/>
            </a:xfrm>
            <a:custGeom>
              <a:avLst/>
              <a:gdLst>
                <a:gd name="T0" fmla="*/ 0 w 617"/>
                <a:gd name="T1" fmla="*/ 336 h 709"/>
                <a:gd name="T2" fmla="*/ 7 w 617"/>
                <a:gd name="T3" fmla="*/ 282 h 709"/>
                <a:gd name="T4" fmla="*/ 21 w 617"/>
                <a:gd name="T5" fmla="*/ 230 h 709"/>
                <a:gd name="T6" fmla="*/ 42 w 617"/>
                <a:gd name="T7" fmla="*/ 183 h 709"/>
                <a:gd name="T8" fmla="*/ 68 w 617"/>
                <a:gd name="T9" fmla="*/ 140 h 709"/>
                <a:gd name="T10" fmla="*/ 101 w 617"/>
                <a:gd name="T11" fmla="*/ 102 h 709"/>
                <a:gd name="T12" fmla="*/ 139 w 617"/>
                <a:gd name="T13" fmla="*/ 69 h 709"/>
                <a:gd name="T14" fmla="*/ 183 w 617"/>
                <a:gd name="T15" fmla="*/ 41 h 709"/>
                <a:gd name="T16" fmla="*/ 229 w 617"/>
                <a:gd name="T17" fmla="*/ 21 h 709"/>
                <a:gd name="T18" fmla="*/ 281 w 617"/>
                <a:gd name="T19" fmla="*/ 7 h 709"/>
                <a:gd name="T20" fmla="*/ 336 w 617"/>
                <a:gd name="T21" fmla="*/ 0 h 709"/>
                <a:gd name="T22" fmla="*/ 375 w 617"/>
                <a:gd name="T23" fmla="*/ 0 h 709"/>
                <a:gd name="T24" fmla="*/ 433 w 617"/>
                <a:gd name="T25" fmla="*/ 8 h 709"/>
                <a:gd name="T26" fmla="*/ 486 w 617"/>
                <a:gd name="T27" fmla="*/ 24 h 709"/>
                <a:gd name="T28" fmla="*/ 535 w 617"/>
                <a:gd name="T29" fmla="*/ 48 h 709"/>
                <a:gd name="T30" fmla="*/ 579 w 617"/>
                <a:gd name="T31" fmla="*/ 78 h 709"/>
                <a:gd name="T32" fmla="*/ 617 w 617"/>
                <a:gd name="T33" fmla="*/ 114 h 709"/>
                <a:gd name="T34" fmla="*/ 500 w 617"/>
                <a:gd name="T35" fmla="*/ 205 h 709"/>
                <a:gd name="T36" fmla="*/ 448 w 617"/>
                <a:gd name="T37" fmla="*/ 167 h 709"/>
                <a:gd name="T38" fmla="*/ 405 w 617"/>
                <a:gd name="T39" fmla="*/ 152 h 709"/>
                <a:gd name="T40" fmla="*/ 368 w 617"/>
                <a:gd name="T41" fmla="*/ 147 h 709"/>
                <a:gd name="T42" fmla="*/ 334 w 617"/>
                <a:gd name="T43" fmla="*/ 148 h 709"/>
                <a:gd name="T44" fmla="*/ 274 w 617"/>
                <a:gd name="T45" fmla="*/ 163 h 709"/>
                <a:gd name="T46" fmla="*/ 225 w 617"/>
                <a:gd name="T47" fmla="*/ 193 h 709"/>
                <a:gd name="T48" fmla="*/ 187 w 617"/>
                <a:gd name="T49" fmla="*/ 236 h 709"/>
                <a:gd name="T50" fmla="*/ 164 w 617"/>
                <a:gd name="T51" fmla="*/ 291 h 709"/>
                <a:gd name="T52" fmla="*/ 155 w 617"/>
                <a:gd name="T53" fmla="*/ 354 h 709"/>
                <a:gd name="T54" fmla="*/ 160 w 617"/>
                <a:gd name="T55" fmla="*/ 398 h 709"/>
                <a:gd name="T56" fmla="*/ 178 w 617"/>
                <a:gd name="T57" fmla="*/ 456 h 709"/>
                <a:gd name="T58" fmla="*/ 211 w 617"/>
                <a:gd name="T59" fmla="*/ 503 h 709"/>
                <a:gd name="T60" fmla="*/ 257 w 617"/>
                <a:gd name="T61" fmla="*/ 537 h 709"/>
                <a:gd name="T62" fmla="*/ 313 w 617"/>
                <a:gd name="T63" fmla="*/ 558 h 709"/>
                <a:gd name="T64" fmla="*/ 354 w 617"/>
                <a:gd name="T65" fmla="*/ 562 h 709"/>
                <a:gd name="T66" fmla="*/ 393 w 617"/>
                <a:gd name="T67" fmla="*/ 559 h 709"/>
                <a:gd name="T68" fmla="*/ 427 w 617"/>
                <a:gd name="T69" fmla="*/ 550 h 709"/>
                <a:gd name="T70" fmla="*/ 484 w 617"/>
                <a:gd name="T71" fmla="*/ 518 h 709"/>
                <a:gd name="T72" fmla="*/ 617 w 617"/>
                <a:gd name="T73" fmla="*/ 595 h 709"/>
                <a:gd name="T74" fmla="*/ 593 w 617"/>
                <a:gd name="T75" fmla="*/ 620 h 709"/>
                <a:gd name="T76" fmla="*/ 550 w 617"/>
                <a:gd name="T77" fmla="*/ 652 h 709"/>
                <a:gd name="T78" fmla="*/ 503 w 617"/>
                <a:gd name="T79" fmla="*/ 677 h 709"/>
                <a:gd name="T80" fmla="*/ 452 w 617"/>
                <a:gd name="T81" fmla="*/ 697 h 709"/>
                <a:gd name="T82" fmla="*/ 394 w 617"/>
                <a:gd name="T83" fmla="*/ 707 h 709"/>
                <a:gd name="T84" fmla="*/ 354 w 617"/>
                <a:gd name="T85" fmla="*/ 709 h 709"/>
                <a:gd name="T86" fmla="*/ 299 w 617"/>
                <a:gd name="T87" fmla="*/ 705 h 709"/>
                <a:gd name="T88" fmla="*/ 247 w 617"/>
                <a:gd name="T89" fmla="*/ 693 h 709"/>
                <a:gd name="T90" fmla="*/ 197 w 617"/>
                <a:gd name="T91" fmla="*/ 675 h 709"/>
                <a:gd name="T92" fmla="*/ 153 w 617"/>
                <a:gd name="T93" fmla="*/ 650 h 709"/>
                <a:gd name="T94" fmla="*/ 114 w 617"/>
                <a:gd name="T95" fmla="*/ 619 h 709"/>
                <a:gd name="T96" fmla="*/ 78 w 617"/>
                <a:gd name="T97" fmla="*/ 582 h 709"/>
                <a:gd name="T98" fmla="*/ 50 w 617"/>
                <a:gd name="T99" fmla="*/ 541 h 709"/>
                <a:gd name="T100" fmla="*/ 27 w 617"/>
                <a:gd name="T101" fmla="*/ 495 h 709"/>
                <a:gd name="T102" fmla="*/ 11 w 617"/>
                <a:gd name="T103" fmla="*/ 445 h 709"/>
                <a:gd name="T104" fmla="*/ 2 w 617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7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2" y="317"/>
                  </a:lnTo>
                  <a:lnTo>
                    <a:pt x="4" y="299"/>
                  </a:lnTo>
                  <a:lnTo>
                    <a:pt x="7" y="282"/>
                  </a:lnTo>
                  <a:lnTo>
                    <a:pt x="11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7" y="214"/>
                  </a:lnTo>
                  <a:lnTo>
                    <a:pt x="34" y="198"/>
                  </a:lnTo>
                  <a:lnTo>
                    <a:pt x="42" y="183"/>
                  </a:lnTo>
                  <a:lnTo>
                    <a:pt x="50" y="169"/>
                  </a:lnTo>
                  <a:lnTo>
                    <a:pt x="59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39" y="69"/>
                  </a:lnTo>
                  <a:lnTo>
                    <a:pt x="153" y="60"/>
                  </a:lnTo>
                  <a:lnTo>
                    <a:pt x="168" y="50"/>
                  </a:lnTo>
                  <a:lnTo>
                    <a:pt x="183" y="41"/>
                  </a:lnTo>
                  <a:lnTo>
                    <a:pt x="197" y="34"/>
                  </a:lnTo>
                  <a:lnTo>
                    <a:pt x="213" y="28"/>
                  </a:lnTo>
                  <a:lnTo>
                    <a:pt x="229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1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75" y="0"/>
                  </a:lnTo>
                  <a:lnTo>
                    <a:pt x="394" y="2"/>
                  </a:lnTo>
                  <a:lnTo>
                    <a:pt x="414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69" y="18"/>
                  </a:lnTo>
                  <a:lnTo>
                    <a:pt x="486" y="24"/>
                  </a:lnTo>
                  <a:lnTo>
                    <a:pt x="503" y="31"/>
                  </a:lnTo>
                  <a:lnTo>
                    <a:pt x="519" y="39"/>
                  </a:lnTo>
                  <a:lnTo>
                    <a:pt x="535" y="48"/>
                  </a:lnTo>
                  <a:lnTo>
                    <a:pt x="550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7" y="114"/>
                  </a:lnTo>
                  <a:lnTo>
                    <a:pt x="514" y="220"/>
                  </a:lnTo>
                  <a:lnTo>
                    <a:pt x="514" y="220"/>
                  </a:lnTo>
                  <a:lnTo>
                    <a:pt x="500" y="205"/>
                  </a:lnTo>
                  <a:lnTo>
                    <a:pt x="484" y="191"/>
                  </a:lnTo>
                  <a:lnTo>
                    <a:pt x="467" y="179"/>
                  </a:lnTo>
                  <a:lnTo>
                    <a:pt x="448" y="167"/>
                  </a:lnTo>
                  <a:lnTo>
                    <a:pt x="427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4" y="147"/>
                  </a:lnTo>
                  <a:lnTo>
                    <a:pt x="354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3" y="156"/>
                  </a:lnTo>
                  <a:lnTo>
                    <a:pt x="274" y="163"/>
                  </a:lnTo>
                  <a:lnTo>
                    <a:pt x="257" y="171"/>
                  </a:lnTo>
                  <a:lnTo>
                    <a:pt x="240" y="181"/>
                  </a:lnTo>
                  <a:lnTo>
                    <a:pt x="225" y="193"/>
                  </a:lnTo>
                  <a:lnTo>
                    <a:pt x="211" y="206"/>
                  </a:lnTo>
                  <a:lnTo>
                    <a:pt x="199" y="220"/>
                  </a:lnTo>
                  <a:lnTo>
                    <a:pt x="187" y="236"/>
                  </a:lnTo>
                  <a:lnTo>
                    <a:pt x="178" y="253"/>
                  </a:lnTo>
                  <a:lnTo>
                    <a:pt x="170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6" y="332"/>
                  </a:lnTo>
                  <a:lnTo>
                    <a:pt x="155" y="354"/>
                  </a:lnTo>
                  <a:lnTo>
                    <a:pt x="155" y="354"/>
                  </a:lnTo>
                  <a:lnTo>
                    <a:pt x="156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0" y="438"/>
                  </a:lnTo>
                  <a:lnTo>
                    <a:pt x="178" y="456"/>
                  </a:lnTo>
                  <a:lnTo>
                    <a:pt x="187" y="472"/>
                  </a:lnTo>
                  <a:lnTo>
                    <a:pt x="199" y="488"/>
                  </a:lnTo>
                  <a:lnTo>
                    <a:pt x="211" y="503"/>
                  </a:lnTo>
                  <a:lnTo>
                    <a:pt x="225" y="516"/>
                  </a:lnTo>
                  <a:lnTo>
                    <a:pt x="240" y="528"/>
                  </a:lnTo>
                  <a:lnTo>
                    <a:pt x="257" y="537"/>
                  </a:lnTo>
                  <a:lnTo>
                    <a:pt x="274" y="547"/>
                  </a:lnTo>
                  <a:lnTo>
                    <a:pt x="293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4" y="562"/>
                  </a:lnTo>
                  <a:lnTo>
                    <a:pt x="354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7" y="550"/>
                  </a:lnTo>
                  <a:lnTo>
                    <a:pt x="448" y="541"/>
                  </a:lnTo>
                  <a:lnTo>
                    <a:pt x="467" y="531"/>
                  </a:lnTo>
                  <a:lnTo>
                    <a:pt x="484" y="518"/>
                  </a:lnTo>
                  <a:lnTo>
                    <a:pt x="500" y="504"/>
                  </a:lnTo>
                  <a:lnTo>
                    <a:pt x="514" y="489"/>
                  </a:lnTo>
                  <a:lnTo>
                    <a:pt x="617" y="595"/>
                  </a:lnTo>
                  <a:lnTo>
                    <a:pt x="617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0" y="652"/>
                  </a:lnTo>
                  <a:lnTo>
                    <a:pt x="535" y="661"/>
                  </a:lnTo>
                  <a:lnTo>
                    <a:pt x="519" y="670"/>
                  </a:lnTo>
                  <a:lnTo>
                    <a:pt x="503" y="677"/>
                  </a:lnTo>
                  <a:lnTo>
                    <a:pt x="486" y="685"/>
                  </a:lnTo>
                  <a:lnTo>
                    <a:pt x="469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4" y="705"/>
                  </a:lnTo>
                  <a:lnTo>
                    <a:pt x="394" y="707"/>
                  </a:lnTo>
                  <a:lnTo>
                    <a:pt x="375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3" y="667"/>
                  </a:lnTo>
                  <a:lnTo>
                    <a:pt x="168" y="659"/>
                  </a:lnTo>
                  <a:lnTo>
                    <a:pt x="153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9" y="555"/>
                  </a:lnTo>
                  <a:lnTo>
                    <a:pt x="50" y="541"/>
                  </a:lnTo>
                  <a:lnTo>
                    <a:pt x="42" y="526"/>
                  </a:lnTo>
                  <a:lnTo>
                    <a:pt x="34" y="510"/>
                  </a:lnTo>
                  <a:lnTo>
                    <a:pt x="27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1" y="445"/>
                  </a:lnTo>
                  <a:lnTo>
                    <a:pt x="7" y="427"/>
                  </a:lnTo>
                  <a:lnTo>
                    <a:pt x="4" y="409"/>
                  </a:lnTo>
                  <a:lnTo>
                    <a:pt x="2" y="392"/>
                  </a:lnTo>
                  <a:lnTo>
                    <a:pt x="0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196" y="3424"/>
              <a:ext cx="206" cy="236"/>
            </a:xfrm>
            <a:custGeom>
              <a:avLst/>
              <a:gdLst>
                <a:gd name="T0" fmla="*/ 0 w 617"/>
                <a:gd name="T1" fmla="*/ 336 h 709"/>
                <a:gd name="T2" fmla="*/ 7 w 617"/>
                <a:gd name="T3" fmla="*/ 282 h 709"/>
                <a:gd name="T4" fmla="*/ 21 w 617"/>
                <a:gd name="T5" fmla="*/ 230 h 709"/>
                <a:gd name="T6" fmla="*/ 42 w 617"/>
                <a:gd name="T7" fmla="*/ 183 h 709"/>
                <a:gd name="T8" fmla="*/ 68 w 617"/>
                <a:gd name="T9" fmla="*/ 140 h 709"/>
                <a:gd name="T10" fmla="*/ 101 w 617"/>
                <a:gd name="T11" fmla="*/ 102 h 709"/>
                <a:gd name="T12" fmla="*/ 139 w 617"/>
                <a:gd name="T13" fmla="*/ 69 h 709"/>
                <a:gd name="T14" fmla="*/ 183 w 617"/>
                <a:gd name="T15" fmla="*/ 41 h 709"/>
                <a:gd name="T16" fmla="*/ 229 w 617"/>
                <a:gd name="T17" fmla="*/ 21 h 709"/>
                <a:gd name="T18" fmla="*/ 281 w 617"/>
                <a:gd name="T19" fmla="*/ 7 h 709"/>
                <a:gd name="T20" fmla="*/ 336 w 617"/>
                <a:gd name="T21" fmla="*/ 0 h 709"/>
                <a:gd name="T22" fmla="*/ 375 w 617"/>
                <a:gd name="T23" fmla="*/ 0 h 709"/>
                <a:gd name="T24" fmla="*/ 433 w 617"/>
                <a:gd name="T25" fmla="*/ 8 h 709"/>
                <a:gd name="T26" fmla="*/ 486 w 617"/>
                <a:gd name="T27" fmla="*/ 24 h 709"/>
                <a:gd name="T28" fmla="*/ 535 w 617"/>
                <a:gd name="T29" fmla="*/ 48 h 709"/>
                <a:gd name="T30" fmla="*/ 579 w 617"/>
                <a:gd name="T31" fmla="*/ 78 h 709"/>
                <a:gd name="T32" fmla="*/ 617 w 617"/>
                <a:gd name="T33" fmla="*/ 114 h 709"/>
                <a:gd name="T34" fmla="*/ 500 w 617"/>
                <a:gd name="T35" fmla="*/ 205 h 709"/>
                <a:gd name="T36" fmla="*/ 448 w 617"/>
                <a:gd name="T37" fmla="*/ 167 h 709"/>
                <a:gd name="T38" fmla="*/ 405 w 617"/>
                <a:gd name="T39" fmla="*/ 152 h 709"/>
                <a:gd name="T40" fmla="*/ 368 w 617"/>
                <a:gd name="T41" fmla="*/ 147 h 709"/>
                <a:gd name="T42" fmla="*/ 334 w 617"/>
                <a:gd name="T43" fmla="*/ 148 h 709"/>
                <a:gd name="T44" fmla="*/ 274 w 617"/>
                <a:gd name="T45" fmla="*/ 163 h 709"/>
                <a:gd name="T46" fmla="*/ 225 w 617"/>
                <a:gd name="T47" fmla="*/ 193 h 709"/>
                <a:gd name="T48" fmla="*/ 187 w 617"/>
                <a:gd name="T49" fmla="*/ 236 h 709"/>
                <a:gd name="T50" fmla="*/ 164 w 617"/>
                <a:gd name="T51" fmla="*/ 291 h 709"/>
                <a:gd name="T52" fmla="*/ 155 w 617"/>
                <a:gd name="T53" fmla="*/ 354 h 709"/>
                <a:gd name="T54" fmla="*/ 160 w 617"/>
                <a:gd name="T55" fmla="*/ 398 h 709"/>
                <a:gd name="T56" fmla="*/ 178 w 617"/>
                <a:gd name="T57" fmla="*/ 456 h 709"/>
                <a:gd name="T58" fmla="*/ 211 w 617"/>
                <a:gd name="T59" fmla="*/ 503 h 709"/>
                <a:gd name="T60" fmla="*/ 257 w 617"/>
                <a:gd name="T61" fmla="*/ 537 h 709"/>
                <a:gd name="T62" fmla="*/ 313 w 617"/>
                <a:gd name="T63" fmla="*/ 558 h 709"/>
                <a:gd name="T64" fmla="*/ 354 w 617"/>
                <a:gd name="T65" fmla="*/ 562 h 709"/>
                <a:gd name="T66" fmla="*/ 393 w 617"/>
                <a:gd name="T67" fmla="*/ 559 h 709"/>
                <a:gd name="T68" fmla="*/ 427 w 617"/>
                <a:gd name="T69" fmla="*/ 550 h 709"/>
                <a:gd name="T70" fmla="*/ 484 w 617"/>
                <a:gd name="T71" fmla="*/ 518 h 709"/>
                <a:gd name="T72" fmla="*/ 617 w 617"/>
                <a:gd name="T73" fmla="*/ 595 h 709"/>
                <a:gd name="T74" fmla="*/ 593 w 617"/>
                <a:gd name="T75" fmla="*/ 620 h 709"/>
                <a:gd name="T76" fmla="*/ 550 w 617"/>
                <a:gd name="T77" fmla="*/ 652 h 709"/>
                <a:gd name="T78" fmla="*/ 503 w 617"/>
                <a:gd name="T79" fmla="*/ 677 h 709"/>
                <a:gd name="T80" fmla="*/ 452 w 617"/>
                <a:gd name="T81" fmla="*/ 697 h 709"/>
                <a:gd name="T82" fmla="*/ 394 w 617"/>
                <a:gd name="T83" fmla="*/ 707 h 709"/>
                <a:gd name="T84" fmla="*/ 354 w 617"/>
                <a:gd name="T85" fmla="*/ 709 h 709"/>
                <a:gd name="T86" fmla="*/ 299 w 617"/>
                <a:gd name="T87" fmla="*/ 705 h 709"/>
                <a:gd name="T88" fmla="*/ 247 w 617"/>
                <a:gd name="T89" fmla="*/ 693 h 709"/>
                <a:gd name="T90" fmla="*/ 197 w 617"/>
                <a:gd name="T91" fmla="*/ 675 h 709"/>
                <a:gd name="T92" fmla="*/ 153 w 617"/>
                <a:gd name="T93" fmla="*/ 650 h 709"/>
                <a:gd name="T94" fmla="*/ 114 w 617"/>
                <a:gd name="T95" fmla="*/ 619 h 709"/>
                <a:gd name="T96" fmla="*/ 78 w 617"/>
                <a:gd name="T97" fmla="*/ 582 h 709"/>
                <a:gd name="T98" fmla="*/ 50 w 617"/>
                <a:gd name="T99" fmla="*/ 541 h 709"/>
                <a:gd name="T100" fmla="*/ 27 w 617"/>
                <a:gd name="T101" fmla="*/ 495 h 709"/>
                <a:gd name="T102" fmla="*/ 11 w 617"/>
                <a:gd name="T103" fmla="*/ 445 h 709"/>
                <a:gd name="T104" fmla="*/ 2 w 617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7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2" y="317"/>
                  </a:lnTo>
                  <a:lnTo>
                    <a:pt x="4" y="299"/>
                  </a:lnTo>
                  <a:lnTo>
                    <a:pt x="7" y="282"/>
                  </a:lnTo>
                  <a:lnTo>
                    <a:pt x="11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7" y="214"/>
                  </a:lnTo>
                  <a:lnTo>
                    <a:pt x="34" y="198"/>
                  </a:lnTo>
                  <a:lnTo>
                    <a:pt x="42" y="183"/>
                  </a:lnTo>
                  <a:lnTo>
                    <a:pt x="50" y="169"/>
                  </a:lnTo>
                  <a:lnTo>
                    <a:pt x="59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39" y="69"/>
                  </a:lnTo>
                  <a:lnTo>
                    <a:pt x="153" y="60"/>
                  </a:lnTo>
                  <a:lnTo>
                    <a:pt x="168" y="50"/>
                  </a:lnTo>
                  <a:lnTo>
                    <a:pt x="183" y="41"/>
                  </a:lnTo>
                  <a:lnTo>
                    <a:pt x="197" y="34"/>
                  </a:lnTo>
                  <a:lnTo>
                    <a:pt x="213" y="28"/>
                  </a:lnTo>
                  <a:lnTo>
                    <a:pt x="229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1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75" y="0"/>
                  </a:lnTo>
                  <a:lnTo>
                    <a:pt x="394" y="2"/>
                  </a:lnTo>
                  <a:lnTo>
                    <a:pt x="414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69" y="18"/>
                  </a:lnTo>
                  <a:lnTo>
                    <a:pt x="486" y="24"/>
                  </a:lnTo>
                  <a:lnTo>
                    <a:pt x="503" y="31"/>
                  </a:lnTo>
                  <a:lnTo>
                    <a:pt x="519" y="39"/>
                  </a:lnTo>
                  <a:lnTo>
                    <a:pt x="535" y="48"/>
                  </a:lnTo>
                  <a:lnTo>
                    <a:pt x="550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7" y="114"/>
                  </a:lnTo>
                  <a:lnTo>
                    <a:pt x="514" y="220"/>
                  </a:lnTo>
                  <a:lnTo>
                    <a:pt x="514" y="220"/>
                  </a:lnTo>
                  <a:lnTo>
                    <a:pt x="500" y="205"/>
                  </a:lnTo>
                  <a:lnTo>
                    <a:pt x="484" y="191"/>
                  </a:lnTo>
                  <a:lnTo>
                    <a:pt x="467" y="179"/>
                  </a:lnTo>
                  <a:lnTo>
                    <a:pt x="448" y="167"/>
                  </a:lnTo>
                  <a:lnTo>
                    <a:pt x="427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4" y="147"/>
                  </a:lnTo>
                  <a:lnTo>
                    <a:pt x="354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3" y="156"/>
                  </a:lnTo>
                  <a:lnTo>
                    <a:pt x="274" y="163"/>
                  </a:lnTo>
                  <a:lnTo>
                    <a:pt x="257" y="171"/>
                  </a:lnTo>
                  <a:lnTo>
                    <a:pt x="240" y="181"/>
                  </a:lnTo>
                  <a:lnTo>
                    <a:pt x="225" y="193"/>
                  </a:lnTo>
                  <a:lnTo>
                    <a:pt x="211" y="206"/>
                  </a:lnTo>
                  <a:lnTo>
                    <a:pt x="199" y="220"/>
                  </a:lnTo>
                  <a:lnTo>
                    <a:pt x="187" y="236"/>
                  </a:lnTo>
                  <a:lnTo>
                    <a:pt x="178" y="253"/>
                  </a:lnTo>
                  <a:lnTo>
                    <a:pt x="170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6" y="332"/>
                  </a:lnTo>
                  <a:lnTo>
                    <a:pt x="155" y="354"/>
                  </a:lnTo>
                  <a:lnTo>
                    <a:pt x="155" y="354"/>
                  </a:lnTo>
                  <a:lnTo>
                    <a:pt x="156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0" y="438"/>
                  </a:lnTo>
                  <a:lnTo>
                    <a:pt x="178" y="456"/>
                  </a:lnTo>
                  <a:lnTo>
                    <a:pt x="187" y="472"/>
                  </a:lnTo>
                  <a:lnTo>
                    <a:pt x="199" y="488"/>
                  </a:lnTo>
                  <a:lnTo>
                    <a:pt x="211" y="503"/>
                  </a:lnTo>
                  <a:lnTo>
                    <a:pt x="225" y="516"/>
                  </a:lnTo>
                  <a:lnTo>
                    <a:pt x="240" y="528"/>
                  </a:lnTo>
                  <a:lnTo>
                    <a:pt x="257" y="537"/>
                  </a:lnTo>
                  <a:lnTo>
                    <a:pt x="274" y="547"/>
                  </a:lnTo>
                  <a:lnTo>
                    <a:pt x="293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4" y="562"/>
                  </a:lnTo>
                  <a:lnTo>
                    <a:pt x="354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7" y="550"/>
                  </a:lnTo>
                  <a:lnTo>
                    <a:pt x="448" y="541"/>
                  </a:lnTo>
                  <a:lnTo>
                    <a:pt x="467" y="531"/>
                  </a:lnTo>
                  <a:lnTo>
                    <a:pt x="484" y="518"/>
                  </a:lnTo>
                  <a:lnTo>
                    <a:pt x="500" y="504"/>
                  </a:lnTo>
                  <a:lnTo>
                    <a:pt x="514" y="489"/>
                  </a:lnTo>
                  <a:lnTo>
                    <a:pt x="617" y="595"/>
                  </a:lnTo>
                  <a:lnTo>
                    <a:pt x="617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0" y="652"/>
                  </a:lnTo>
                  <a:lnTo>
                    <a:pt x="535" y="661"/>
                  </a:lnTo>
                  <a:lnTo>
                    <a:pt x="519" y="670"/>
                  </a:lnTo>
                  <a:lnTo>
                    <a:pt x="503" y="677"/>
                  </a:lnTo>
                  <a:lnTo>
                    <a:pt x="486" y="685"/>
                  </a:lnTo>
                  <a:lnTo>
                    <a:pt x="469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4" y="705"/>
                  </a:lnTo>
                  <a:lnTo>
                    <a:pt x="394" y="707"/>
                  </a:lnTo>
                  <a:lnTo>
                    <a:pt x="375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3" y="667"/>
                  </a:lnTo>
                  <a:lnTo>
                    <a:pt x="168" y="659"/>
                  </a:lnTo>
                  <a:lnTo>
                    <a:pt x="153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9" y="555"/>
                  </a:lnTo>
                  <a:lnTo>
                    <a:pt x="50" y="541"/>
                  </a:lnTo>
                  <a:lnTo>
                    <a:pt x="42" y="526"/>
                  </a:lnTo>
                  <a:lnTo>
                    <a:pt x="34" y="510"/>
                  </a:lnTo>
                  <a:lnTo>
                    <a:pt x="27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1" y="445"/>
                  </a:lnTo>
                  <a:lnTo>
                    <a:pt x="7" y="427"/>
                  </a:lnTo>
                  <a:lnTo>
                    <a:pt x="4" y="409"/>
                  </a:lnTo>
                  <a:lnTo>
                    <a:pt x="2" y="392"/>
                  </a:lnTo>
                  <a:lnTo>
                    <a:pt x="0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 noEditPoints="1"/>
            </p:cNvSpPr>
            <p:nvPr userDrawn="1"/>
          </p:nvSpPr>
          <p:spPr bwMode="auto">
            <a:xfrm>
              <a:off x="1405" y="3424"/>
              <a:ext cx="227" cy="236"/>
            </a:xfrm>
            <a:custGeom>
              <a:avLst/>
              <a:gdLst>
                <a:gd name="T0" fmla="*/ 513 w 681"/>
                <a:gd name="T1" fmla="*/ 279 h 709"/>
                <a:gd name="T2" fmla="*/ 500 w 681"/>
                <a:gd name="T3" fmla="*/ 232 h 709"/>
                <a:gd name="T4" fmla="*/ 475 w 681"/>
                <a:gd name="T5" fmla="*/ 194 h 709"/>
                <a:gd name="T6" fmla="*/ 443 w 681"/>
                <a:gd name="T7" fmla="*/ 165 h 709"/>
                <a:gd name="T8" fmla="*/ 403 w 681"/>
                <a:gd name="T9" fmla="*/ 148 h 709"/>
                <a:gd name="T10" fmla="*/ 357 w 681"/>
                <a:gd name="T11" fmla="*/ 139 h 709"/>
                <a:gd name="T12" fmla="*/ 325 w 681"/>
                <a:gd name="T13" fmla="*/ 140 h 709"/>
                <a:gd name="T14" fmla="*/ 282 w 681"/>
                <a:gd name="T15" fmla="*/ 148 h 709"/>
                <a:gd name="T16" fmla="*/ 242 w 681"/>
                <a:gd name="T17" fmla="*/ 167 h 709"/>
                <a:gd name="T18" fmla="*/ 207 w 681"/>
                <a:gd name="T19" fmla="*/ 196 h 709"/>
                <a:gd name="T20" fmla="*/ 180 w 681"/>
                <a:gd name="T21" fmla="*/ 234 h 709"/>
                <a:gd name="T22" fmla="*/ 160 w 681"/>
                <a:gd name="T23" fmla="*/ 279 h 709"/>
                <a:gd name="T24" fmla="*/ 0 w 681"/>
                <a:gd name="T25" fmla="*/ 336 h 709"/>
                <a:gd name="T26" fmla="*/ 7 w 681"/>
                <a:gd name="T27" fmla="*/ 282 h 709"/>
                <a:gd name="T28" fmla="*/ 21 w 681"/>
                <a:gd name="T29" fmla="*/ 230 h 709"/>
                <a:gd name="T30" fmla="*/ 41 w 681"/>
                <a:gd name="T31" fmla="*/ 183 h 709"/>
                <a:gd name="T32" fmla="*/ 68 w 681"/>
                <a:gd name="T33" fmla="*/ 140 h 709"/>
                <a:gd name="T34" fmla="*/ 101 w 681"/>
                <a:gd name="T35" fmla="*/ 102 h 709"/>
                <a:gd name="T36" fmla="*/ 139 w 681"/>
                <a:gd name="T37" fmla="*/ 69 h 709"/>
                <a:gd name="T38" fmla="*/ 181 w 681"/>
                <a:gd name="T39" fmla="*/ 41 h 709"/>
                <a:gd name="T40" fmla="*/ 228 w 681"/>
                <a:gd name="T41" fmla="*/ 21 h 709"/>
                <a:gd name="T42" fmla="*/ 278 w 681"/>
                <a:gd name="T43" fmla="*/ 7 h 709"/>
                <a:gd name="T44" fmla="*/ 333 w 681"/>
                <a:gd name="T45" fmla="*/ 0 h 709"/>
                <a:gd name="T46" fmla="*/ 369 w 681"/>
                <a:gd name="T47" fmla="*/ 0 h 709"/>
                <a:gd name="T48" fmla="*/ 420 w 681"/>
                <a:gd name="T49" fmla="*/ 6 h 709"/>
                <a:gd name="T50" fmla="*/ 467 w 681"/>
                <a:gd name="T51" fmla="*/ 18 h 709"/>
                <a:gd name="T52" fmla="*/ 511 w 681"/>
                <a:gd name="T53" fmla="*/ 38 h 709"/>
                <a:gd name="T54" fmla="*/ 550 w 681"/>
                <a:gd name="T55" fmla="*/ 63 h 709"/>
                <a:gd name="T56" fmla="*/ 584 w 681"/>
                <a:gd name="T57" fmla="*/ 95 h 709"/>
                <a:gd name="T58" fmla="*/ 614 w 681"/>
                <a:gd name="T59" fmla="*/ 132 h 709"/>
                <a:gd name="T60" fmla="*/ 638 w 681"/>
                <a:gd name="T61" fmla="*/ 174 h 709"/>
                <a:gd name="T62" fmla="*/ 658 w 681"/>
                <a:gd name="T63" fmla="*/ 222 h 709"/>
                <a:gd name="T64" fmla="*/ 671 w 681"/>
                <a:gd name="T65" fmla="*/ 276 h 709"/>
                <a:gd name="T66" fmla="*/ 679 w 681"/>
                <a:gd name="T67" fmla="*/ 335 h 709"/>
                <a:gd name="T68" fmla="*/ 157 w 681"/>
                <a:gd name="T69" fmla="*/ 395 h 709"/>
                <a:gd name="T70" fmla="*/ 165 w 681"/>
                <a:gd name="T71" fmla="*/ 431 h 709"/>
                <a:gd name="T72" fmla="*/ 188 w 681"/>
                <a:gd name="T73" fmla="*/ 477 h 709"/>
                <a:gd name="T74" fmla="*/ 222 w 681"/>
                <a:gd name="T75" fmla="*/ 515 h 709"/>
                <a:gd name="T76" fmla="*/ 266 w 681"/>
                <a:gd name="T77" fmla="*/ 541 h 709"/>
                <a:gd name="T78" fmla="*/ 317 w 681"/>
                <a:gd name="T79" fmla="*/ 556 h 709"/>
                <a:gd name="T80" fmla="*/ 354 w 681"/>
                <a:gd name="T81" fmla="*/ 559 h 709"/>
                <a:gd name="T82" fmla="*/ 399 w 681"/>
                <a:gd name="T83" fmla="*/ 556 h 709"/>
                <a:gd name="T84" fmla="*/ 438 w 681"/>
                <a:gd name="T85" fmla="*/ 546 h 709"/>
                <a:gd name="T86" fmla="*/ 482 w 681"/>
                <a:gd name="T87" fmla="*/ 524 h 709"/>
                <a:gd name="T88" fmla="*/ 533 w 681"/>
                <a:gd name="T89" fmla="*/ 481 h 709"/>
                <a:gd name="T90" fmla="*/ 623 w 681"/>
                <a:gd name="T91" fmla="*/ 602 h 709"/>
                <a:gd name="T92" fmla="*/ 583 w 681"/>
                <a:gd name="T93" fmla="*/ 637 h 709"/>
                <a:gd name="T94" fmla="*/ 535 w 681"/>
                <a:gd name="T95" fmla="*/ 667 h 709"/>
                <a:gd name="T96" fmla="*/ 481 w 681"/>
                <a:gd name="T97" fmla="*/ 690 h 709"/>
                <a:gd name="T98" fmla="*/ 420 w 681"/>
                <a:gd name="T99" fmla="*/ 704 h 709"/>
                <a:gd name="T100" fmla="*/ 354 w 681"/>
                <a:gd name="T101" fmla="*/ 709 h 709"/>
                <a:gd name="T102" fmla="*/ 317 w 681"/>
                <a:gd name="T103" fmla="*/ 707 h 709"/>
                <a:gd name="T104" fmla="*/ 264 w 681"/>
                <a:gd name="T105" fmla="*/ 698 h 709"/>
                <a:gd name="T106" fmla="*/ 213 w 681"/>
                <a:gd name="T107" fmla="*/ 682 h 709"/>
                <a:gd name="T108" fmla="*/ 167 w 681"/>
                <a:gd name="T109" fmla="*/ 659 h 709"/>
                <a:gd name="T110" fmla="*/ 126 w 681"/>
                <a:gd name="T111" fmla="*/ 629 h 709"/>
                <a:gd name="T112" fmla="*/ 89 w 681"/>
                <a:gd name="T113" fmla="*/ 595 h 709"/>
                <a:gd name="T114" fmla="*/ 58 w 681"/>
                <a:gd name="T115" fmla="*/ 555 h 709"/>
                <a:gd name="T116" fmla="*/ 33 w 681"/>
                <a:gd name="T117" fmla="*/ 510 h 709"/>
                <a:gd name="T118" fmla="*/ 15 w 681"/>
                <a:gd name="T119" fmla="*/ 462 h 709"/>
                <a:gd name="T120" fmla="*/ 3 w 681"/>
                <a:gd name="T121" fmla="*/ 409 h 709"/>
                <a:gd name="T122" fmla="*/ 0 w 681"/>
                <a:gd name="T123" fmla="*/ 35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81" h="709">
                  <a:moveTo>
                    <a:pt x="160" y="279"/>
                  </a:moveTo>
                  <a:lnTo>
                    <a:pt x="513" y="279"/>
                  </a:lnTo>
                  <a:lnTo>
                    <a:pt x="513" y="279"/>
                  </a:lnTo>
                  <a:lnTo>
                    <a:pt x="510" y="262"/>
                  </a:lnTo>
                  <a:lnTo>
                    <a:pt x="505" y="246"/>
                  </a:lnTo>
                  <a:lnTo>
                    <a:pt x="500" y="232"/>
                  </a:lnTo>
                  <a:lnTo>
                    <a:pt x="491" y="218"/>
                  </a:lnTo>
                  <a:lnTo>
                    <a:pt x="483" y="205"/>
                  </a:lnTo>
                  <a:lnTo>
                    <a:pt x="475" y="194"/>
                  </a:lnTo>
                  <a:lnTo>
                    <a:pt x="465" y="183"/>
                  </a:lnTo>
                  <a:lnTo>
                    <a:pt x="455" y="174"/>
                  </a:lnTo>
                  <a:lnTo>
                    <a:pt x="443" y="165"/>
                  </a:lnTo>
                  <a:lnTo>
                    <a:pt x="431" y="158"/>
                  </a:lnTo>
                  <a:lnTo>
                    <a:pt x="417" y="152"/>
                  </a:lnTo>
                  <a:lnTo>
                    <a:pt x="403" y="148"/>
                  </a:lnTo>
                  <a:lnTo>
                    <a:pt x="388" y="143"/>
                  </a:lnTo>
                  <a:lnTo>
                    <a:pt x="373" y="141"/>
                  </a:lnTo>
                  <a:lnTo>
                    <a:pt x="357" y="139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25" y="140"/>
                  </a:lnTo>
                  <a:lnTo>
                    <a:pt x="310" y="141"/>
                  </a:lnTo>
                  <a:lnTo>
                    <a:pt x="296" y="144"/>
                  </a:lnTo>
                  <a:lnTo>
                    <a:pt x="282" y="148"/>
                  </a:lnTo>
                  <a:lnTo>
                    <a:pt x="268" y="154"/>
                  </a:lnTo>
                  <a:lnTo>
                    <a:pt x="254" y="160"/>
                  </a:lnTo>
                  <a:lnTo>
                    <a:pt x="242" y="167"/>
                  </a:lnTo>
                  <a:lnTo>
                    <a:pt x="229" y="177"/>
                  </a:lnTo>
                  <a:lnTo>
                    <a:pt x="218" y="186"/>
                  </a:lnTo>
                  <a:lnTo>
                    <a:pt x="207" y="196"/>
                  </a:lnTo>
                  <a:lnTo>
                    <a:pt x="197" y="207"/>
                  </a:lnTo>
                  <a:lnTo>
                    <a:pt x="188" y="220"/>
                  </a:lnTo>
                  <a:lnTo>
                    <a:pt x="180" y="234"/>
                  </a:lnTo>
                  <a:lnTo>
                    <a:pt x="172" y="248"/>
                  </a:lnTo>
                  <a:lnTo>
                    <a:pt x="166" y="264"/>
                  </a:lnTo>
                  <a:lnTo>
                    <a:pt x="160" y="279"/>
                  </a:lnTo>
                  <a:close/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1" y="317"/>
                  </a:lnTo>
                  <a:lnTo>
                    <a:pt x="3" y="299"/>
                  </a:lnTo>
                  <a:lnTo>
                    <a:pt x="7" y="282"/>
                  </a:lnTo>
                  <a:lnTo>
                    <a:pt x="10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6" y="214"/>
                  </a:lnTo>
                  <a:lnTo>
                    <a:pt x="33" y="198"/>
                  </a:lnTo>
                  <a:lnTo>
                    <a:pt x="41" y="183"/>
                  </a:lnTo>
                  <a:lnTo>
                    <a:pt x="49" y="169"/>
                  </a:lnTo>
                  <a:lnTo>
                    <a:pt x="58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89" y="115"/>
                  </a:lnTo>
                  <a:lnTo>
                    <a:pt x="101" y="102"/>
                  </a:lnTo>
                  <a:lnTo>
                    <a:pt x="112" y="91"/>
                  </a:lnTo>
                  <a:lnTo>
                    <a:pt x="125" y="79"/>
                  </a:lnTo>
                  <a:lnTo>
                    <a:pt x="139" y="69"/>
                  </a:lnTo>
                  <a:lnTo>
                    <a:pt x="152" y="60"/>
                  </a:lnTo>
                  <a:lnTo>
                    <a:pt x="166" y="50"/>
                  </a:lnTo>
                  <a:lnTo>
                    <a:pt x="181" y="41"/>
                  </a:lnTo>
                  <a:lnTo>
                    <a:pt x="196" y="34"/>
                  </a:lnTo>
                  <a:lnTo>
                    <a:pt x="212" y="28"/>
                  </a:lnTo>
                  <a:lnTo>
                    <a:pt x="228" y="21"/>
                  </a:lnTo>
                  <a:lnTo>
                    <a:pt x="245" y="15"/>
                  </a:lnTo>
                  <a:lnTo>
                    <a:pt x="261" y="10"/>
                  </a:lnTo>
                  <a:lnTo>
                    <a:pt x="278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69" y="0"/>
                  </a:lnTo>
                  <a:lnTo>
                    <a:pt x="387" y="1"/>
                  </a:lnTo>
                  <a:lnTo>
                    <a:pt x="403" y="3"/>
                  </a:lnTo>
                  <a:lnTo>
                    <a:pt x="420" y="6"/>
                  </a:lnTo>
                  <a:lnTo>
                    <a:pt x="437" y="9"/>
                  </a:lnTo>
                  <a:lnTo>
                    <a:pt x="453" y="14"/>
                  </a:lnTo>
                  <a:lnTo>
                    <a:pt x="467" y="18"/>
                  </a:lnTo>
                  <a:lnTo>
                    <a:pt x="482" y="24"/>
                  </a:lnTo>
                  <a:lnTo>
                    <a:pt x="496" y="31"/>
                  </a:lnTo>
                  <a:lnTo>
                    <a:pt x="511" y="38"/>
                  </a:lnTo>
                  <a:lnTo>
                    <a:pt x="524" y="46"/>
                  </a:lnTo>
                  <a:lnTo>
                    <a:pt x="537" y="54"/>
                  </a:lnTo>
                  <a:lnTo>
                    <a:pt x="550" y="63"/>
                  </a:lnTo>
                  <a:lnTo>
                    <a:pt x="561" y="73"/>
                  </a:lnTo>
                  <a:lnTo>
                    <a:pt x="573" y="84"/>
                  </a:lnTo>
                  <a:lnTo>
                    <a:pt x="584" y="95"/>
                  </a:lnTo>
                  <a:lnTo>
                    <a:pt x="595" y="107"/>
                  </a:lnTo>
                  <a:lnTo>
                    <a:pt x="604" y="119"/>
                  </a:lnTo>
                  <a:lnTo>
                    <a:pt x="614" y="132"/>
                  </a:lnTo>
                  <a:lnTo>
                    <a:pt x="622" y="146"/>
                  </a:lnTo>
                  <a:lnTo>
                    <a:pt x="630" y="160"/>
                  </a:lnTo>
                  <a:lnTo>
                    <a:pt x="638" y="174"/>
                  </a:lnTo>
                  <a:lnTo>
                    <a:pt x="645" y="190"/>
                  </a:lnTo>
                  <a:lnTo>
                    <a:pt x="652" y="206"/>
                  </a:lnTo>
                  <a:lnTo>
                    <a:pt x="658" y="222"/>
                  </a:lnTo>
                  <a:lnTo>
                    <a:pt x="662" y="240"/>
                  </a:lnTo>
                  <a:lnTo>
                    <a:pt x="667" y="258"/>
                  </a:lnTo>
                  <a:lnTo>
                    <a:pt x="671" y="276"/>
                  </a:lnTo>
                  <a:lnTo>
                    <a:pt x="675" y="295"/>
                  </a:lnTo>
                  <a:lnTo>
                    <a:pt x="677" y="314"/>
                  </a:lnTo>
                  <a:lnTo>
                    <a:pt x="679" y="335"/>
                  </a:lnTo>
                  <a:lnTo>
                    <a:pt x="681" y="354"/>
                  </a:lnTo>
                  <a:lnTo>
                    <a:pt x="681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60" y="414"/>
                  </a:lnTo>
                  <a:lnTo>
                    <a:pt x="165" y="431"/>
                  </a:lnTo>
                  <a:lnTo>
                    <a:pt x="172" y="447"/>
                  </a:lnTo>
                  <a:lnTo>
                    <a:pt x="180" y="463"/>
                  </a:lnTo>
                  <a:lnTo>
                    <a:pt x="188" y="477"/>
                  </a:lnTo>
                  <a:lnTo>
                    <a:pt x="198" y="491"/>
                  </a:lnTo>
                  <a:lnTo>
                    <a:pt x="210" y="503"/>
                  </a:lnTo>
                  <a:lnTo>
                    <a:pt x="222" y="515"/>
                  </a:lnTo>
                  <a:lnTo>
                    <a:pt x="236" y="524"/>
                  </a:lnTo>
                  <a:lnTo>
                    <a:pt x="251" y="533"/>
                  </a:lnTo>
                  <a:lnTo>
                    <a:pt x="266" y="541"/>
                  </a:lnTo>
                  <a:lnTo>
                    <a:pt x="282" y="548"/>
                  </a:lnTo>
                  <a:lnTo>
                    <a:pt x="299" y="552"/>
                  </a:lnTo>
                  <a:lnTo>
                    <a:pt x="317" y="556"/>
                  </a:lnTo>
                  <a:lnTo>
                    <a:pt x="336" y="558"/>
                  </a:lnTo>
                  <a:lnTo>
                    <a:pt x="354" y="559"/>
                  </a:lnTo>
                  <a:lnTo>
                    <a:pt x="354" y="559"/>
                  </a:lnTo>
                  <a:lnTo>
                    <a:pt x="370" y="559"/>
                  </a:lnTo>
                  <a:lnTo>
                    <a:pt x="384" y="558"/>
                  </a:lnTo>
                  <a:lnTo>
                    <a:pt x="399" y="556"/>
                  </a:lnTo>
                  <a:lnTo>
                    <a:pt x="412" y="552"/>
                  </a:lnTo>
                  <a:lnTo>
                    <a:pt x="425" y="549"/>
                  </a:lnTo>
                  <a:lnTo>
                    <a:pt x="438" y="546"/>
                  </a:lnTo>
                  <a:lnTo>
                    <a:pt x="450" y="540"/>
                  </a:lnTo>
                  <a:lnTo>
                    <a:pt x="462" y="535"/>
                  </a:lnTo>
                  <a:lnTo>
                    <a:pt x="482" y="524"/>
                  </a:lnTo>
                  <a:lnTo>
                    <a:pt x="502" y="510"/>
                  </a:lnTo>
                  <a:lnTo>
                    <a:pt x="519" y="496"/>
                  </a:lnTo>
                  <a:lnTo>
                    <a:pt x="533" y="481"/>
                  </a:lnTo>
                  <a:lnTo>
                    <a:pt x="635" y="589"/>
                  </a:lnTo>
                  <a:lnTo>
                    <a:pt x="635" y="589"/>
                  </a:lnTo>
                  <a:lnTo>
                    <a:pt x="623" y="602"/>
                  </a:lnTo>
                  <a:lnTo>
                    <a:pt x="611" y="614"/>
                  </a:lnTo>
                  <a:lnTo>
                    <a:pt x="597" y="626"/>
                  </a:lnTo>
                  <a:lnTo>
                    <a:pt x="583" y="637"/>
                  </a:lnTo>
                  <a:lnTo>
                    <a:pt x="568" y="647"/>
                  </a:lnTo>
                  <a:lnTo>
                    <a:pt x="552" y="658"/>
                  </a:lnTo>
                  <a:lnTo>
                    <a:pt x="535" y="667"/>
                  </a:lnTo>
                  <a:lnTo>
                    <a:pt x="518" y="675"/>
                  </a:lnTo>
                  <a:lnTo>
                    <a:pt x="500" y="683"/>
                  </a:lnTo>
                  <a:lnTo>
                    <a:pt x="481" y="690"/>
                  </a:lnTo>
                  <a:lnTo>
                    <a:pt x="461" y="696"/>
                  </a:lnTo>
                  <a:lnTo>
                    <a:pt x="441" y="700"/>
                  </a:lnTo>
                  <a:lnTo>
                    <a:pt x="420" y="704"/>
                  </a:lnTo>
                  <a:lnTo>
                    <a:pt x="399" y="707"/>
                  </a:lnTo>
                  <a:lnTo>
                    <a:pt x="377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7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6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2" y="667"/>
                  </a:lnTo>
                  <a:lnTo>
                    <a:pt x="167" y="659"/>
                  </a:lnTo>
                  <a:lnTo>
                    <a:pt x="152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3" y="619"/>
                  </a:lnTo>
                  <a:lnTo>
                    <a:pt x="101" y="607"/>
                  </a:lnTo>
                  <a:lnTo>
                    <a:pt x="89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8" y="555"/>
                  </a:lnTo>
                  <a:lnTo>
                    <a:pt x="49" y="541"/>
                  </a:lnTo>
                  <a:lnTo>
                    <a:pt x="41" y="526"/>
                  </a:lnTo>
                  <a:lnTo>
                    <a:pt x="33" y="510"/>
                  </a:lnTo>
                  <a:lnTo>
                    <a:pt x="26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0" y="445"/>
                  </a:lnTo>
                  <a:lnTo>
                    <a:pt x="7" y="427"/>
                  </a:lnTo>
                  <a:lnTo>
                    <a:pt x="3" y="409"/>
                  </a:lnTo>
                  <a:lnTo>
                    <a:pt x="1" y="392"/>
                  </a:lnTo>
                  <a:lnTo>
                    <a:pt x="0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458" y="3470"/>
              <a:ext cx="118" cy="47"/>
            </a:xfrm>
            <a:custGeom>
              <a:avLst/>
              <a:gdLst>
                <a:gd name="T0" fmla="*/ 0 w 353"/>
                <a:gd name="T1" fmla="*/ 140 h 140"/>
                <a:gd name="T2" fmla="*/ 353 w 353"/>
                <a:gd name="T3" fmla="*/ 140 h 140"/>
                <a:gd name="T4" fmla="*/ 353 w 353"/>
                <a:gd name="T5" fmla="*/ 140 h 140"/>
                <a:gd name="T6" fmla="*/ 350 w 353"/>
                <a:gd name="T7" fmla="*/ 123 h 140"/>
                <a:gd name="T8" fmla="*/ 345 w 353"/>
                <a:gd name="T9" fmla="*/ 107 h 140"/>
                <a:gd name="T10" fmla="*/ 340 w 353"/>
                <a:gd name="T11" fmla="*/ 93 h 140"/>
                <a:gd name="T12" fmla="*/ 331 w 353"/>
                <a:gd name="T13" fmla="*/ 79 h 140"/>
                <a:gd name="T14" fmla="*/ 323 w 353"/>
                <a:gd name="T15" fmla="*/ 66 h 140"/>
                <a:gd name="T16" fmla="*/ 315 w 353"/>
                <a:gd name="T17" fmla="*/ 55 h 140"/>
                <a:gd name="T18" fmla="*/ 305 w 353"/>
                <a:gd name="T19" fmla="*/ 44 h 140"/>
                <a:gd name="T20" fmla="*/ 295 w 353"/>
                <a:gd name="T21" fmla="*/ 35 h 140"/>
                <a:gd name="T22" fmla="*/ 283 w 353"/>
                <a:gd name="T23" fmla="*/ 26 h 140"/>
                <a:gd name="T24" fmla="*/ 271 w 353"/>
                <a:gd name="T25" fmla="*/ 19 h 140"/>
                <a:gd name="T26" fmla="*/ 257 w 353"/>
                <a:gd name="T27" fmla="*/ 13 h 140"/>
                <a:gd name="T28" fmla="*/ 243 w 353"/>
                <a:gd name="T29" fmla="*/ 9 h 140"/>
                <a:gd name="T30" fmla="*/ 228 w 353"/>
                <a:gd name="T31" fmla="*/ 4 h 140"/>
                <a:gd name="T32" fmla="*/ 213 w 353"/>
                <a:gd name="T33" fmla="*/ 2 h 140"/>
                <a:gd name="T34" fmla="*/ 197 w 353"/>
                <a:gd name="T35" fmla="*/ 0 h 140"/>
                <a:gd name="T36" fmla="*/ 180 w 353"/>
                <a:gd name="T37" fmla="*/ 0 h 140"/>
                <a:gd name="T38" fmla="*/ 180 w 353"/>
                <a:gd name="T39" fmla="*/ 0 h 140"/>
                <a:gd name="T40" fmla="*/ 165 w 353"/>
                <a:gd name="T41" fmla="*/ 1 h 140"/>
                <a:gd name="T42" fmla="*/ 150 w 353"/>
                <a:gd name="T43" fmla="*/ 2 h 140"/>
                <a:gd name="T44" fmla="*/ 136 w 353"/>
                <a:gd name="T45" fmla="*/ 5 h 140"/>
                <a:gd name="T46" fmla="*/ 122 w 353"/>
                <a:gd name="T47" fmla="*/ 9 h 140"/>
                <a:gd name="T48" fmla="*/ 108 w 353"/>
                <a:gd name="T49" fmla="*/ 15 h 140"/>
                <a:gd name="T50" fmla="*/ 94 w 353"/>
                <a:gd name="T51" fmla="*/ 21 h 140"/>
                <a:gd name="T52" fmla="*/ 82 w 353"/>
                <a:gd name="T53" fmla="*/ 28 h 140"/>
                <a:gd name="T54" fmla="*/ 69 w 353"/>
                <a:gd name="T55" fmla="*/ 38 h 140"/>
                <a:gd name="T56" fmla="*/ 58 w 353"/>
                <a:gd name="T57" fmla="*/ 47 h 140"/>
                <a:gd name="T58" fmla="*/ 47 w 353"/>
                <a:gd name="T59" fmla="*/ 57 h 140"/>
                <a:gd name="T60" fmla="*/ 37 w 353"/>
                <a:gd name="T61" fmla="*/ 68 h 140"/>
                <a:gd name="T62" fmla="*/ 28 w 353"/>
                <a:gd name="T63" fmla="*/ 81 h 140"/>
                <a:gd name="T64" fmla="*/ 20 w 353"/>
                <a:gd name="T65" fmla="*/ 95 h 140"/>
                <a:gd name="T66" fmla="*/ 12 w 353"/>
                <a:gd name="T67" fmla="*/ 109 h 140"/>
                <a:gd name="T68" fmla="*/ 6 w 353"/>
                <a:gd name="T69" fmla="*/ 125 h 140"/>
                <a:gd name="T70" fmla="*/ 0 w 353"/>
                <a:gd name="T71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140">
                  <a:moveTo>
                    <a:pt x="0" y="140"/>
                  </a:moveTo>
                  <a:lnTo>
                    <a:pt x="353" y="140"/>
                  </a:lnTo>
                  <a:lnTo>
                    <a:pt x="353" y="140"/>
                  </a:lnTo>
                  <a:lnTo>
                    <a:pt x="350" y="123"/>
                  </a:lnTo>
                  <a:lnTo>
                    <a:pt x="345" y="107"/>
                  </a:lnTo>
                  <a:lnTo>
                    <a:pt x="340" y="93"/>
                  </a:lnTo>
                  <a:lnTo>
                    <a:pt x="331" y="79"/>
                  </a:lnTo>
                  <a:lnTo>
                    <a:pt x="323" y="66"/>
                  </a:lnTo>
                  <a:lnTo>
                    <a:pt x="315" y="55"/>
                  </a:lnTo>
                  <a:lnTo>
                    <a:pt x="305" y="44"/>
                  </a:lnTo>
                  <a:lnTo>
                    <a:pt x="295" y="35"/>
                  </a:lnTo>
                  <a:lnTo>
                    <a:pt x="283" y="26"/>
                  </a:lnTo>
                  <a:lnTo>
                    <a:pt x="271" y="19"/>
                  </a:lnTo>
                  <a:lnTo>
                    <a:pt x="257" y="13"/>
                  </a:lnTo>
                  <a:lnTo>
                    <a:pt x="243" y="9"/>
                  </a:lnTo>
                  <a:lnTo>
                    <a:pt x="228" y="4"/>
                  </a:lnTo>
                  <a:lnTo>
                    <a:pt x="213" y="2"/>
                  </a:lnTo>
                  <a:lnTo>
                    <a:pt x="197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65" y="1"/>
                  </a:lnTo>
                  <a:lnTo>
                    <a:pt x="150" y="2"/>
                  </a:lnTo>
                  <a:lnTo>
                    <a:pt x="136" y="5"/>
                  </a:lnTo>
                  <a:lnTo>
                    <a:pt x="122" y="9"/>
                  </a:lnTo>
                  <a:lnTo>
                    <a:pt x="108" y="15"/>
                  </a:lnTo>
                  <a:lnTo>
                    <a:pt x="94" y="21"/>
                  </a:lnTo>
                  <a:lnTo>
                    <a:pt x="82" y="28"/>
                  </a:lnTo>
                  <a:lnTo>
                    <a:pt x="69" y="38"/>
                  </a:lnTo>
                  <a:lnTo>
                    <a:pt x="58" y="47"/>
                  </a:lnTo>
                  <a:lnTo>
                    <a:pt x="47" y="57"/>
                  </a:lnTo>
                  <a:lnTo>
                    <a:pt x="37" y="68"/>
                  </a:lnTo>
                  <a:lnTo>
                    <a:pt x="28" y="81"/>
                  </a:lnTo>
                  <a:lnTo>
                    <a:pt x="20" y="95"/>
                  </a:lnTo>
                  <a:lnTo>
                    <a:pt x="12" y="109"/>
                  </a:lnTo>
                  <a:lnTo>
                    <a:pt x="6" y="125"/>
                  </a:lnTo>
                  <a:lnTo>
                    <a:pt x="0" y="1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1405" y="3424"/>
              <a:ext cx="227" cy="236"/>
            </a:xfrm>
            <a:custGeom>
              <a:avLst/>
              <a:gdLst>
                <a:gd name="T0" fmla="*/ 0 w 681"/>
                <a:gd name="T1" fmla="*/ 336 h 709"/>
                <a:gd name="T2" fmla="*/ 7 w 681"/>
                <a:gd name="T3" fmla="*/ 282 h 709"/>
                <a:gd name="T4" fmla="*/ 21 w 681"/>
                <a:gd name="T5" fmla="*/ 230 h 709"/>
                <a:gd name="T6" fmla="*/ 41 w 681"/>
                <a:gd name="T7" fmla="*/ 183 h 709"/>
                <a:gd name="T8" fmla="*/ 68 w 681"/>
                <a:gd name="T9" fmla="*/ 140 h 709"/>
                <a:gd name="T10" fmla="*/ 101 w 681"/>
                <a:gd name="T11" fmla="*/ 102 h 709"/>
                <a:gd name="T12" fmla="*/ 139 w 681"/>
                <a:gd name="T13" fmla="*/ 69 h 709"/>
                <a:gd name="T14" fmla="*/ 181 w 681"/>
                <a:gd name="T15" fmla="*/ 41 h 709"/>
                <a:gd name="T16" fmla="*/ 228 w 681"/>
                <a:gd name="T17" fmla="*/ 21 h 709"/>
                <a:gd name="T18" fmla="*/ 278 w 681"/>
                <a:gd name="T19" fmla="*/ 7 h 709"/>
                <a:gd name="T20" fmla="*/ 333 w 681"/>
                <a:gd name="T21" fmla="*/ 0 h 709"/>
                <a:gd name="T22" fmla="*/ 369 w 681"/>
                <a:gd name="T23" fmla="*/ 0 h 709"/>
                <a:gd name="T24" fmla="*/ 420 w 681"/>
                <a:gd name="T25" fmla="*/ 6 h 709"/>
                <a:gd name="T26" fmla="*/ 467 w 681"/>
                <a:gd name="T27" fmla="*/ 18 h 709"/>
                <a:gd name="T28" fmla="*/ 511 w 681"/>
                <a:gd name="T29" fmla="*/ 38 h 709"/>
                <a:gd name="T30" fmla="*/ 550 w 681"/>
                <a:gd name="T31" fmla="*/ 63 h 709"/>
                <a:gd name="T32" fmla="*/ 584 w 681"/>
                <a:gd name="T33" fmla="*/ 95 h 709"/>
                <a:gd name="T34" fmla="*/ 614 w 681"/>
                <a:gd name="T35" fmla="*/ 132 h 709"/>
                <a:gd name="T36" fmla="*/ 638 w 681"/>
                <a:gd name="T37" fmla="*/ 174 h 709"/>
                <a:gd name="T38" fmla="*/ 658 w 681"/>
                <a:gd name="T39" fmla="*/ 222 h 709"/>
                <a:gd name="T40" fmla="*/ 671 w 681"/>
                <a:gd name="T41" fmla="*/ 276 h 709"/>
                <a:gd name="T42" fmla="*/ 679 w 681"/>
                <a:gd name="T43" fmla="*/ 335 h 709"/>
                <a:gd name="T44" fmla="*/ 157 w 681"/>
                <a:gd name="T45" fmla="*/ 395 h 709"/>
                <a:gd name="T46" fmla="*/ 165 w 681"/>
                <a:gd name="T47" fmla="*/ 431 h 709"/>
                <a:gd name="T48" fmla="*/ 188 w 681"/>
                <a:gd name="T49" fmla="*/ 477 h 709"/>
                <a:gd name="T50" fmla="*/ 222 w 681"/>
                <a:gd name="T51" fmla="*/ 515 h 709"/>
                <a:gd name="T52" fmla="*/ 266 w 681"/>
                <a:gd name="T53" fmla="*/ 541 h 709"/>
                <a:gd name="T54" fmla="*/ 317 w 681"/>
                <a:gd name="T55" fmla="*/ 556 h 709"/>
                <a:gd name="T56" fmla="*/ 354 w 681"/>
                <a:gd name="T57" fmla="*/ 559 h 709"/>
                <a:gd name="T58" fmla="*/ 399 w 681"/>
                <a:gd name="T59" fmla="*/ 556 h 709"/>
                <a:gd name="T60" fmla="*/ 438 w 681"/>
                <a:gd name="T61" fmla="*/ 546 h 709"/>
                <a:gd name="T62" fmla="*/ 482 w 681"/>
                <a:gd name="T63" fmla="*/ 524 h 709"/>
                <a:gd name="T64" fmla="*/ 533 w 681"/>
                <a:gd name="T65" fmla="*/ 481 h 709"/>
                <a:gd name="T66" fmla="*/ 623 w 681"/>
                <a:gd name="T67" fmla="*/ 602 h 709"/>
                <a:gd name="T68" fmla="*/ 583 w 681"/>
                <a:gd name="T69" fmla="*/ 637 h 709"/>
                <a:gd name="T70" fmla="*/ 535 w 681"/>
                <a:gd name="T71" fmla="*/ 667 h 709"/>
                <a:gd name="T72" fmla="*/ 481 w 681"/>
                <a:gd name="T73" fmla="*/ 690 h 709"/>
                <a:gd name="T74" fmla="*/ 420 w 681"/>
                <a:gd name="T75" fmla="*/ 704 h 709"/>
                <a:gd name="T76" fmla="*/ 354 w 681"/>
                <a:gd name="T77" fmla="*/ 709 h 709"/>
                <a:gd name="T78" fmla="*/ 317 w 681"/>
                <a:gd name="T79" fmla="*/ 707 h 709"/>
                <a:gd name="T80" fmla="*/ 264 w 681"/>
                <a:gd name="T81" fmla="*/ 698 h 709"/>
                <a:gd name="T82" fmla="*/ 213 w 681"/>
                <a:gd name="T83" fmla="*/ 682 h 709"/>
                <a:gd name="T84" fmla="*/ 167 w 681"/>
                <a:gd name="T85" fmla="*/ 659 h 709"/>
                <a:gd name="T86" fmla="*/ 126 w 681"/>
                <a:gd name="T87" fmla="*/ 629 h 709"/>
                <a:gd name="T88" fmla="*/ 89 w 681"/>
                <a:gd name="T89" fmla="*/ 595 h 709"/>
                <a:gd name="T90" fmla="*/ 58 w 681"/>
                <a:gd name="T91" fmla="*/ 555 h 709"/>
                <a:gd name="T92" fmla="*/ 33 w 681"/>
                <a:gd name="T93" fmla="*/ 510 h 709"/>
                <a:gd name="T94" fmla="*/ 15 w 681"/>
                <a:gd name="T95" fmla="*/ 462 h 709"/>
                <a:gd name="T96" fmla="*/ 3 w 681"/>
                <a:gd name="T97" fmla="*/ 409 h 709"/>
                <a:gd name="T98" fmla="*/ 0 w 681"/>
                <a:gd name="T99" fmla="*/ 35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1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1" y="317"/>
                  </a:lnTo>
                  <a:lnTo>
                    <a:pt x="3" y="299"/>
                  </a:lnTo>
                  <a:lnTo>
                    <a:pt x="7" y="282"/>
                  </a:lnTo>
                  <a:lnTo>
                    <a:pt x="10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6" y="214"/>
                  </a:lnTo>
                  <a:lnTo>
                    <a:pt x="33" y="198"/>
                  </a:lnTo>
                  <a:lnTo>
                    <a:pt x="41" y="183"/>
                  </a:lnTo>
                  <a:lnTo>
                    <a:pt x="49" y="169"/>
                  </a:lnTo>
                  <a:lnTo>
                    <a:pt x="58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89" y="115"/>
                  </a:lnTo>
                  <a:lnTo>
                    <a:pt x="101" y="102"/>
                  </a:lnTo>
                  <a:lnTo>
                    <a:pt x="112" y="91"/>
                  </a:lnTo>
                  <a:lnTo>
                    <a:pt x="125" y="79"/>
                  </a:lnTo>
                  <a:lnTo>
                    <a:pt x="139" y="69"/>
                  </a:lnTo>
                  <a:lnTo>
                    <a:pt x="152" y="60"/>
                  </a:lnTo>
                  <a:lnTo>
                    <a:pt x="166" y="50"/>
                  </a:lnTo>
                  <a:lnTo>
                    <a:pt x="181" y="41"/>
                  </a:lnTo>
                  <a:lnTo>
                    <a:pt x="196" y="34"/>
                  </a:lnTo>
                  <a:lnTo>
                    <a:pt x="212" y="28"/>
                  </a:lnTo>
                  <a:lnTo>
                    <a:pt x="228" y="21"/>
                  </a:lnTo>
                  <a:lnTo>
                    <a:pt x="245" y="15"/>
                  </a:lnTo>
                  <a:lnTo>
                    <a:pt x="261" y="10"/>
                  </a:lnTo>
                  <a:lnTo>
                    <a:pt x="278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69" y="0"/>
                  </a:lnTo>
                  <a:lnTo>
                    <a:pt x="387" y="1"/>
                  </a:lnTo>
                  <a:lnTo>
                    <a:pt x="403" y="3"/>
                  </a:lnTo>
                  <a:lnTo>
                    <a:pt x="420" y="6"/>
                  </a:lnTo>
                  <a:lnTo>
                    <a:pt x="437" y="9"/>
                  </a:lnTo>
                  <a:lnTo>
                    <a:pt x="453" y="14"/>
                  </a:lnTo>
                  <a:lnTo>
                    <a:pt x="467" y="18"/>
                  </a:lnTo>
                  <a:lnTo>
                    <a:pt x="482" y="24"/>
                  </a:lnTo>
                  <a:lnTo>
                    <a:pt x="496" y="31"/>
                  </a:lnTo>
                  <a:lnTo>
                    <a:pt x="511" y="38"/>
                  </a:lnTo>
                  <a:lnTo>
                    <a:pt x="524" y="46"/>
                  </a:lnTo>
                  <a:lnTo>
                    <a:pt x="537" y="54"/>
                  </a:lnTo>
                  <a:lnTo>
                    <a:pt x="550" y="63"/>
                  </a:lnTo>
                  <a:lnTo>
                    <a:pt x="561" y="73"/>
                  </a:lnTo>
                  <a:lnTo>
                    <a:pt x="573" y="84"/>
                  </a:lnTo>
                  <a:lnTo>
                    <a:pt x="584" y="95"/>
                  </a:lnTo>
                  <a:lnTo>
                    <a:pt x="595" y="107"/>
                  </a:lnTo>
                  <a:lnTo>
                    <a:pt x="604" y="119"/>
                  </a:lnTo>
                  <a:lnTo>
                    <a:pt x="614" y="132"/>
                  </a:lnTo>
                  <a:lnTo>
                    <a:pt x="622" y="146"/>
                  </a:lnTo>
                  <a:lnTo>
                    <a:pt x="630" y="160"/>
                  </a:lnTo>
                  <a:lnTo>
                    <a:pt x="638" y="174"/>
                  </a:lnTo>
                  <a:lnTo>
                    <a:pt x="645" y="190"/>
                  </a:lnTo>
                  <a:lnTo>
                    <a:pt x="652" y="206"/>
                  </a:lnTo>
                  <a:lnTo>
                    <a:pt x="658" y="222"/>
                  </a:lnTo>
                  <a:lnTo>
                    <a:pt x="662" y="240"/>
                  </a:lnTo>
                  <a:lnTo>
                    <a:pt x="667" y="258"/>
                  </a:lnTo>
                  <a:lnTo>
                    <a:pt x="671" y="276"/>
                  </a:lnTo>
                  <a:lnTo>
                    <a:pt x="675" y="295"/>
                  </a:lnTo>
                  <a:lnTo>
                    <a:pt x="677" y="314"/>
                  </a:lnTo>
                  <a:lnTo>
                    <a:pt x="679" y="335"/>
                  </a:lnTo>
                  <a:lnTo>
                    <a:pt x="681" y="354"/>
                  </a:lnTo>
                  <a:lnTo>
                    <a:pt x="681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60" y="414"/>
                  </a:lnTo>
                  <a:lnTo>
                    <a:pt x="165" y="431"/>
                  </a:lnTo>
                  <a:lnTo>
                    <a:pt x="172" y="447"/>
                  </a:lnTo>
                  <a:lnTo>
                    <a:pt x="180" y="463"/>
                  </a:lnTo>
                  <a:lnTo>
                    <a:pt x="188" y="477"/>
                  </a:lnTo>
                  <a:lnTo>
                    <a:pt x="198" y="491"/>
                  </a:lnTo>
                  <a:lnTo>
                    <a:pt x="210" y="503"/>
                  </a:lnTo>
                  <a:lnTo>
                    <a:pt x="222" y="515"/>
                  </a:lnTo>
                  <a:lnTo>
                    <a:pt x="236" y="524"/>
                  </a:lnTo>
                  <a:lnTo>
                    <a:pt x="251" y="533"/>
                  </a:lnTo>
                  <a:lnTo>
                    <a:pt x="266" y="541"/>
                  </a:lnTo>
                  <a:lnTo>
                    <a:pt x="282" y="548"/>
                  </a:lnTo>
                  <a:lnTo>
                    <a:pt x="299" y="552"/>
                  </a:lnTo>
                  <a:lnTo>
                    <a:pt x="317" y="556"/>
                  </a:lnTo>
                  <a:lnTo>
                    <a:pt x="336" y="558"/>
                  </a:lnTo>
                  <a:lnTo>
                    <a:pt x="354" y="559"/>
                  </a:lnTo>
                  <a:lnTo>
                    <a:pt x="354" y="559"/>
                  </a:lnTo>
                  <a:lnTo>
                    <a:pt x="370" y="559"/>
                  </a:lnTo>
                  <a:lnTo>
                    <a:pt x="384" y="558"/>
                  </a:lnTo>
                  <a:lnTo>
                    <a:pt x="399" y="556"/>
                  </a:lnTo>
                  <a:lnTo>
                    <a:pt x="412" y="552"/>
                  </a:lnTo>
                  <a:lnTo>
                    <a:pt x="425" y="549"/>
                  </a:lnTo>
                  <a:lnTo>
                    <a:pt x="438" y="546"/>
                  </a:lnTo>
                  <a:lnTo>
                    <a:pt x="450" y="540"/>
                  </a:lnTo>
                  <a:lnTo>
                    <a:pt x="462" y="535"/>
                  </a:lnTo>
                  <a:lnTo>
                    <a:pt x="482" y="524"/>
                  </a:lnTo>
                  <a:lnTo>
                    <a:pt x="502" y="510"/>
                  </a:lnTo>
                  <a:lnTo>
                    <a:pt x="519" y="496"/>
                  </a:lnTo>
                  <a:lnTo>
                    <a:pt x="533" y="481"/>
                  </a:lnTo>
                  <a:lnTo>
                    <a:pt x="635" y="589"/>
                  </a:lnTo>
                  <a:lnTo>
                    <a:pt x="635" y="589"/>
                  </a:lnTo>
                  <a:lnTo>
                    <a:pt x="623" y="602"/>
                  </a:lnTo>
                  <a:lnTo>
                    <a:pt x="611" y="614"/>
                  </a:lnTo>
                  <a:lnTo>
                    <a:pt x="597" y="626"/>
                  </a:lnTo>
                  <a:lnTo>
                    <a:pt x="583" y="637"/>
                  </a:lnTo>
                  <a:lnTo>
                    <a:pt x="568" y="647"/>
                  </a:lnTo>
                  <a:lnTo>
                    <a:pt x="552" y="658"/>
                  </a:lnTo>
                  <a:lnTo>
                    <a:pt x="535" y="667"/>
                  </a:lnTo>
                  <a:lnTo>
                    <a:pt x="518" y="675"/>
                  </a:lnTo>
                  <a:lnTo>
                    <a:pt x="500" y="683"/>
                  </a:lnTo>
                  <a:lnTo>
                    <a:pt x="481" y="690"/>
                  </a:lnTo>
                  <a:lnTo>
                    <a:pt x="461" y="696"/>
                  </a:lnTo>
                  <a:lnTo>
                    <a:pt x="441" y="700"/>
                  </a:lnTo>
                  <a:lnTo>
                    <a:pt x="420" y="704"/>
                  </a:lnTo>
                  <a:lnTo>
                    <a:pt x="399" y="707"/>
                  </a:lnTo>
                  <a:lnTo>
                    <a:pt x="377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7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6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2" y="667"/>
                  </a:lnTo>
                  <a:lnTo>
                    <a:pt x="167" y="659"/>
                  </a:lnTo>
                  <a:lnTo>
                    <a:pt x="152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3" y="619"/>
                  </a:lnTo>
                  <a:lnTo>
                    <a:pt x="101" y="607"/>
                  </a:lnTo>
                  <a:lnTo>
                    <a:pt x="89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8" y="555"/>
                  </a:lnTo>
                  <a:lnTo>
                    <a:pt x="49" y="541"/>
                  </a:lnTo>
                  <a:lnTo>
                    <a:pt x="41" y="526"/>
                  </a:lnTo>
                  <a:lnTo>
                    <a:pt x="33" y="510"/>
                  </a:lnTo>
                  <a:lnTo>
                    <a:pt x="26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0" y="445"/>
                  </a:lnTo>
                  <a:lnTo>
                    <a:pt x="7" y="427"/>
                  </a:lnTo>
                  <a:lnTo>
                    <a:pt x="3" y="409"/>
                  </a:lnTo>
                  <a:lnTo>
                    <a:pt x="1" y="392"/>
                  </a:lnTo>
                  <a:lnTo>
                    <a:pt x="0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1659" y="3424"/>
              <a:ext cx="197" cy="235"/>
            </a:xfrm>
            <a:custGeom>
              <a:avLst/>
              <a:gdLst>
                <a:gd name="T0" fmla="*/ 431 w 591"/>
                <a:gd name="T1" fmla="*/ 707 h 707"/>
                <a:gd name="T2" fmla="*/ 431 w 591"/>
                <a:gd name="T3" fmla="*/ 296 h 707"/>
                <a:gd name="T4" fmla="*/ 427 w 591"/>
                <a:gd name="T5" fmla="*/ 268 h 707"/>
                <a:gd name="T6" fmla="*/ 419 w 591"/>
                <a:gd name="T7" fmla="*/ 243 h 707"/>
                <a:gd name="T8" fmla="*/ 407 w 591"/>
                <a:gd name="T9" fmla="*/ 220 h 707"/>
                <a:gd name="T10" fmla="*/ 391 w 591"/>
                <a:gd name="T11" fmla="*/ 199 h 707"/>
                <a:gd name="T12" fmla="*/ 371 w 591"/>
                <a:gd name="T13" fmla="*/ 183 h 707"/>
                <a:gd name="T14" fmla="*/ 348 w 591"/>
                <a:gd name="T15" fmla="*/ 171 h 707"/>
                <a:gd name="T16" fmla="*/ 322 w 591"/>
                <a:gd name="T17" fmla="*/ 163 h 707"/>
                <a:gd name="T18" fmla="*/ 295 w 591"/>
                <a:gd name="T19" fmla="*/ 160 h 707"/>
                <a:gd name="T20" fmla="*/ 282 w 591"/>
                <a:gd name="T21" fmla="*/ 160 h 707"/>
                <a:gd name="T22" fmla="*/ 255 w 591"/>
                <a:gd name="T23" fmla="*/ 166 h 707"/>
                <a:gd name="T24" fmla="*/ 230 w 591"/>
                <a:gd name="T25" fmla="*/ 177 h 707"/>
                <a:gd name="T26" fmla="*/ 210 w 591"/>
                <a:gd name="T27" fmla="*/ 191 h 707"/>
                <a:gd name="T28" fmla="*/ 191 w 591"/>
                <a:gd name="T29" fmla="*/ 210 h 707"/>
                <a:gd name="T30" fmla="*/ 176 w 591"/>
                <a:gd name="T31" fmla="*/ 230 h 707"/>
                <a:gd name="T32" fmla="*/ 166 w 591"/>
                <a:gd name="T33" fmla="*/ 256 h 707"/>
                <a:gd name="T34" fmla="*/ 160 w 591"/>
                <a:gd name="T35" fmla="*/ 282 h 707"/>
                <a:gd name="T36" fmla="*/ 160 w 591"/>
                <a:gd name="T37" fmla="*/ 707 h 707"/>
                <a:gd name="T38" fmla="*/ 0 w 591"/>
                <a:gd name="T39" fmla="*/ 296 h 707"/>
                <a:gd name="T40" fmla="*/ 0 w 591"/>
                <a:gd name="T41" fmla="*/ 280 h 707"/>
                <a:gd name="T42" fmla="*/ 3 w 591"/>
                <a:gd name="T43" fmla="*/ 250 h 707"/>
                <a:gd name="T44" fmla="*/ 9 w 591"/>
                <a:gd name="T45" fmla="*/ 221 h 707"/>
                <a:gd name="T46" fmla="*/ 17 w 591"/>
                <a:gd name="T47" fmla="*/ 194 h 707"/>
                <a:gd name="T48" fmla="*/ 29 w 591"/>
                <a:gd name="T49" fmla="*/ 167 h 707"/>
                <a:gd name="T50" fmla="*/ 42 w 591"/>
                <a:gd name="T51" fmla="*/ 142 h 707"/>
                <a:gd name="T52" fmla="*/ 67 w 591"/>
                <a:gd name="T53" fmla="*/ 108 h 707"/>
                <a:gd name="T54" fmla="*/ 108 w 591"/>
                <a:gd name="T55" fmla="*/ 68 h 707"/>
                <a:gd name="T56" fmla="*/ 142 w 591"/>
                <a:gd name="T57" fmla="*/ 42 h 707"/>
                <a:gd name="T58" fmla="*/ 167 w 591"/>
                <a:gd name="T59" fmla="*/ 29 h 707"/>
                <a:gd name="T60" fmla="*/ 193 w 591"/>
                <a:gd name="T61" fmla="*/ 17 h 707"/>
                <a:gd name="T62" fmla="*/ 221 w 591"/>
                <a:gd name="T63" fmla="*/ 9 h 707"/>
                <a:gd name="T64" fmla="*/ 250 w 591"/>
                <a:gd name="T65" fmla="*/ 3 h 707"/>
                <a:gd name="T66" fmla="*/ 279 w 591"/>
                <a:gd name="T67" fmla="*/ 0 h 707"/>
                <a:gd name="T68" fmla="*/ 295 w 591"/>
                <a:gd name="T69" fmla="*/ 0 h 707"/>
                <a:gd name="T70" fmla="*/ 325 w 591"/>
                <a:gd name="T71" fmla="*/ 1 h 707"/>
                <a:gd name="T72" fmla="*/ 355 w 591"/>
                <a:gd name="T73" fmla="*/ 6 h 707"/>
                <a:gd name="T74" fmla="*/ 382 w 591"/>
                <a:gd name="T75" fmla="*/ 13 h 707"/>
                <a:gd name="T76" fmla="*/ 410 w 591"/>
                <a:gd name="T77" fmla="*/ 23 h 707"/>
                <a:gd name="T78" fmla="*/ 436 w 591"/>
                <a:gd name="T79" fmla="*/ 36 h 707"/>
                <a:gd name="T80" fmla="*/ 460 w 591"/>
                <a:gd name="T81" fmla="*/ 50 h 707"/>
                <a:gd name="T82" fmla="*/ 504 w 591"/>
                <a:gd name="T83" fmla="*/ 86 h 707"/>
                <a:gd name="T84" fmla="*/ 541 w 591"/>
                <a:gd name="T85" fmla="*/ 131 h 707"/>
                <a:gd name="T86" fmla="*/ 555 w 591"/>
                <a:gd name="T87" fmla="*/ 155 h 707"/>
                <a:gd name="T88" fmla="*/ 567 w 591"/>
                <a:gd name="T89" fmla="*/ 180 h 707"/>
                <a:gd name="T90" fmla="*/ 577 w 591"/>
                <a:gd name="T91" fmla="*/ 207 h 707"/>
                <a:gd name="T92" fmla="*/ 584 w 591"/>
                <a:gd name="T93" fmla="*/ 236 h 707"/>
                <a:gd name="T94" fmla="*/ 589 w 591"/>
                <a:gd name="T95" fmla="*/ 265 h 707"/>
                <a:gd name="T96" fmla="*/ 591 w 591"/>
                <a:gd name="T97" fmla="*/ 29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91" h="707">
                  <a:moveTo>
                    <a:pt x="591" y="707"/>
                  </a:moveTo>
                  <a:lnTo>
                    <a:pt x="431" y="707"/>
                  </a:lnTo>
                  <a:lnTo>
                    <a:pt x="431" y="296"/>
                  </a:lnTo>
                  <a:lnTo>
                    <a:pt x="431" y="296"/>
                  </a:lnTo>
                  <a:lnTo>
                    <a:pt x="429" y="282"/>
                  </a:lnTo>
                  <a:lnTo>
                    <a:pt x="427" y="268"/>
                  </a:lnTo>
                  <a:lnTo>
                    <a:pt x="424" y="256"/>
                  </a:lnTo>
                  <a:lnTo>
                    <a:pt x="419" y="243"/>
                  </a:lnTo>
                  <a:lnTo>
                    <a:pt x="413" y="230"/>
                  </a:lnTo>
                  <a:lnTo>
                    <a:pt x="407" y="220"/>
                  </a:lnTo>
                  <a:lnTo>
                    <a:pt x="400" y="210"/>
                  </a:lnTo>
                  <a:lnTo>
                    <a:pt x="391" y="199"/>
                  </a:lnTo>
                  <a:lnTo>
                    <a:pt x="381" y="191"/>
                  </a:lnTo>
                  <a:lnTo>
                    <a:pt x="371" y="183"/>
                  </a:lnTo>
                  <a:lnTo>
                    <a:pt x="360" y="177"/>
                  </a:lnTo>
                  <a:lnTo>
                    <a:pt x="348" y="171"/>
                  </a:lnTo>
                  <a:lnTo>
                    <a:pt x="336" y="166"/>
                  </a:lnTo>
                  <a:lnTo>
                    <a:pt x="322" y="163"/>
                  </a:lnTo>
                  <a:lnTo>
                    <a:pt x="309" y="160"/>
                  </a:lnTo>
                  <a:lnTo>
                    <a:pt x="295" y="160"/>
                  </a:lnTo>
                  <a:lnTo>
                    <a:pt x="295" y="160"/>
                  </a:lnTo>
                  <a:lnTo>
                    <a:pt x="282" y="160"/>
                  </a:lnTo>
                  <a:lnTo>
                    <a:pt x="268" y="163"/>
                  </a:lnTo>
                  <a:lnTo>
                    <a:pt x="255" y="166"/>
                  </a:lnTo>
                  <a:lnTo>
                    <a:pt x="243" y="171"/>
                  </a:lnTo>
                  <a:lnTo>
                    <a:pt x="230" y="177"/>
                  </a:lnTo>
                  <a:lnTo>
                    <a:pt x="220" y="183"/>
                  </a:lnTo>
                  <a:lnTo>
                    <a:pt x="210" y="191"/>
                  </a:lnTo>
                  <a:lnTo>
                    <a:pt x="199" y="199"/>
                  </a:lnTo>
                  <a:lnTo>
                    <a:pt x="191" y="210"/>
                  </a:lnTo>
                  <a:lnTo>
                    <a:pt x="183" y="220"/>
                  </a:lnTo>
                  <a:lnTo>
                    <a:pt x="176" y="230"/>
                  </a:lnTo>
                  <a:lnTo>
                    <a:pt x="171" y="243"/>
                  </a:lnTo>
                  <a:lnTo>
                    <a:pt x="166" y="256"/>
                  </a:lnTo>
                  <a:lnTo>
                    <a:pt x="163" y="268"/>
                  </a:lnTo>
                  <a:lnTo>
                    <a:pt x="160" y="282"/>
                  </a:lnTo>
                  <a:lnTo>
                    <a:pt x="160" y="296"/>
                  </a:lnTo>
                  <a:lnTo>
                    <a:pt x="160" y="707"/>
                  </a:lnTo>
                  <a:lnTo>
                    <a:pt x="0" y="707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0" y="280"/>
                  </a:lnTo>
                  <a:lnTo>
                    <a:pt x="1" y="265"/>
                  </a:lnTo>
                  <a:lnTo>
                    <a:pt x="3" y="250"/>
                  </a:lnTo>
                  <a:lnTo>
                    <a:pt x="6" y="236"/>
                  </a:lnTo>
                  <a:lnTo>
                    <a:pt x="9" y="221"/>
                  </a:lnTo>
                  <a:lnTo>
                    <a:pt x="12" y="207"/>
                  </a:lnTo>
                  <a:lnTo>
                    <a:pt x="17" y="194"/>
                  </a:lnTo>
                  <a:lnTo>
                    <a:pt x="23" y="180"/>
                  </a:lnTo>
                  <a:lnTo>
                    <a:pt x="29" y="167"/>
                  </a:lnTo>
                  <a:lnTo>
                    <a:pt x="35" y="155"/>
                  </a:lnTo>
                  <a:lnTo>
                    <a:pt x="42" y="142"/>
                  </a:lnTo>
                  <a:lnTo>
                    <a:pt x="50" y="131"/>
                  </a:lnTo>
                  <a:lnTo>
                    <a:pt x="67" y="108"/>
                  </a:lnTo>
                  <a:lnTo>
                    <a:pt x="86" y="86"/>
                  </a:lnTo>
                  <a:lnTo>
                    <a:pt x="108" y="68"/>
                  </a:lnTo>
                  <a:lnTo>
                    <a:pt x="129" y="50"/>
                  </a:lnTo>
                  <a:lnTo>
                    <a:pt x="142" y="42"/>
                  </a:lnTo>
                  <a:lnTo>
                    <a:pt x="155" y="36"/>
                  </a:lnTo>
                  <a:lnTo>
                    <a:pt x="167" y="29"/>
                  </a:lnTo>
                  <a:lnTo>
                    <a:pt x="180" y="23"/>
                  </a:lnTo>
                  <a:lnTo>
                    <a:pt x="193" y="17"/>
                  </a:lnTo>
                  <a:lnTo>
                    <a:pt x="207" y="13"/>
                  </a:lnTo>
                  <a:lnTo>
                    <a:pt x="221" y="9"/>
                  </a:lnTo>
                  <a:lnTo>
                    <a:pt x="236" y="6"/>
                  </a:lnTo>
                  <a:lnTo>
                    <a:pt x="250" y="3"/>
                  </a:lnTo>
                  <a:lnTo>
                    <a:pt x="264" y="1"/>
                  </a:lnTo>
                  <a:lnTo>
                    <a:pt x="279" y="0"/>
                  </a:lnTo>
                  <a:lnTo>
                    <a:pt x="295" y="0"/>
                  </a:lnTo>
                  <a:lnTo>
                    <a:pt x="295" y="0"/>
                  </a:lnTo>
                  <a:lnTo>
                    <a:pt x="310" y="0"/>
                  </a:lnTo>
                  <a:lnTo>
                    <a:pt x="325" y="1"/>
                  </a:lnTo>
                  <a:lnTo>
                    <a:pt x="340" y="3"/>
                  </a:lnTo>
                  <a:lnTo>
                    <a:pt x="355" y="6"/>
                  </a:lnTo>
                  <a:lnTo>
                    <a:pt x="369" y="9"/>
                  </a:lnTo>
                  <a:lnTo>
                    <a:pt x="382" y="13"/>
                  </a:lnTo>
                  <a:lnTo>
                    <a:pt x="396" y="17"/>
                  </a:lnTo>
                  <a:lnTo>
                    <a:pt x="410" y="23"/>
                  </a:lnTo>
                  <a:lnTo>
                    <a:pt x="423" y="29"/>
                  </a:lnTo>
                  <a:lnTo>
                    <a:pt x="436" y="36"/>
                  </a:lnTo>
                  <a:lnTo>
                    <a:pt x="448" y="42"/>
                  </a:lnTo>
                  <a:lnTo>
                    <a:pt x="460" y="50"/>
                  </a:lnTo>
                  <a:lnTo>
                    <a:pt x="483" y="68"/>
                  </a:lnTo>
                  <a:lnTo>
                    <a:pt x="504" y="86"/>
                  </a:lnTo>
                  <a:lnTo>
                    <a:pt x="523" y="108"/>
                  </a:lnTo>
                  <a:lnTo>
                    <a:pt x="541" y="131"/>
                  </a:lnTo>
                  <a:lnTo>
                    <a:pt x="547" y="142"/>
                  </a:lnTo>
                  <a:lnTo>
                    <a:pt x="555" y="155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3" y="194"/>
                  </a:lnTo>
                  <a:lnTo>
                    <a:pt x="577" y="207"/>
                  </a:lnTo>
                  <a:lnTo>
                    <a:pt x="582" y="221"/>
                  </a:lnTo>
                  <a:lnTo>
                    <a:pt x="584" y="236"/>
                  </a:lnTo>
                  <a:lnTo>
                    <a:pt x="588" y="250"/>
                  </a:lnTo>
                  <a:lnTo>
                    <a:pt x="589" y="265"/>
                  </a:lnTo>
                  <a:lnTo>
                    <a:pt x="590" y="280"/>
                  </a:lnTo>
                  <a:lnTo>
                    <a:pt x="591" y="296"/>
                  </a:lnTo>
                  <a:lnTo>
                    <a:pt x="591" y="70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996" y="3424"/>
              <a:ext cx="81" cy="81"/>
            </a:xfrm>
            <a:custGeom>
              <a:avLst/>
              <a:gdLst>
                <a:gd name="T0" fmla="*/ 243 w 243"/>
                <a:gd name="T1" fmla="*/ 122 h 243"/>
                <a:gd name="T2" fmla="*/ 240 w 243"/>
                <a:gd name="T3" fmla="*/ 146 h 243"/>
                <a:gd name="T4" fmla="*/ 234 w 243"/>
                <a:gd name="T5" fmla="*/ 169 h 243"/>
                <a:gd name="T6" fmla="*/ 222 w 243"/>
                <a:gd name="T7" fmla="*/ 189 h 243"/>
                <a:gd name="T8" fmla="*/ 207 w 243"/>
                <a:gd name="T9" fmla="*/ 208 h 243"/>
                <a:gd name="T10" fmla="*/ 189 w 243"/>
                <a:gd name="T11" fmla="*/ 223 h 243"/>
                <a:gd name="T12" fmla="*/ 168 w 243"/>
                <a:gd name="T13" fmla="*/ 233 h 243"/>
                <a:gd name="T14" fmla="*/ 145 w 243"/>
                <a:gd name="T15" fmla="*/ 241 h 243"/>
                <a:gd name="T16" fmla="*/ 121 w 243"/>
                <a:gd name="T17" fmla="*/ 243 h 243"/>
                <a:gd name="T18" fmla="*/ 109 w 243"/>
                <a:gd name="T19" fmla="*/ 242 h 243"/>
                <a:gd name="T20" fmla="*/ 85 w 243"/>
                <a:gd name="T21" fmla="*/ 237 h 243"/>
                <a:gd name="T22" fmla="*/ 63 w 243"/>
                <a:gd name="T23" fmla="*/ 228 h 243"/>
                <a:gd name="T24" fmla="*/ 45 w 243"/>
                <a:gd name="T25" fmla="*/ 216 h 243"/>
                <a:gd name="T26" fmla="*/ 27 w 243"/>
                <a:gd name="T27" fmla="*/ 198 h 243"/>
                <a:gd name="T28" fmla="*/ 15 w 243"/>
                <a:gd name="T29" fmla="*/ 179 h 243"/>
                <a:gd name="T30" fmla="*/ 6 w 243"/>
                <a:gd name="T31" fmla="*/ 157 h 243"/>
                <a:gd name="T32" fmla="*/ 0 w 243"/>
                <a:gd name="T33" fmla="*/ 134 h 243"/>
                <a:gd name="T34" fmla="*/ 0 w 243"/>
                <a:gd name="T35" fmla="*/ 122 h 243"/>
                <a:gd name="T36" fmla="*/ 2 w 243"/>
                <a:gd name="T37" fmla="*/ 96 h 243"/>
                <a:gd name="T38" fmla="*/ 9 w 243"/>
                <a:gd name="T39" fmla="*/ 74 h 243"/>
                <a:gd name="T40" fmla="*/ 21 w 243"/>
                <a:gd name="T41" fmla="*/ 53 h 243"/>
                <a:gd name="T42" fmla="*/ 35 w 243"/>
                <a:gd name="T43" fmla="*/ 36 h 243"/>
                <a:gd name="T44" fmla="*/ 54 w 243"/>
                <a:gd name="T45" fmla="*/ 21 h 243"/>
                <a:gd name="T46" fmla="*/ 74 w 243"/>
                <a:gd name="T47" fmla="*/ 9 h 243"/>
                <a:gd name="T48" fmla="*/ 97 w 243"/>
                <a:gd name="T49" fmla="*/ 2 h 243"/>
                <a:gd name="T50" fmla="*/ 121 w 243"/>
                <a:gd name="T51" fmla="*/ 0 h 243"/>
                <a:gd name="T52" fmla="*/ 134 w 243"/>
                <a:gd name="T53" fmla="*/ 0 h 243"/>
                <a:gd name="T54" fmla="*/ 157 w 243"/>
                <a:gd name="T55" fmla="*/ 5 h 243"/>
                <a:gd name="T56" fmla="*/ 179 w 243"/>
                <a:gd name="T57" fmla="*/ 14 h 243"/>
                <a:gd name="T58" fmla="*/ 198 w 243"/>
                <a:gd name="T59" fmla="*/ 28 h 243"/>
                <a:gd name="T60" fmla="*/ 215 w 243"/>
                <a:gd name="T61" fmla="*/ 44 h 243"/>
                <a:gd name="T62" fmla="*/ 228 w 243"/>
                <a:gd name="T63" fmla="*/ 63 h 243"/>
                <a:gd name="T64" fmla="*/ 237 w 243"/>
                <a:gd name="T65" fmla="*/ 85 h 243"/>
                <a:gd name="T66" fmla="*/ 242 w 243"/>
                <a:gd name="T67" fmla="*/ 10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3" h="243">
                  <a:moveTo>
                    <a:pt x="243" y="122"/>
                  </a:moveTo>
                  <a:lnTo>
                    <a:pt x="243" y="122"/>
                  </a:lnTo>
                  <a:lnTo>
                    <a:pt x="242" y="134"/>
                  </a:lnTo>
                  <a:lnTo>
                    <a:pt x="240" y="146"/>
                  </a:lnTo>
                  <a:lnTo>
                    <a:pt x="237" y="157"/>
                  </a:lnTo>
                  <a:lnTo>
                    <a:pt x="234" y="169"/>
                  </a:lnTo>
                  <a:lnTo>
                    <a:pt x="228" y="179"/>
                  </a:lnTo>
                  <a:lnTo>
                    <a:pt x="222" y="189"/>
                  </a:lnTo>
                  <a:lnTo>
                    <a:pt x="215" y="198"/>
                  </a:lnTo>
                  <a:lnTo>
                    <a:pt x="207" y="208"/>
                  </a:lnTo>
                  <a:lnTo>
                    <a:pt x="198" y="216"/>
                  </a:lnTo>
                  <a:lnTo>
                    <a:pt x="189" y="223"/>
                  </a:lnTo>
                  <a:lnTo>
                    <a:pt x="179" y="228"/>
                  </a:lnTo>
                  <a:lnTo>
                    <a:pt x="168" y="233"/>
                  </a:lnTo>
                  <a:lnTo>
                    <a:pt x="157" y="237"/>
                  </a:lnTo>
                  <a:lnTo>
                    <a:pt x="145" y="241"/>
                  </a:lnTo>
                  <a:lnTo>
                    <a:pt x="134" y="242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09" y="242"/>
                  </a:lnTo>
                  <a:lnTo>
                    <a:pt x="97" y="241"/>
                  </a:lnTo>
                  <a:lnTo>
                    <a:pt x="85" y="237"/>
                  </a:lnTo>
                  <a:lnTo>
                    <a:pt x="74" y="233"/>
                  </a:lnTo>
                  <a:lnTo>
                    <a:pt x="63" y="228"/>
                  </a:lnTo>
                  <a:lnTo>
                    <a:pt x="54" y="223"/>
                  </a:lnTo>
                  <a:lnTo>
                    <a:pt x="45" y="216"/>
                  </a:lnTo>
                  <a:lnTo>
                    <a:pt x="35" y="208"/>
                  </a:lnTo>
                  <a:lnTo>
                    <a:pt x="27" y="198"/>
                  </a:lnTo>
                  <a:lnTo>
                    <a:pt x="21" y="189"/>
                  </a:lnTo>
                  <a:lnTo>
                    <a:pt x="15" y="179"/>
                  </a:lnTo>
                  <a:lnTo>
                    <a:pt x="9" y="169"/>
                  </a:lnTo>
                  <a:lnTo>
                    <a:pt x="6" y="157"/>
                  </a:lnTo>
                  <a:lnTo>
                    <a:pt x="2" y="146"/>
                  </a:lnTo>
                  <a:lnTo>
                    <a:pt x="0" y="134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09"/>
                  </a:lnTo>
                  <a:lnTo>
                    <a:pt x="2" y="96"/>
                  </a:lnTo>
                  <a:lnTo>
                    <a:pt x="6" y="85"/>
                  </a:lnTo>
                  <a:lnTo>
                    <a:pt x="9" y="74"/>
                  </a:lnTo>
                  <a:lnTo>
                    <a:pt x="15" y="63"/>
                  </a:lnTo>
                  <a:lnTo>
                    <a:pt x="21" y="53"/>
                  </a:lnTo>
                  <a:lnTo>
                    <a:pt x="27" y="44"/>
                  </a:lnTo>
                  <a:lnTo>
                    <a:pt x="35" y="36"/>
                  </a:lnTo>
                  <a:lnTo>
                    <a:pt x="45" y="28"/>
                  </a:lnTo>
                  <a:lnTo>
                    <a:pt x="54" y="21"/>
                  </a:lnTo>
                  <a:lnTo>
                    <a:pt x="63" y="14"/>
                  </a:lnTo>
                  <a:lnTo>
                    <a:pt x="74" y="9"/>
                  </a:lnTo>
                  <a:lnTo>
                    <a:pt x="85" y="5"/>
                  </a:lnTo>
                  <a:lnTo>
                    <a:pt x="97" y="2"/>
                  </a:lnTo>
                  <a:lnTo>
                    <a:pt x="109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4" y="0"/>
                  </a:lnTo>
                  <a:lnTo>
                    <a:pt x="145" y="2"/>
                  </a:lnTo>
                  <a:lnTo>
                    <a:pt x="157" y="5"/>
                  </a:lnTo>
                  <a:lnTo>
                    <a:pt x="168" y="9"/>
                  </a:lnTo>
                  <a:lnTo>
                    <a:pt x="179" y="14"/>
                  </a:lnTo>
                  <a:lnTo>
                    <a:pt x="189" y="21"/>
                  </a:lnTo>
                  <a:lnTo>
                    <a:pt x="198" y="28"/>
                  </a:lnTo>
                  <a:lnTo>
                    <a:pt x="207" y="36"/>
                  </a:lnTo>
                  <a:lnTo>
                    <a:pt x="215" y="44"/>
                  </a:lnTo>
                  <a:lnTo>
                    <a:pt x="222" y="53"/>
                  </a:lnTo>
                  <a:lnTo>
                    <a:pt x="228" y="63"/>
                  </a:lnTo>
                  <a:lnTo>
                    <a:pt x="234" y="74"/>
                  </a:lnTo>
                  <a:lnTo>
                    <a:pt x="237" y="85"/>
                  </a:lnTo>
                  <a:lnTo>
                    <a:pt x="240" y="96"/>
                  </a:lnTo>
                  <a:lnTo>
                    <a:pt x="242" y="109"/>
                  </a:lnTo>
                  <a:lnTo>
                    <a:pt x="243" y="122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/>
            <p:cNvSpPr>
              <a:spLocks/>
            </p:cNvSpPr>
            <p:nvPr userDrawn="1"/>
          </p:nvSpPr>
          <p:spPr bwMode="auto">
            <a:xfrm>
              <a:off x="996" y="3424"/>
              <a:ext cx="81" cy="81"/>
            </a:xfrm>
            <a:custGeom>
              <a:avLst/>
              <a:gdLst>
                <a:gd name="T0" fmla="*/ 243 w 243"/>
                <a:gd name="T1" fmla="*/ 122 h 243"/>
                <a:gd name="T2" fmla="*/ 240 w 243"/>
                <a:gd name="T3" fmla="*/ 146 h 243"/>
                <a:gd name="T4" fmla="*/ 234 w 243"/>
                <a:gd name="T5" fmla="*/ 169 h 243"/>
                <a:gd name="T6" fmla="*/ 222 w 243"/>
                <a:gd name="T7" fmla="*/ 189 h 243"/>
                <a:gd name="T8" fmla="*/ 207 w 243"/>
                <a:gd name="T9" fmla="*/ 208 h 243"/>
                <a:gd name="T10" fmla="*/ 189 w 243"/>
                <a:gd name="T11" fmla="*/ 223 h 243"/>
                <a:gd name="T12" fmla="*/ 168 w 243"/>
                <a:gd name="T13" fmla="*/ 233 h 243"/>
                <a:gd name="T14" fmla="*/ 145 w 243"/>
                <a:gd name="T15" fmla="*/ 241 h 243"/>
                <a:gd name="T16" fmla="*/ 121 w 243"/>
                <a:gd name="T17" fmla="*/ 243 h 243"/>
                <a:gd name="T18" fmla="*/ 109 w 243"/>
                <a:gd name="T19" fmla="*/ 242 h 243"/>
                <a:gd name="T20" fmla="*/ 85 w 243"/>
                <a:gd name="T21" fmla="*/ 237 h 243"/>
                <a:gd name="T22" fmla="*/ 63 w 243"/>
                <a:gd name="T23" fmla="*/ 228 h 243"/>
                <a:gd name="T24" fmla="*/ 45 w 243"/>
                <a:gd name="T25" fmla="*/ 216 h 243"/>
                <a:gd name="T26" fmla="*/ 27 w 243"/>
                <a:gd name="T27" fmla="*/ 198 h 243"/>
                <a:gd name="T28" fmla="*/ 15 w 243"/>
                <a:gd name="T29" fmla="*/ 179 h 243"/>
                <a:gd name="T30" fmla="*/ 6 w 243"/>
                <a:gd name="T31" fmla="*/ 157 h 243"/>
                <a:gd name="T32" fmla="*/ 0 w 243"/>
                <a:gd name="T33" fmla="*/ 134 h 243"/>
                <a:gd name="T34" fmla="*/ 0 w 243"/>
                <a:gd name="T35" fmla="*/ 122 h 243"/>
                <a:gd name="T36" fmla="*/ 2 w 243"/>
                <a:gd name="T37" fmla="*/ 96 h 243"/>
                <a:gd name="T38" fmla="*/ 9 w 243"/>
                <a:gd name="T39" fmla="*/ 74 h 243"/>
                <a:gd name="T40" fmla="*/ 21 w 243"/>
                <a:gd name="T41" fmla="*/ 53 h 243"/>
                <a:gd name="T42" fmla="*/ 35 w 243"/>
                <a:gd name="T43" fmla="*/ 36 h 243"/>
                <a:gd name="T44" fmla="*/ 54 w 243"/>
                <a:gd name="T45" fmla="*/ 21 h 243"/>
                <a:gd name="T46" fmla="*/ 74 w 243"/>
                <a:gd name="T47" fmla="*/ 9 h 243"/>
                <a:gd name="T48" fmla="*/ 97 w 243"/>
                <a:gd name="T49" fmla="*/ 2 h 243"/>
                <a:gd name="T50" fmla="*/ 121 w 243"/>
                <a:gd name="T51" fmla="*/ 0 h 243"/>
                <a:gd name="T52" fmla="*/ 134 w 243"/>
                <a:gd name="T53" fmla="*/ 0 h 243"/>
                <a:gd name="T54" fmla="*/ 157 w 243"/>
                <a:gd name="T55" fmla="*/ 5 h 243"/>
                <a:gd name="T56" fmla="*/ 179 w 243"/>
                <a:gd name="T57" fmla="*/ 14 h 243"/>
                <a:gd name="T58" fmla="*/ 198 w 243"/>
                <a:gd name="T59" fmla="*/ 28 h 243"/>
                <a:gd name="T60" fmla="*/ 215 w 243"/>
                <a:gd name="T61" fmla="*/ 44 h 243"/>
                <a:gd name="T62" fmla="*/ 228 w 243"/>
                <a:gd name="T63" fmla="*/ 63 h 243"/>
                <a:gd name="T64" fmla="*/ 237 w 243"/>
                <a:gd name="T65" fmla="*/ 85 h 243"/>
                <a:gd name="T66" fmla="*/ 242 w 243"/>
                <a:gd name="T67" fmla="*/ 10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3" h="243">
                  <a:moveTo>
                    <a:pt x="243" y="122"/>
                  </a:moveTo>
                  <a:lnTo>
                    <a:pt x="243" y="122"/>
                  </a:lnTo>
                  <a:lnTo>
                    <a:pt x="242" y="134"/>
                  </a:lnTo>
                  <a:lnTo>
                    <a:pt x="240" y="146"/>
                  </a:lnTo>
                  <a:lnTo>
                    <a:pt x="237" y="157"/>
                  </a:lnTo>
                  <a:lnTo>
                    <a:pt x="234" y="169"/>
                  </a:lnTo>
                  <a:lnTo>
                    <a:pt x="228" y="179"/>
                  </a:lnTo>
                  <a:lnTo>
                    <a:pt x="222" y="189"/>
                  </a:lnTo>
                  <a:lnTo>
                    <a:pt x="215" y="198"/>
                  </a:lnTo>
                  <a:lnTo>
                    <a:pt x="207" y="208"/>
                  </a:lnTo>
                  <a:lnTo>
                    <a:pt x="198" y="216"/>
                  </a:lnTo>
                  <a:lnTo>
                    <a:pt x="189" y="223"/>
                  </a:lnTo>
                  <a:lnTo>
                    <a:pt x="179" y="228"/>
                  </a:lnTo>
                  <a:lnTo>
                    <a:pt x="168" y="233"/>
                  </a:lnTo>
                  <a:lnTo>
                    <a:pt x="157" y="237"/>
                  </a:lnTo>
                  <a:lnTo>
                    <a:pt x="145" y="241"/>
                  </a:lnTo>
                  <a:lnTo>
                    <a:pt x="134" y="242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09" y="242"/>
                  </a:lnTo>
                  <a:lnTo>
                    <a:pt x="97" y="241"/>
                  </a:lnTo>
                  <a:lnTo>
                    <a:pt x="85" y="237"/>
                  </a:lnTo>
                  <a:lnTo>
                    <a:pt x="74" y="233"/>
                  </a:lnTo>
                  <a:lnTo>
                    <a:pt x="63" y="228"/>
                  </a:lnTo>
                  <a:lnTo>
                    <a:pt x="54" y="223"/>
                  </a:lnTo>
                  <a:lnTo>
                    <a:pt x="45" y="216"/>
                  </a:lnTo>
                  <a:lnTo>
                    <a:pt x="35" y="208"/>
                  </a:lnTo>
                  <a:lnTo>
                    <a:pt x="27" y="198"/>
                  </a:lnTo>
                  <a:lnTo>
                    <a:pt x="21" y="189"/>
                  </a:lnTo>
                  <a:lnTo>
                    <a:pt x="15" y="179"/>
                  </a:lnTo>
                  <a:lnTo>
                    <a:pt x="9" y="169"/>
                  </a:lnTo>
                  <a:lnTo>
                    <a:pt x="6" y="157"/>
                  </a:lnTo>
                  <a:lnTo>
                    <a:pt x="2" y="146"/>
                  </a:lnTo>
                  <a:lnTo>
                    <a:pt x="0" y="134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09"/>
                  </a:lnTo>
                  <a:lnTo>
                    <a:pt x="2" y="96"/>
                  </a:lnTo>
                  <a:lnTo>
                    <a:pt x="6" y="85"/>
                  </a:lnTo>
                  <a:lnTo>
                    <a:pt x="9" y="74"/>
                  </a:lnTo>
                  <a:lnTo>
                    <a:pt x="15" y="63"/>
                  </a:lnTo>
                  <a:lnTo>
                    <a:pt x="21" y="53"/>
                  </a:lnTo>
                  <a:lnTo>
                    <a:pt x="27" y="44"/>
                  </a:lnTo>
                  <a:lnTo>
                    <a:pt x="35" y="36"/>
                  </a:lnTo>
                  <a:lnTo>
                    <a:pt x="45" y="28"/>
                  </a:lnTo>
                  <a:lnTo>
                    <a:pt x="54" y="21"/>
                  </a:lnTo>
                  <a:lnTo>
                    <a:pt x="63" y="14"/>
                  </a:lnTo>
                  <a:lnTo>
                    <a:pt x="74" y="9"/>
                  </a:lnTo>
                  <a:lnTo>
                    <a:pt x="85" y="5"/>
                  </a:lnTo>
                  <a:lnTo>
                    <a:pt x="97" y="2"/>
                  </a:lnTo>
                  <a:lnTo>
                    <a:pt x="109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4" y="0"/>
                  </a:lnTo>
                  <a:lnTo>
                    <a:pt x="145" y="2"/>
                  </a:lnTo>
                  <a:lnTo>
                    <a:pt x="157" y="5"/>
                  </a:lnTo>
                  <a:lnTo>
                    <a:pt x="168" y="9"/>
                  </a:lnTo>
                  <a:lnTo>
                    <a:pt x="179" y="14"/>
                  </a:lnTo>
                  <a:lnTo>
                    <a:pt x="189" y="21"/>
                  </a:lnTo>
                  <a:lnTo>
                    <a:pt x="198" y="28"/>
                  </a:lnTo>
                  <a:lnTo>
                    <a:pt x="207" y="36"/>
                  </a:lnTo>
                  <a:lnTo>
                    <a:pt x="215" y="44"/>
                  </a:lnTo>
                  <a:lnTo>
                    <a:pt x="222" y="53"/>
                  </a:lnTo>
                  <a:lnTo>
                    <a:pt x="228" y="63"/>
                  </a:lnTo>
                  <a:lnTo>
                    <a:pt x="234" y="74"/>
                  </a:lnTo>
                  <a:lnTo>
                    <a:pt x="237" y="85"/>
                  </a:lnTo>
                  <a:lnTo>
                    <a:pt x="240" y="96"/>
                  </a:lnTo>
                  <a:lnTo>
                    <a:pt x="242" y="109"/>
                  </a:lnTo>
                  <a:lnTo>
                    <a:pt x="24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/>
            <p:cNvSpPr>
              <a:spLocks noEditPoints="1"/>
            </p:cNvSpPr>
            <p:nvPr userDrawn="1"/>
          </p:nvSpPr>
          <p:spPr bwMode="auto">
            <a:xfrm>
              <a:off x="482" y="3758"/>
              <a:ext cx="42" cy="64"/>
            </a:xfrm>
            <a:custGeom>
              <a:avLst/>
              <a:gdLst>
                <a:gd name="T0" fmla="*/ 96 w 126"/>
                <a:gd name="T1" fmla="*/ 82 h 192"/>
                <a:gd name="T2" fmla="*/ 106 w 126"/>
                <a:gd name="T3" fmla="*/ 90 h 192"/>
                <a:gd name="T4" fmla="*/ 117 w 126"/>
                <a:gd name="T5" fmla="*/ 100 h 192"/>
                <a:gd name="T6" fmla="*/ 122 w 126"/>
                <a:gd name="T7" fmla="*/ 115 h 192"/>
                <a:gd name="T8" fmla="*/ 126 w 126"/>
                <a:gd name="T9" fmla="*/ 131 h 192"/>
                <a:gd name="T10" fmla="*/ 125 w 126"/>
                <a:gd name="T11" fmla="*/ 144 h 192"/>
                <a:gd name="T12" fmla="*/ 114 w 126"/>
                <a:gd name="T13" fmla="*/ 166 h 192"/>
                <a:gd name="T14" fmla="*/ 98 w 126"/>
                <a:gd name="T15" fmla="*/ 182 h 192"/>
                <a:gd name="T16" fmla="*/ 77 w 126"/>
                <a:gd name="T17" fmla="*/ 191 h 192"/>
                <a:gd name="T18" fmla="*/ 0 w 126"/>
                <a:gd name="T19" fmla="*/ 192 h 192"/>
                <a:gd name="T20" fmla="*/ 63 w 126"/>
                <a:gd name="T21" fmla="*/ 0 h 192"/>
                <a:gd name="T22" fmla="*/ 74 w 126"/>
                <a:gd name="T23" fmla="*/ 1 h 192"/>
                <a:gd name="T24" fmla="*/ 93 w 126"/>
                <a:gd name="T25" fmla="*/ 8 h 192"/>
                <a:gd name="T26" fmla="*/ 106 w 126"/>
                <a:gd name="T27" fmla="*/ 21 h 192"/>
                <a:gd name="T28" fmla="*/ 113 w 126"/>
                <a:gd name="T29" fmla="*/ 39 h 192"/>
                <a:gd name="T30" fmla="*/ 113 w 126"/>
                <a:gd name="T31" fmla="*/ 50 h 192"/>
                <a:gd name="T32" fmla="*/ 112 w 126"/>
                <a:gd name="T33" fmla="*/ 60 h 192"/>
                <a:gd name="T34" fmla="*/ 103 w 126"/>
                <a:gd name="T35" fmla="*/ 78 h 192"/>
                <a:gd name="T36" fmla="*/ 96 w 126"/>
                <a:gd name="T37" fmla="*/ 82 h 192"/>
                <a:gd name="T38" fmla="*/ 63 w 126"/>
                <a:gd name="T39" fmla="*/ 71 h 192"/>
                <a:gd name="T40" fmla="*/ 68 w 126"/>
                <a:gd name="T41" fmla="*/ 69 h 192"/>
                <a:gd name="T42" fmla="*/ 76 w 126"/>
                <a:gd name="T43" fmla="*/ 67 h 192"/>
                <a:gd name="T44" fmla="*/ 80 w 126"/>
                <a:gd name="T45" fmla="*/ 61 h 192"/>
                <a:gd name="T46" fmla="*/ 84 w 126"/>
                <a:gd name="T47" fmla="*/ 55 h 192"/>
                <a:gd name="T48" fmla="*/ 84 w 126"/>
                <a:gd name="T49" fmla="*/ 50 h 192"/>
                <a:gd name="T50" fmla="*/ 82 w 126"/>
                <a:gd name="T51" fmla="*/ 41 h 192"/>
                <a:gd name="T52" fmla="*/ 78 w 126"/>
                <a:gd name="T53" fmla="*/ 35 h 192"/>
                <a:gd name="T54" fmla="*/ 71 w 126"/>
                <a:gd name="T55" fmla="*/ 31 h 192"/>
                <a:gd name="T56" fmla="*/ 63 w 126"/>
                <a:gd name="T57" fmla="*/ 29 h 192"/>
                <a:gd name="T58" fmla="*/ 31 w 126"/>
                <a:gd name="T59" fmla="*/ 71 h 192"/>
                <a:gd name="T60" fmla="*/ 63 w 126"/>
                <a:gd name="T61" fmla="*/ 163 h 192"/>
                <a:gd name="T62" fmla="*/ 70 w 126"/>
                <a:gd name="T63" fmla="*/ 162 h 192"/>
                <a:gd name="T64" fmla="*/ 81 w 126"/>
                <a:gd name="T65" fmla="*/ 158 h 192"/>
                <a:gd name="T66" fmla="*/ 90 w 126"/>
                <a:gd name="T67" fmla="*/ 150 h 192"/>
                <a:gd name="T68" fmla="*/ 94 w 126"/>
                <a:gd name="T69" fmla="*/ 138 h 192"/>
                <a:gd name="T70" fmla="*/ 95 w 126"/>
                <a:gd name="T71" fmla="*/ 131 h 192"/>
                <a:gd name="T72" fmla="*/ 93 w 126"/>
                <a:gd name="T73" fmla="*/ 119 h 192"/>
                <a:gd name="T74" fmla="*/ 86 w 126"/>
                <a:gd name="T75" fmla="*/ 108 h 192"/>
                <a:gd name="T76" fmla="*/ 77 w 126"/>
                <a:gd name="T77" fmla="*/ 102 h 192"/>
                <a:gd name="T78" fmla="*/ 63 w 126"/>
                <a:gd name="T79" fmla="*/ 99 h 192"/>
                <a:gd name="T80" fmla="*/ 31 w 126"/>
                <a:gd name="T81" fmla="*/ 16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92">
                  <a:moveTo>
                    <a:pt x="96" y="82"/>
                  </a:moveTo>
                  <a:lnTo>
                    <a:pt x="96" y="82"/>
                  </a:lnTo>
                  <a:lnTo>
                    <a:pt x="102" y="86"/>
                  </a:lnTo>
                  <a:lnTo>
                    <a:pt x="106" y="90"/>
                  </a:lnTo>
                  <a:lnTo>
                    <a:pt x="112" y="95"/>
                  </a:lnTo>
                  <a:lnTo>
                    <a:pt x="117" y="100"/>
                  </a:lnTo>
                  <a:lnTo>
                    <a:pt x="120" y="107"/>
                  </a:lnTo>
                  <a:lnTo>
                    <a:pt x="122" y="115"/>
                  </a:lnTo>
                  <a:lnTo>
                    <a:pt x="125" y="122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5" y="144"/>
                  </a:lnTo>
                  <a:lnTo>
                    <a:pt x="120" y="155"/>
                  </a:lnTo>
                  <a:lnTo>
                    <a:pt x="114" y="166"/>
                  </a:lnTo>
                  <a:lnTo>
                    <a:pt x="108" y="175"/>
                  </a:lnTo>
                  <a:lnTo>
                    <a:pt x="98" y="182"/>
                  </a:lnTo>
                  <a:lnTo>
                    <a:pt x="88" y="188"/>
                  </a:lnTo>
                  <a:lnTo>
                    <a:pt x="77" y="191"/>
                  </a:lnTo>
                  <a:lnTo>
                    <a:pt x="64" y="192"/>
                  </a:lnTo>
                  <a:lnTo>
                    <a:pt x="0" y="192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74" y="1"/>
                  </a:lnTo>
                  <a:lnTo>
                    <a:pt x="84" y="3"/>
                  </a:lnTo>
                  <a:lnTo>
                    <a:pt x="93" y="8"/>
                  </a:lnTo>
                  <a:lnTo>
                    <a:pt x="100" y="13"/>
                  </a:lnTo>
                  <a:lnTo>
                    <a:pt x="106" y="21"/>
                  </a:lnTo>
                  <a:lnTo>
                    <a:pt x="110" y="29"/>
                  </a:lnTo>
                  <a:lnTo>
                    <a:pt x="113" y="39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6"/>
                  </a:lnTo>
                  <a:lnTo>
                    <a:pt x="112" y="60"/>
                  </a:lnTo>
                  <a:lnTo>
                    <a:pt x="109" y="69"/>
                  </a:lnTo>
                  <a:lnTo>
                    <a:pt x="103" y="78"/>
                  </a:lnTo>
                  <a:lnTo>
                    <a:pt x="96" y="82"/>
                  </a:lnTo>
                  <a:lnTo>
                    <a:pt x="96" y="82"/>
                  </a:lnTo>
                  <a:close/>
                  <a:moveTo>
                    <a:pt x="31" y="71"/>
                  </a:moveTo>
                  <a:lnTo>
                    <a:pt x="63" y="71"/>
                  </a:lnTo>
                  <a:lnTo>
                    <a:pt x="63" y="71"/>
                  </a:lnTo>
                  <a:lnTo>
                    <a:pt x="68" y="69"/>
                  </a:lnTo>
                  <a:lnTo>
                    <a:pt x="71" y="68"/>
                  </a:lnTo>
                  <a:lnTo>
                    <a:pt x="76" y="67"/>
                  </a:lnTo>
                  <a:lnTo>
                    <a:pt x="78" y="65"/>
                  </a:lnTo>
                  <a:lnTo>
                    <a:pt x="80" y="61"/>
                  </a:lnTo>
                  <a:lnTo>
                    <a:pt x="82" y="58"/>
                  </a:lnTo>
                  <a:lnTo>
                    <a:pt x="84" y="55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45"/>
                  </a:lnTo>
                  <a:lnTo>
                    <a:pt x="82" y="41"/>
                  </a:lnTo>
                  <a:lnTo>
                    <a:pt x="80" y="37"/>
                  </a:lnTo>
                  <a:lnTo>
                    <a:pt x="78" y="35"/>
                  </a:lnTo>
                  <a:lnTo>
                    <a:pt x="76" y="32"/>
                  </a:lnTo>
                  <a:lnTo>
                    <a:pt x="71" y="31"/>
                  </a:lnTo>
                  <a:lnTo>
                    <a:pt x="68" y="29"/>
                  </a:lnTo>
                  <a:lnTo>
                    <a:pt x="63" y="29"/>
                  </a:lnTo>
                  <a:lnTo>
                    <a:pt x="31" y="29"/>
                  </a:lnTo>
                  <a:lnTo>
                    <a:pt x="31" y="71"/>
                  </a:lnTo>
                  <a:close/>
                  <a:moveTo>
                    <a:pt x="31" y="163"/>
                  </a:moveTo>
                  <a:lnTo>
                    <a:pt x="63" y="163"/>
                  </a:lnTo>
                  <a:lnTo>
                    <a:pt x="63" y="163"/>
                  </a:lnTo>
                  <a:lnTo>
                    <a:pt x="70" y="162"/>
                  </a:lnTo>
                  <a:lnTo>
                    <a:pt x="77" y="161"/>
                  </a:lnTo>
                  <a:lnTo>
                    <a:pt x="81" y="158"/>
                  </a:lnTo>
                  <a:lnTo>
                    <a:pt x="86" y="154"/>
                  </a:lnTo>
                  <a:lnTo>
                    <a:pt x="90" y="150"/>
                  </a:lnTo>
                  <a:lnTo>
                    <a:pt x="93" y="144"/>
                  </a:lnTo>
                  <a:lnTo>
                    <a:pt x="94" y="138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4" y="124"/>
                  </a:lnTo>
                  <a:lnTo>
                    <a:pt x="93" y="119"/>
                  </a:lnTo>
                  <a:lnTo>
                    <a:pt x="90" y="113"/>
                  </a:lnTo>
                  <a:lnTo>
                    <a:pt x="86" y="108"/>
                  </a:lnTo>
                  <a:lnTo>
                    <a:pt x="81" y="104"/>
                  </a:lnTo>
                  <a:lnTo>
                    <a:pt x="77" y="102"/>
                  </a:lnTo>
                  <a:lnTo>
                    <a:pt x="70" y="100"/>
                  </a:lnTo>
                  <a:lnTo>
                    <a:pt x="63" y="99"/>
                  </a:lnTo>
                  <a:lnTo>
                    <a:pt x="31" y="99"/>
                  </a:lnTo>
                  <a:lnTo>
                    <a:pt x="31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532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2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82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"/>
            <p:cNvSpPr>
              <a:spLocks/>
            </p:cNvSpPr>
            <p:nvPr userDrawn="1"/>
          </p:nvSpPr>
          <p:spPr bwMode="auto">
            <a:xfrm>
              <a:off x="588" y="3756"/>
              <a:ext cx="10" cy="66"/>
            </a:xfrm>
            <a:custGeom>
              <a:avLst/>
              <a:gdLst>
                <a:gd name="T0" fmla="*/ 0 w 31"/>
                <a:gd name="T1" fmla="*/ 4 h 196"/>
                <a:gd name="T2" fmla="*/ 31 w 31"/>
                <a:gd name="T3" fmla="*/ 0 h 196"/>
                <a:gd name="T4" fmla="*/ 31 w 31"/>
                <a:gd name="T5" fmla="*/ 196 h 196"/>
                <a:gd name="T6" fmla="*/ 0 w 31"/>
                <a:gd name="T7" fmla="*/ 196 h 196"/>
                <a:gd name="T8" fmla="*/ 0 w 31"/>
                <a:gd name="T9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6">
                  <a:moveTo>
                    <a:pt x="0" y="4"/>
                  </a:moveTo>
                  <a:lnTo>
                    <a:pt x="31" y="0"/>
                  </a:lnTo>
                  <a:lnTo>
                    <a:pt x="31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"/>
            <p:cNvSpPr>
              <a:spLocks noEditPoints="1"/>
            </p:cNvSpPr>
            <p:nvPr userDrawn="1"/>
          </p:nvSpPr>
          <p:spPr bwMode="auto">
            <a:xfrm>
              <a:off x="606" y="3775"/>
              <a:ext cx="43" cy="70"/>
            </a:xfrm>
            <a:custGeom>
              <a:avLst/>
              <a:gdLst>
                <a:gd name="T0" fmla="*/ 70 w 129"/>
                <a:gd name="T1" fmla="*/ 0 h 209"/>
                <a:gd name="T2" fmla="*/ 91 w 129"/>
                <a:gd name="T3" fmla="*/ 8 h 209"/>
                <a:gd name="T4" fmla="*/ 121 w 129"/>
                <a:gd name="T5" fmla="*/ 55 h 209"/>
                <a:gd name="T6" fmla="*/ 116 w 129"/>
                <a:gd name="T7" fmla="*/ 78 h 209"/>
                <a:gd name="T8" fmla="*/ 102 w 129"/>
                <a:gd name="T9" fmla="*/ 96 h 209"/>
                <a:gd name="T10" fmla="*/ 117 w 129"/>
                <a:gd name="T11" fmla="*/ 112 h 209"/>
                <a:gd name="T12" fmla="*/ 126 w 129"/>
                <a:gd name="T13" fmla="*/ 131 h 209"/>
                <a:gd name="T14" fmla="*/ 129 w 129"/>
                <a:gd name="T15" fmla="*/ 146 h 209"/>
                <a:gd name="T16" fmla="*/ 117 w 129"/>
                <a:gd name="T17" fmla="*/ 183 h 209"/>
                <a:gd name="T18" fmla="*/ 90 w 129"/>
                <a:gd name="T19" fmla="*/ 204 h 209"/>
                <a:gd name="T20" fmla="*/ 65 w 129"/>
                <a:gd name="T21" fmla="*/ 209 h 209"/>
                <a:gd name="T22" fmla="*/ 30 w 129"/>
                <a:gd name="T23" fmla="*/ 201 h 209"/>
                <a:gd name="T24" fmla="*/ 8 w 129"/>
                <a:gd name="T25" fmla="*/ 178 h 209"/>
                <a:gd name="T26" fmla="*/ 31 w 129"/>
                <a:gd name="T27" fmla="*/ 157 h 209"/>
                <a:gd name="T28" fmla="*/ 36 w 129"/>
                <a:gd name="T29" fmla="*/ 167 h 209"/>
                <a:gd name="T30" fmla="*/ 46 w 129"/>
                <a:gd name="T31" fmla="*/ 177 h 209"/>
                <a:gd name="T32" fmla="*/ 65 w 129"/>
                <a:gd name="T33" fmla="*/ 180 h 209"/>
                <a:gd name="T34" fmla="*/ 78 w 129"/>
                <a:gd name="T35" fmla="*/ 178 h 209"/>
                <a:gd name="T36" fmla="*/ 92 w 129"/>
                <a:gd name="T37" fmla="*/ 167 h 209"/>
                <a:gd name="T38" fmla="*/ 98 w 129"/>
                <a:gd name="T39" fmla="*/ 146 h 209"/>
                <a:gd name="T40" fmla="*/ 95 w 129"/>
                <a:gd name="T41" fmla="*/ 132 h 209"/>
                <a:gd name="T42" fmla="*/ 84 w 129"/>
                <a:gd name="T43" fmla="*/ 117 h 209"/>
                <a:gd name="T44" fmla="*/ 65 w 129"/>
                <a:gd name="T45" fmla="*/ 112 h 209"/>
                <a:gd name="T46" fmla="*/ 54 w 129"/>
                <a:gd name="T47" fmla="*/ 113 h 209"/>
                <a:gd name="T48" fmla="*/ 34 w 129"/>
                <a:gd name="T49" fmla="*/ 130 h 209"/>
                <a:gd name="T50" fmla="*/ 18 w 129"/>
                <a:gd name="T51" fmla="*/ 101 h 209"/>
                <a:gd name="T52" fmla="*/ 18 w 129"/>
                <a:gd name="T53" fmla="*/ 88 h 209"/>
                <a:gd name="T54" fmla="*/ 7 w 129"/>
                <a:gd name="T55" fmla="*/ 55 h 209"/>
                <a:gd name="T56" fmla="*/ 11 w 129"/>
                <a:gd name="T57" fmla="*/ 34 h 209"/>
                <a:gd name="T58" fmla="*/ 30 w 129"/>
                <a:gd name="T59" fmla="*/ 10 h 209"/>
                <a:gd name="T60" fmla="*/ 62 w 129"/>
                <a:gd name="T61" fmla="*/ 0 h 209"/>
                <a:gd name="T62" fmla="*/ 65 w 129"/>
                <a:gd name="T63" fmla="*/ 83 h 209"/>
                <a:gd name="T64" fmla="*/ 79 w 129"/>
                <a:gd name="T65" fmla="*/ 78 h 209"/>
                <a:gd name="T66" fmla="*/ 89 w 129"/>
                <a:gd name="T67" fmla="*/ 67 h 209"/>
                <a:gd name="T68" fmla="*/ 91 w 129"/>
                <a:gd name="T69" fmla="*/ 55 h 209"/>
                <a:gd name="T70" fmla="*/ 86 w 129"/>
                <a:gd name="T71" fmla="*/ 41 h 209"/>
                <a:gd name="T72" fmla="*/ 75 w 129"/>
                <a:gd name="T73" fmla="*/ 30 h 209"/>
                <a:gd name="T74" fmla="*/ 65 w 129"/>
                <a:gd name="T75" fmla="*/ 29 h 209"/>
                <a:gd name="T76" fmla="*/ 49 w 129"/>
                <a:gd name="T77" fmla="*/ 33 h 209"/>
                <a:gd name="T78" fmla="*/ 39 w 129"/>
                <a:gd name="T79" fmla="*/ 45 h 209"/>
                <a:gd name="T80" fmla="*/ 37 w 129"/>
                <a:gd name="T81" fmla="*/ 55 h 209"/>
                <a:gd name="T82" fmla="*/ 42 w 129"/>
                <a:gd name="T83" fmla="*/ 71 h 209"/>
                <a:gd name="T84" fmla="*/ 53 w 129"/>
                <a:gd name="T85" fmla="*/ 81 h 209"/>
                <a:gd name="T86" fmla="*/ 65 w 129"/>
                <a:gd name="T87" fmla="*/ 8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9" h="209">
                  <a:moveTo>
                    <a:pt x="62" y="0"/>
                  </a:moveTo>
                  <a:lnTo>
                    <a:pt x="62" y="0"/>
                  </a:lnTo>
                  <a:lnTo>
                    <a:pt x="70" y="0"/>
                  </a:lnTo>
                  <a:lnTo>
                    <a:pt x="77" y="2"/>
                  </a:lnTo>
                  <a:lnTo>
                    <a:pt x="84" y="5"/>
                  </a:lnTo>
                  <a:lnTo>
                    <a:pt x="91" y="8"/>
                  </a:lnTo>
                  <a:lnTo>
                    <a:pt x="91" y="2"/>
                  </a:lnTo>
                  <a:lnTo>
                    <a:pt x="121" y="2"/>
                  </a:lnTo>
                  <a:lnTo>
                    <a:pt x="121" y="55"/>
                  </a:lnTo>
                  <a:lnTo>
                    <a:pt x="121" y="55"/>
                  </a:lnTo>
                  <a:lnTo>
                    <a:pt x="120" y="68"/>
                  </a:lnTo>
                  <a:lnTo>
                    <a:pt x="116" y="78"/>
                  </a:lnTo>
                  <a:lnTo>
                    <a:pt x="110" y="88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08" y="100"/>
                  </a:lnTo>
                  <a:lnTo>
                    <a:pt x="113" y="106"/>
                  </a:lnTo>
                  <a:lnTo>
                    <a:pt x="117" y="112"/>
                  </a:lnTo>
                  <a:lnTo>
                    <a:pt x="122" y="117"/>
                  </a:lnTo>
                  <a:lnTo>
                    <a:pt x="124" y="124"/>
                  </a:lnTo>
                  <a:lnTo>
                    <a:pt x="126" y="131"/>
                  </a:lnTo>
                  <a:lnTo>
                    <a:pt x="128" y="138"/>
                  </a:lnTo>
                  <a:lnTo>
                    <a:pt x="129" y="146"/>
                  </a:lnTo>
                  <a:lnTo>
                    <a:pt x="129" y="146"/>
                  </a:lnTo>
                  <a:lnTo>
                    <a:pt x="126" y="160"/>
                  </a:lnTo>
                  <a:lnTo>
                    <a:pt x="123" y="172"/>
                  </a:lnTo>
                  <a:lnTo>
                    <a:pt x="117" y="183"/>
                  </a:lnTo>
                  <a:lnTo>
                    <a:pt x="109" y="192"/>
                  </a:lnTo>
                  <a:lnTo>
                    <a:pt x="100" y="200"/>
                  </a:lnTo>
                  <a:lnTo>
                    <a:pt x="90" y="204"/>
                  </a:lnTo>
                  <a:lnTo>
                    <a:pt x="77" y="208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52" y="208"/>
                  </a:lnTo>
                  <a:lnTo>
                    <a:pt x="40" y="206"/>
                  </a:lnTo>
                  <a:lnTo>
                    <a:pt x="30" y="201"/>
                  </a:lnTo>
                  <a:lnTo>
                    <a:pt x="21" y="195"/>
                  </a:lnTo>
                  <a:lnTo>
                    <a:pt x="14" y="187"/>
                  </a:lnTo>
                  <a:lnTo>
                    <a:pt x="8" y="178"/>
                  </a:lnTo>
                  <a:lnTo>
                    <a:pt x="3" y="168"/>
                  </a:lnTo>
                  <a:lnTo>
                    <a:pt x="0" y="157"/>
                  </a:lnTo>
                  <a:lnTo>
                    <a:pt x="31" y="157"/>
                  </a:lnTo>
                  <a:lnTo>
                    <a:pt x="31" y="157"/>
                  </a:lnTo>
                  <a:lnTo>
                    <a:pt x="34" y="162"/>
                  </a:lnTo>
                  <a:lnTo>
                    <a:pt x="36" y="167"/>
                  </a:lnTo>
                  <a:lnTo>
                    <a:pt x="39" y="170"/>
                  </a:lnTo>
                  <a:lnTo>
                    <a:pt x="43" y="173"/>
                  </a:lnTo>
                  <a:lnTo>
                    <a:pt x="46" y="177"/>
                  </a:lnTo>
                  <a:lnTo>
                    <a:pt x="52" y="179"/>
                  </a:lnTo>
                  <a:lnTo>
                    <a:pt x="58" y="180"/>
                  </a:lnTo>
                  <a:lnTo>
                    <a:pt x="65" y="180"/>
                  </a:lnTo>
                  <a:lnTo>
                    <a:pt x="65" y="180"/>
                  </a:lnTo>
                  <a:lnTo>
                    <a:pt x="71" y="180"/>
                  </a:lnTo>
                  <a:lnTo>
                    <a:pt x="78" y="178"/>
                  </a:lnTo>
                  <a:lnTo>
                    <a:pt x="84" y="176"/>
                  </a:lnTo>
                  <a:lnTo>
                    <a:pt x="89" y="171"/>
                  </a:lnTo>
                  <a:lnTo>
                    <a:pt x="92" y="167"/>
                  </a:lnTo>
                  <a:lnTo>
                    <a:pt x="95" y="160"/>
                  </a:lnTo>
                  <a:lnTo>
                    <a:pt x="97" y="153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7" y="139"/>
                  </a:lnTo>
                  <a:lnTo>
                    <a:pt x="95" y="132"/>
                  </a:lnTo>
                  <a:lnTo>
                    <a:pt x="92" y="126"/>
                  </a:lnTo>
                  <a:lnTo>
                    <a:pt x="89" y="121"/>
                  </a:lnTo>
                  <a:lnTo>
                    <a:pt x="84" y="117"/>
                  </a:lnTo>
                  <a:lnTo>
                    <a:pt x="78" y="114"/>
                  </a:lnTo>
                  <a:lnTo>
                    <a:pt x="71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59" y="112"/>
                  </a:lnTo>
                  <a:lnTo>
                    <a:pt x="54" y="113"/>
                  </a:lnTo>
                  <a:lnTo>
                    <a:pt x="46" y="116"/>
                  </a:lnTo>
                  <a:lnTo>
                    <a:pt x="39" y="122"/>
                  </a:lnTo>
                  <a:lnTo>
                    <a:pt x="34" y="13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8" y="101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18" y="88"/>
                  </a:lnTo>
                  <a:lnTo>
                    <a:pt x="12" y="78"/>
                  </a:lnTo>
                  <a:lnTo>
                    <a:pt x="8" y="68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45"/>
                  </a:lnTo>
                  <a:lnTo>
                    <a:pt x="11" y="34"/>
                  </a:lnTo>
                  <a:lnTo>
                    <a:pt x="16" y="25"/>
                  </a:lnTo>
                  <a:lnTo>
                    <a:pt x="22" y="16"/>
                  </a:lnTo>
                  <a:lnTo>
                    <a:pt x="30" y="10"/>
                  </a:lnTo>
                  <a:lnTo>
                    <a:pt x="40" y="5"/>
                  </a:lnTo>
                  <a:lnTo>
                    <a:pt x="51" y="2"/>
                  </a:lnTo>
                  <a:lnTo>
                    <a:pt x="62" y="0"/>
                  </a:lnTo>
                  <a:lnTo>
                    <a:pt x="62" y="0"/>
                  </a:lnTo>
                  <a:close/>
                  <a:moveTo>
                    <a:pt x="65" y="83"/>
                  </a:moveTo>
                  <a:lnTo>
                    <a:pt x="65" y="83"/>
                  </a:lnTo>
                  <a:lnTo>
                    <a:pt x="69" y="82"/>
                  </a:lnTo>
                  <a:lnTo>
                    <a:pt x="75" y="81"/>
                  </a:lnTo>
                  <a:lnTo>
                    <a:pt x="79" y="78"/>
                  </a:lnTo>
                  <a:lnTo>
                    <a:pt x="83" y="75"/>
                  </a:lnTo>
                  <a:lnTo>
                    <a:pt x="86" y="71"/>
                  </a:lnTo>
                  <a:lnTo>
                    <a:pt x="89" y="67"/>
                  </a:lnTo>
                  <a:lnTo>
                    <a:pt x="90" y="62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90" y="50"/>
                  </a:lnTo>
                  <a:lnTo>
                    <a:pt x="89" y="45"/>
                  </a:lnTo>
                  <a:lnTo>
                    <a:pt x="86" y="41"/>
                  </a:lnTo>
                  <a:lnTo>
                    <a:pt x="83" y="36"/>
                  </a:lnTo>
                  <a:lnTo>
                    <a:pt x="79" y="33"/>
                  </a:lnTo>
                  <a:lnTo>
                    <a:pt x="75" y="30"/>
                  </a:lnTo>
                  <a:lnTo>
                    <a:pt x="69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59" y="29"/>
                  </a:lnTo>
                  <a:lnTo>
                    <a:pt x="53" y="30"/>
                  </a:lnTo>
                  <a:lnTo>
                    <a:pt x="49" y="33"/>
                  </a:lnTo>
                  <a:lnTo>
                    <a:pt x="45" y="36"/>
                  </a:lnTo>
                  <a:lnTo>
                    <a:pt x="42" y="41"/>
                  </a:lnTo>
                  <a:lnTo>
                    <a:pt x="39" y="45"/>
                  </a:lnTo>
                  <a:lnTo>
                    <a:pt x="38" y="50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8" y="62"/>
                  </a:lnTo>
                  <a:lnTo>
                    <a:pt x="39" y="67"/>
                  </a:lnTo>
                  <a:lnTo>
                    <a:pt x="42" y="71"/>
                  </a:lnTo>
                  <a:lnTo>
                    <a:pt x="45" y="75"/>
                  </a:lnTo>
                  <a:lnTo>
                    <a:pt x="49" y="78"/>
                  </a:lnTo>
                  <a:lnTo>
                    <a:pt x="53" y="81"/>
                  </a:lnTo>
                  <a:lnTo>
                    <a:pt x="59" y="82"/>
                  </a:lnTo>
                  <a:lnTo>
                    <a:pt x="65" y="83"/>
                  </a:lnTo>
                  <a:lnTo>
                    <a:pt x="65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/>
            <p:cNvSpPr>
              <a:spLocks noEditPoints="1"/>
            </p:cNvSpPr>
            <p:nvPr userDrawn="1"/>
          </p:nvSpPr>
          <p:spPr bwMode="auto">
            <a:xfrm>
              <a:off x="658" y="3757"/>
              <a:ext cx="13" cy="65"/>
            </a:xfrm>
            <a:custGeom>
              <a:avLst/>
              <a:gdLst>
                <a:gd name="T0" fmla="*/ 21 w 40"/>
                <a:gd name="T1" fmla="*/ 0 h 194"/>
                <a:gd name="T2" fmla="*/ 21 w 40"/>
                <a:gd name="T3" fmla="*/ 0 h 194"/>
                <a:gd name="T4" fmla="*/ 24 w 40"/>
                <a:gd name="T5" fmla="*/ 0 h 194"/>
                <a:gd name="T6" fmla="*/ 28 w 40"/>
                <a:gd name="T7" fmla="*/ 2 h 194"/>
                <a:gd name="T8" fmla="*/ 31 w 40"/>
                <a:gd name="T9" fmla="*/ 4 h 194"/>
                <a:gd name="T10" fmla="*/ 34 w 40"/>
                <a:gd name="T11" fmla="*/ 6 h 194"/>
                <a:gd name="T12" fmla="*/ 37 w 40"/>
                <a:gd name="T13" fmla="*/ 10 h 194"/>
                <a:gd name="T14" fmla="*/ 39 w 40"/>
                <a:gd name="T15" fmla="*/ 13 h 194"/>
                <a:gd name="T16" fmla="*/ 40 w 40"/>
                <a:gd name="T17" fmla="*/ 16 h 194"/>
                <a:gd name="T18" fmla="*/ 40 w 40"/>
                <a:gd name="T19" fmla="*/ 21 h 194"/>
                <a:gd name="T20" fmla="*/ 40 w 40"/>
                <a:gd name="T21" fmla="*/ 21 h 194"/>
                <a:gd name="T22" fmla="*/ 40 w 40"/>
                <a:gd name="T23" fmla="*/ 26 h 194"/>
                <a:gd name="T24" fmla="*/ 39 w 40"/>
                <a:gd name="T25" fmla="*/ 29 h 194"/>
                <a:gd name="T26" fmla="*/ 37 w 40"/>
                <a:gd name="T27" fmla="*/ 33 h 194"/>
                <a:gd name="T28" fmla="*/ 34 w 40"/>
                <a:gd name="T29" fmla="*/ 36 h 194"/>
                <a:gd name="T30" fmla="*/ 31 w 40"/>
                <a:gd name="T31" fmla="*/ 38 h 194"/>
                <a:gd name="T32" fmla="*/ 28 w 40"/>
                <a:gd name="T33" fmla="*/ 39 h 194"/>
                <a:gd name="T34" fmla="*/ 24 w 40"/>
                <a:gd name="T35" fmla="*/ 41 h 194"/>
                <a:gd name="T36" fmla="*/ 21 w 40"/>
                <a:gd name="T37" fmla="*/ 42 h 194"/>
                <a:gd name="T38" fmla="*/ 21 w 40"/>
                <a:gd name="T39" fmla="*/ 42 h 194"/>
                <a:gd name="T40" fmla="*/ 16 w 40"/>
                <a:gd name="T41" fmla="*/ 41 h 194"/>
                <a:gd name="T42" fmla="*/ 13 w 40"/>
                <a:gd name="T43" fmla="*/ 39 h 194"/>
                <a:gd name="T44" fmla="*/ 9 w 40"/>
                <a:gd name="T45" fmla="*/ 38 h 194"/>
                <a:gd name="T46" fmla="*/ 6 w 40"/>
                <a:gd name="T47" fmla="*/ 36 h 194"/>
                <a:gd name="T48" fmla="*/ 3 w 40"/>
                <a:gd name="T49" fmla="*/ 33 h 194"/>
                <a:gd name="T50" fmla="*/ 1 w 40"/>
                <a:gd name="T51" fmla="*/ 29 h 194"/>
                <a:gd name="T52" fmla="*/ 0 w 40"/>
                <a:gd name="T53" fmla="*/ 26 h 194"/>
                <a:gd name="T54" fmla="*/ 0 w 40"/>
                <a:gd name="T55" fmla="*/ 21 h 194"/>
                <a:gd name="T56" fmla="*/ 0 w 40"/>
                <a:gd name="T57" fmla="*/ 21 h 194"/>
                <a:gd name="T58" fmla="*/ 0 w 40"/>
                <a:gd name="T59" fmla="*/ 16 h 194"/>
                <a:gd name="T60" fmla="*/ 1 w 40"/>
                <a:gd name="T61" fmla="*/ 13 h 194"/>
                <a:gd name="T62" fmla="*/ 3 w 40"/>
                <a:gd name="T63" fmla="*/ 10 h 194"/>
                <a:gd name="T64" fmla="*/ 6 w 40"/>
                <a:gd name="T65" fmla="*/ 6 h 194"/>
                <a:gd name="T66" fmla="*/ 9 w 40"/>
                <a:gd name="T67" fmla="*/ 4 h 194"/>
                <a:gd name="T68" fmla="*/ 13 w 40"/>
                <a:gd name="T69" fmla="*/ 2 h 194"/>
                <a:gd name="T70" fmla="*/ 16 w 40"/>
                <a:gd name="T71" fmla="*/ 0 h 194"/>
                <a:gd name="T72" fmla="*/ 21 w 40"/>
                <a:gd name="T73" fmla="*/ 0 h 194"/>
                <a:gd name="T74" fmla="*/ 21 w 40"/>
                <a:gd name="T75" fmla="*/ 0 h 194"/>
                <a:gd name="T76" fmla="*/ 5 w 40"/>
                <a:gd name="T77" fmla="*/ 57 h 194"/>
                <a:gd name="T78" fmla="*/ 36 w 40"/>
                <a:gd name="T79" fmla="*/ 57 h 194"/>
                <a:gd name="T80" fmla="*/ 36 w 40"/>
                <a:gd name="T81" fmla="*/ 194 h 194"/>
                <a:gd name="T82" fmla="*/ 5 w 40"/>
                <a:gd name="T83" fmla="*/ 194 h 194"/>
                <a:gd name="T84" fmla="*/ 5 w 40"/>
                <a:gd name="T85" fmla="*/ 5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" h="194">
                  <a:moveTo>
                    <a:pt x="21" y="0"/>
                  </a:moveTo>
                  <a:lnTo>
                    <a:pt x="21" y="0"/>
                  </a:lnTo>
                  <a:lnTo>
                    <a:pt x="24" y="0"/>
                  </a:lnTo>
                  <a:lnTo>
                    <a:pt x="28" y="2"/>
                  </a:lnTo>
                  <a:lnTo>
                    <a:pt x="31" y="4"/>
                  </a:lnTo>
                  <a:lnTo>
                    <a:pt x="34" y="6"/>
                  </a:lnTo>
                  <a:lnTo>
                    <a:pt x="37" y="10"/>
                  </a:lnTo>
                  <a:lnTo>
                    <a:pt x="39" y="13"/>
                  </a:lnTo>
                  <a:lnTo>
                    <a:pt x="40" y="16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6"/>
                  </a:lnTo>
                  <a:lnTo>
                    <a:pt x="39" y="29"/>
                  </a:lnTo>
                  <a:lnTo>
                    <a:pt x="37" y="33"/>
                  </a:lnTo>
                  <a:lnTo>
                    <a:pt x="34" y="36"/>
                  </a:lnTo>
                  <a:lnTo>
                    <a:pt x="31" y="38"/>
                  </a:lnTo>
                  <a:lnTo>
                    <a:pt x="28" y="39"/>
                  </a:lnTo>
                  <a:lnTo>
                    <a:pt x="24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6" y="41"/>
                  </a:lnTo>
                  <a:lnTo>
                    <a:pt x="13" y="39"/>
                  </a:lnTo>
                  <a:lnTo>
                    <a:pt x="9" y="38"/>
                  </a:lnTo>
                  <a:lnTo>
                    <a:pt x="6" y="36"/>
                  </a:lnTo>
                  <a:lnTo>
                    <a:pt x="3" y="33"/>
                  </a:lnTo>
                  <a:lnTo>
                    <a:pt x="1" y="29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5" y="57"/>
                  </a:moveTo>
                  <a:lnTo>
                    <a:pt x="36" y="57"/>
                  </a:lnTo>
                  <a:lnTo>
                    <a:pt x="36" y="194"/>
                  </a:lnTo>
                  <a:lnTo>
                    <a:pt x="5" y="194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678" y="3775"/>
              <a:ext cx="47" cy="47"/>
            </a:xfrm>
            <a:custGeom>
              <a:avLst/>
              <a:gdLst>
                <a:gd name="T0" fmla="*/ 139 w 139"/>
                <a:gd name="T1" fmla="*/ 139 h 140"/>
                <a:gd name="T2" fmla="*/ 109 w 139"/>
                <a:gd name="T3" fmla="*/ 125 h 140"/>
                <a:gd name="T4" fmla="*/ 102 w 139"/>
                <a:gd name="T5" fmla="*/ 130 h 140"/>
                <a:gd name="T6" fmla="*/ 82 w 139"/>
                <a:gd name="T7" fmla="*/ 139 h 140"/>
                <a:gd name="T8" fmla="*/ 69 w 139"/>
                <a:gd name="T9" fmla="*/ 140 h 140"/>
                <a:gd name="T10" fmla="*/ 55 w 139"/>
                <a:gd name="T11" fmla="*/ 139 h 140"/>
                <a:gd name="T12" fmla="*/ 30 w 139"/>
                <a:gd name="T13" fmla="*/ 130 h 140"/>
                <a:gd name="T14" fmla="*/ 11 w 139"/>
                <a:gd name="T15" fmla="*/ 110 h 140"/>
                <a:gd name="T16" fmla="*/ 3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6 w 139"/>
                <a:gd name="T25" fmla="*/ 42 h 140"/>
                <a:gd name="T26" fmla="*/ 19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9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3 w 139"/>
                <a:gd name="T47" fmla="*/ 54 h 140"/>
                <a:gd name="T48" fmla="*/ 30 w 139"/>
                <a:gd name="T49" fmla="*/ 70 h 140"/>
                <a:gd name="T50" fmla="*/ 31 w 139"/>
                <a:gd name="T51" fmla="*/ 78 h 140"/>
                <a:gd name="T52" fmla="*/ 37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6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10 w 139"/>
                <a:gd name="T67" fmla="*/ 70 h 140"/>
                <a:gd name="T68" fmla="*/ 109 w 139"/>
                <a:gd name="T69" fmla="*/ 62 h 140"/>
                <a:gd name="T70" fmla="*/ 103 w 139"/>
                <a:gd name="T71" fmla="*/ 47 h 140"/>
                <a:gd name="T72" fmla="*/ 93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9" y="139"/>
                  </a:lnTo>
                  <a:lnTo>
                    <a:pt x="109" y="125"/>
                  </a:lnTo>
                  <a:lnTo>
                    <a:pt x="109" y="125"/>
                  </a:lnTo>
                  <a:lnTo>
                    <a:pt x="102" y="130"/>
                  </a:lnTo>
                  <a:lnTo>
                    <a:pt x="94" y="136"/>
                  </a:lnTo>
                  <a:lnTo>
                    <a:pt x="82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5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19" y="121"/>
                  </a:lnTo>
                  <a:lnTo>
                    <a:pt x="11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3" y="49"/>
                  </a:lnTo>
                  <a:lnTo>
                    <a:pt x="6" y="42"/>
                  </a:lnTo>
                  <a:lnTo>
                    <a:pt x="11" y="30"/>
                  </a:lnTo>
                  <a:lnTo>
                    <a:pt x="19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2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9" y="16"/>
                  </a:lnTo>
                  <a:lnTo>
                    <a:pt x="109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7" y="47"/>
                  </a:lnTo>
                  <a:lnTo>
                    <a:pt x="33" y="54"/>
                  </a:lnTo>
                  <a:lnTo>
                    <a:pt x="31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8"/>
                  </a:lnTo>
                  <a:lnTo>
                    <a:pt x="33" y="86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6" y="108"/>
                  </a:lnTo>
                  <a:lnTo>
                    <a:pt x="93" y="105"/>
                  </a:lnTo>
                  <a:lnTo>
                    <a:pt x="98" y="99"/>
                  </a:lnTo>
                  <a:lnTo>
                    <a:pt x="103" y="93"/>
                  </a:lnTo>
                  <a:lnTo>
                    <a:pt x="106" y="86"/>
                  </a:lnTo>
                  <a:lnTo>
                    <a:pt x="109" y="78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09" y="62"/>
                  </a:lnTo>
                  <a:lnTo>
                    <a:pt x="106" y="54"/>
                  </a:lnTo>
                  <a:lnTo>
                    <a:pt x="103" y="47"/>
                  </a:lnTo>
                  <a:lnTo>
                    <a:pt x="98" y="42"/>
                  </a:lnTo>
                  <a:lnTo>
                    <a:pt x="93" y="36"/>
                  </a:lnTo>
                  <a:lnTo>
                    <a:pt x="86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5"/>
            <p:cNvSpPr>
              <a:spLocks/>
            </p:cNvSpPr>
            <p:nvPr userDrawn="1"/>
          </p:nvSpPr>
          <p:spPr bwMode="auto">
            <a:xfrm>
              <a:off x="736" y="3775"/>
              <a:ext cx="40" cy="47"/>
            </a:xfrm>
            <a:custGeom>
              <a:avLst/>
              <a:gdLst>
                <a:gd name="T0" fmla="*/ 0 w 120"/>
                <a:gd name="T1" fmla="*/ 2 h 139"/>
                <a:gd name="T2" fmla="*/ 30 w 120"/>
                <a:gd name="T3" fmla="*/ 2 h 139"/>
                <a:gd name="T4" fmla="*/ 30 w 120"/>
                <a:gd name="T5" fmla="*/ 18 h 139"/>
                <a:gd name="T6" fmla="*/ 30 w 120"/>
                <a:gd name="T7" fmla="*/ 18 h 139"/>
                <a:gd name="T8" fmla="*/ 36 w 120"/>
                <a:gd name="T9" fmla="*/ 12 h 139"/>
                <a:gd name="T10" fmla="*/ 44 w 120"/>
                <a:gd name="T11" fmla="*/ 6 h 139"/>
                <a:gd name="T12" fmla="*/ 49 w 120"/>
                <a:gd name="T13" fmla="*/ 4 h 139"/>
                <a:gd name="T14" fmla="*/ 55 w 120"/>
                <a:gd name="T15" fmla="*/ 2 h 139"/>
                <a:gd name="T16" fmla="*/ 61 w 120"/>
                <a:gd name="T17" fmla="*/ 0 h 139"/>
                <a:gd name="T18" fmla="*/ 68 w 120"/>
                <a:gd name="T19" fmla="*/ 0 h 139"/>
                <a:gd name="T20" fmla="*/ 68 w 120"/>
                <a:gd name="T21" fmla="*/ 0 h 139"/>
                <a:gd name="T22" fmla="*/ 80 w 120"/>
                <a:gd name="T23" fmla="*/ 2 h 139"/>
                <a:gd name="T24" fmla="*/ 91 w 120"/>
                <a:gd name="T25" fmla="*/ 4 h 139"/>
                <a:gd name="T26" fmla="*/ 100 w 120"/>
                <a:gd name="T27" fmla="*/ 8 h 139"/>
                <a:gd name="T28" fmla="*/ 107 w 120"/>
                <a:gd name="T29" fmla="*/ 15 h 139"/>
                <a:gd name="T30" fmla="*/ 112 w 120"/>
                <a:gd name="T31" fmla="*/ 23 h 139"/>
                <a:gd name="T32" fmla="*/ 117 w 120"/>
                <a:gd name="T33" fmla="*/ 33 h 139"/>
                <a:gd name="T34" fmla="*/ 119 w 120"/>
                <a:gd name="T35" fmla="*/ 44 h 139"/>
                <a:gd name="T36" fmla="*/ 120 w 120"/>
                <a:gd name="T37" fmla="*/ 57 h 139"/>
                <a:gd name="T38" fmla="*/ 120 w 120"/>
                <a:gd name="T39" fmla="*/ 139 h 139"/>
                <a:gd name="T40" fmla="*/ 91 w 120"/>
                <a:gd name="T41" fmla="*/ 139 h 139"/>
                <a:gd name="T42" fmla="*/ 91 w 120"/>
                <a:gd name="T43" fmla="*/ 63 h 139"/>
                <a:gd name="T44" fmla="*/ 91 w 120"/>
                <a:gd name="T45" fmla="*/ 63 h 139"/>
                <a:gd name="T46" fmla="*/ 89 w 120"/>
                <a:gd name="T47" fmla="*/ 55 h 139"/>
                <a:gd name="T48" fmla="*/ 88 w 120"/>
                <a:gd name="T49" fmla="*/ 47 h 139"/>
                <a:gd name="T50" fmla="*/ 86 w 120"/>
                <a:gd name="T51" fmla="*/ 42 h 139"/>
                <a:gd name="T52" fmla="*/ 83 w 120"/>
                <a:gd name="T53" fmla="*/ 37 h 139"/>
                <a:gd name="T54" fmla="*/ 78 w 120"/>
                <a:gd name="T55" fmla="*/ 34 h 139"/>
                <a:gd name="T56" fmla="*/ 73 w 120"/>
                <a:gd name="T57" fmla="*/ 30 h 139"/>
                <a:gd name="T58" fmla="*/ 68 w 120"/>
                <a:gd name="T59" fmla="*/ 29 h 139"/>
                <a:gd name="T60" fmla="*/ 61 w 120"/>
                <a:gd name="T61" fmla="*/ 29 h 139"/>
                <a:gd name="T62" fmla="*/ 61 w 120"/>
                <a:gd name="T63" fmla="*/ 29 h 139"/>
                <a:gd name="T64" fmla="*/ 53 w 120"/>
                <a:gd name="T65" fmla="*/ 29 h 139"/>
                <a:gd name="T66" fmla="*/ 47 w 120"/>
                <a:gd name="T67" fmla="*/ 31 h 139"/>
                <a:gd name="T68" fmla="*/ 42 w 120"/>
                <a:gd name="T69" fmla="*/ 35 h 139"/>
                <a:gd name="T70" fmla="*/ 38 w 120"/>
                <a:gd name="T71" fmla="*/ 38 h 139"/>
                <a:gd name="T72" fmla="*/ 34 w 120"/>
                <a:gd name="T73" fmla="*/ 44 h 139"/>
                <a:gd name="T74" fmla="*/ 32 w 120"/>
                <a:gd name="T75" fmla="*/ 50 h 139"/>
                <a:gd name="T76" fmla="*/ 31 w 120"/>
                <a:gd name="T77" fmla="*/ 57 h 139"/>
                <a:gd name="T78" fmla="*/ 30 w 120"/>
                <a:gd name="T79" fmla="*/ 63 h 139"/>
                <a:gd name="T80" fmla="*/ 30 w 120"/>
                <a:gd name="T81" fmla="*/ 139 h 139"/>
                <a:gd name="T82" fmla="*/ 0 w 120"/>
                <a:gd name="T83" fmla="*/ 139 h 139"/>
                <a:gd name="T84" fmla="*/ 0 w 120"/>
                <a:gd name="T85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" h="139">
                  <a:moveTo>
                    <a:pt x="0" y="2"/>
                  </a:moveTo>
                  <a:lnTo>
                    <a:pt x="30" y="2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1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80" y="2"/>
                  </a:lnTo>
                  <a:lnTo>
                    <a:pt x="91" y="4"/>
                  </a:lnTo>
                  <a:lnTo>
                    <a:pt x="100" y="8"/>
                  </a:lnTo>
                  <a:lnTo>
                    <a:pt x="107" y="15"/>
                  </a:lnTo>
                  <a:lnTo>
                    <a:pt x="112" y="23"/>
                  </a:lnTo>
                  <a:lnTo>
                    <a:pt x="117" y="33"/>
                  </a:lnTo>
                  <a:lnTo>
                    <a:pt x="119" y="44"/>
                  </a:lnTo>
                  <a:lnTo>
                    <a:pt x="120" y="57"/>
                  </a:lnTo>
                  <a:lnTo>
                    <a:pt x="120" y="139"/>
                  </a:lnTo>
                  <a:lnTo>
                    <a:pt x="91" y="139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89" y="55"/>
                  </a:lnTo>
                  <a:lnTo>
                    <a:pt x="88" y="47"/>
                  </a:lnTo>
                  <a:lnTo>
                    <a:pt x="86" y="42"/>
                  </a:lnTo>
                  <a:lnTo>
                    <a:pt x="83" y="37"/>
                  </a:lnTo>
                  <a:lnTo>
                    <a:pt x="78" y="34"/>
                  </a:lnTo>
                  <a:lnTo>
                    <a:pt x="73" y="30"/>
                  </a:lnTo>
                  <a:lnTo>
                    <a:pt x="68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53" y="29"/>
                  </a:lnTo>
                  <a:lnTo>
                    <a:pt x="47" y="31"/>
                  </a:lnTo>
                  <a:lnTo>
                    <a:pt x="42" y="35"/>
                  </a:lnTo>
                  <a:lnTo>
                    <a:pt x="38" y="38"/>
                  </a:lnTo>
                  <a:lnTo>
                    <a:pt x="34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 userDrawn="1"/>
          </p:nvSpPr>
          <p:spPr bwMode="auto">
            <a:xfrm>
              <a:off x="816" y="3758"/>
              <a:ext cx="42" cy="64"/>
            </a:xfrm>
            <a:custGeom>
              <a:avLst/>
              <a:gdLst>
                <a:gd name="T0" fmla="*/ 0 w 126"/>
                <a:gd name="T1" fmla="*/ 0 h 192"/>
                <a:gd name="T2" fmla="*/ 35 w 126"/>
                <a:gd name="T3" fmla="*/ 0 h 192"/>
                <a:gd name="T4" fmla="*/ 97 w 126"/>
                <a:gd name="T5" fmla="*/ 133 h 192"/>
                <a:gd name="T6" fmla="*/ 97 w 126"/>
                <a:gd name="T7" fmla="*/ 0 h 192"/>
                <a:gd name="T8" fmla="*/ 126 w 126"/>
                <a:gd name="T9" fmla="*/ 0 h 192"/>
                <a:gd name="T10" fmla="*/ 126 w 126"/>
                <a:gd name="T11" fmla="*/ 192 h 192"/>
                <a:gd name="T12" fmla="*/ 93 w 126"/>
                <a:gd name="T13" fmla="*/ 192 h 192"/>
                <a:gd name="T14" fmla="*/ 31 w 126"/>
                <a:gd name="T15" fmla="*/ 60 h 192"/>
                <a:gd name="T16" fmla="*/ 31 w 126"/>
                <a:gd name="T17" fmla="*/ 192 h 192"/>
                <a:gd name="T18" fmla="*/ 0 w 126"/>
                <a:gd name="T19" fmla="*/ 192 h 192"/>
                <a:gd name="T20" fmla="*/ 0 w 126"/>
                <a:gd name="T2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92">
                  <a:moveTo>
                    <a:pt x="0" y="0"/>
                  </a:moveTo>
                  <a:lnTo>
                    <a:pt x="35" y="0"/>
                  </a:lnTo>
                  <a:lnTo>
                    <a:pt x="97" y="133"/>
                  </a:lnTo>
                  <a:lnTo>
                    <a:pt x="97" y="0"/>
                  </a:lnTo>
                  <a:lnTo>
                    <a:pt x="126" y="0"/>
                  </a:lnTo>
                  <a:lnTo>
                    <a:pt x="126" y="192"/>
                  </a:lnTo>
                  <a:lnTo>
                    <a:pt x="93" y="192"/>
                  </a:lnTo>
                  <a:lnTo>
                    <a:pt x="31" y="60"/>
                  </a:lnTo>
                  <a:lnTo>
                    <a:pt x="31" y="192"/>
                  </a:lnTo>
                  <a:lnTo>
                    <a:pt x="0" y="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auto">
            <a:xfrm>
              <a:off x="871" y="3776"/>
              <a:ext cx="40" cy="46"/>
            </a:xfrm>
            <a:custGeom>
              <a:avLst/>
              <a:gdLst>
                <a:gd name="T0" fmla="*/ 121 w 121"/>
                <a:gd name="T1" fmla="*/ 137 h 138"/>
                <a:gd name="T2" fmla="*/ 91 w 121"/>
                <a:gd name="T3" fmla="*/ 137 h 138"/>
                <a:gd name="T4" fmla="*/ 91 w 121"/>
                <a:gd name="T5" fmla="*/ 121 h 138"/>
                <a:gd name="T6" fmla="*/ 91 w 121"/>
                <a:gd name="T7" fmla="*/ 121 h 138"/>
                <a:gd name="T8" fmla="*/ 84 w 121"/>
                <a:gd name="T9" fmla="*/ 128 h 138"/>
                <a:gd name="T10" fmla="*/ 76 w 121"/>
                <a:gd name="T11" fmla="*/ 134 h 138"/>
                <a:gd name="T12" fmla="*/ 71 w 121"/>
                <a:gd name="T13" fmla="*/ 136 h 138"/>
                <a:gd name="T14" fmla="*/ 66 w 121"/>
                <a:gd name="T15" fmla="*/ 137 h 138"/>
                <a:gd name="T16" fmla="*/ 60 w 121"/>
                <a:gd name="T17" fmla="*/ 138 h 138"/>
                <a:gd name="T18" fmla="*/ 53 w 121"/>
                <a:gd name="T19" fmla="*/ 138 h 138"/>
                <a:gd name="T20" fmla="*/ 53 w 121"/>
                <a:gd name="T21" fmla="*/ 138 h 138"/>
                <a:gd name="T22" fmla="*/ 40 w 121"/>
                <a:gd name="T23" fmla="*/ 138 h 138"/>
                <a:gd name="T24" fmla="*/ 30 w 121"/>
                <a:gd name="T25" fmla="*/ 135 h 138"/>
                <a:gd name="T26" fmla="*/ 21 w 121"/>
                <a:gd name="T27" fmla="*/ 130 h 138"/>
                <a:gd name="T28" fmla="*/ 14 w 121"/>
                <a:gd name="T29" fmla="*/ 124 h 138"/>
                <a:gd name="T30" fmla="*/ 7 w 121"/>
                <a:gd name="T31" fmla="*/ 116 h 138"/>
                <a:gd name="T32" fmla="*/ 4 w 121"/>
                <a:gd name="T33" fmla="*/ 106 h 138"/>
                <a:gd name="T34" fmla="*/ 0 w 121"/>
                <a:gd name="T35" fmla="*/ 95 h 138"/>
                <a:gd name="T36" fmla="*/ 0 w 121"/>
                <a:gd name="T37" fmla="*/ 82 h 138"/>
                <a:gd name="T38" fmla="*/ 0 w 121"/>
                <a:gd name="T39" fmla="*/ 0 h 138"/>
                <a:gd name="T40" fmla="*/ 30 w 121"/>
                <a:gd name="T41" fmla="*/ 0 h 138"/>
                <a:gd name="T42" fmla="*/ 30 w 121"/>
                <a:gd name="T43" fmla="*/ 75 h 138"/>
                <a:gd name="T44" fmla="*/ 30 w 121"/>
                <a:gd name="T45" fmla="*/ 75 h 138"/>
                <a:gd name="T46" fmla="*/ 30 w 121"/>
                <a:gd name="T47" fmla="*/ 84 h 138"/>
                <a:gd name="T48" fmla="*/ 32 w 121"/>
                <a:gd name="T49" fmla="*/ 91 h 138"/>
                <a:gd name="T50" fmla="*/ 35 w 121"/>
                <a:gd name="T51" fmla="*/ 97 h 138"/>
                <a:gd name="T52" fmla="*/ 38 w 121"/>
                <a:gd name="T53" fmla="*/ 102 h 138"/>
                <a:gd name="T54" fmla="*/ 42 w 121"/>
                <a:gd name="T55" fmla="*/ 106 h 138"/>
                <a:gd name="T56" fmla="*/ 47 w 121"/>
                <a:gd name="T57" fmla="*/ 108 h 138"/>
                <a:gd name="T58" fmla="*/ 53 w 121"/>
                <a:gd name="T59" fmla="*/ 110 h 138"/>
                <a:gd name="T60" fmla="*/ 60 w 121"/>
                <a:gd name="T61" fmla="*/ 111 h 138"/>
                <a:gd name="T62" fmla="*/ 60 w 121"/>
                <a:gd name="T63" fmla="*/ 111 h 138"/>
                <a:gd name="T64" fmla="*/ 67 w 121"/>
                <a:gd name="T65" fmla="*/ 110 h 138"/>
                <a:gd name="T66" fmla="*/ 74 w 121"/>
                <a:gd name="T67" fmla="*/ 107 h 138"/>
                <a:gd name="T68" fmla="*/ 78 w 121"/>
                <a:gd name="T69" fmla="*/ 105 h 138"/>
                <a:gd name="T70" fmla="*/ 83 w 121"/>
                <a:gd name="T71" fmla="*/ 100 h 138"/>
                <a:gd name="T72" fmla="*/ 86 w 121"/>
                <a:gd name="T73" fmla="*/ 96 h 138"/>
                <a:gd name="T74" fmla="*/ 89 w 121"/>
                <a:gd name="T75" fmla="*/ 90 h 138"/>
                <a:gd name="T76" fmla="*/ 90 w 121"/>
                <a:gd name="T77" fmla="*/ 83 h 138"/>
                <a:gd name="T78" fmla="*/ 91 w 121"/>
                <a:gd name="T79" fmla="*/ 75 h 138"/>
                <a:gd name="T80" fmla="*/ 91 w 121"/>
                <a:gd name="T81" fmla="*/ 0 h 138"/>
                <a:gd name="T82" fmla="*/ 121 w 121"/>
                <a:gd name="T83" fmla="*/ 0 h 138"/>
                <a:gd name="T84" fmla="*/ 121 w 121"/>
                <a:gd name="T85" fmla="*/ 13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38">
                  <a:moveTo>
                    <a:pt x="121" y="137"/>
                  </a:moveTo>
                  <a:lnTo>
                    <a:pt x="91" y="137"/>
                  </a:lnTo>
                  <a:lnTo>
                    <a:pt x="91" y="121"/>
                  </a:lnTo>
                  <a:lnTo>
                    <a:pt x="91" y="121"/>
                  </a:lnTo>
                  <a:lnTo>
                    <a:pt x="84" y="128"/>
                  </a:lnTo>
                  <a:lnTo>
                    <a:pt x="76" y="134"/>
                  </a:lnTo>
                  <a:lnTo>
                    <a:pt x="71" y="136"/>
                  </a:lnTo>
                  <a:lnTo>
                    <a:pt x="66" y="137"/>
                  </a:lnTo>
                  <a:lnTo>
                    <a:pt x="60" y="138"/>
                  </a:lnTo>
                  <a:lnTo>
                    <a:pt x="53" y="138"/>
                  </a:lnTo>
                  <a:lnTo>
                    <a:pt x="53" y="138"/>
                  </a:lnTo>
                  <a:lnTo>
                    <a:pt x="40" y="138"/>
                  </a:lnTo>
                  <a:lnTo>
                    <a:pt x="30" y="135"/>
                  </a:lnTo>
                  <a:lnTo>
                    <a:pt x="21" y="130"/>
                  </a:lnTo>
                  <a:lnTo>
                    <a:pt x="14" y="124"/>
                  </a:lnTo>
                  <a:lnTo>
                    <a:pt x="7" y="116"/>
                  </a:lnTo>
                  <a:lnTo>
                    <a:pt x="4" y="106"/>
                  </a:lnTo>
                  <a:lnTo>
                    <a:pt x="0" y="95"/>
                  </a:lnTo>
                  <a:lnTo>
                    <a:pt x="0" y="82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84"/>
                  </a:lnTo>
                  <a:lnTo>
                    <a:pt x="32" y="91"/>
                  </a:lnTo>
                  <a:lnTo>
                    <a:pt x="35" y="97"/>
                  </a:lnTo>
                  <a:lnTo>
                    <a:pt x="38" y="102"/>
                  </a:lnTo>
                  <a:lnTo>
                    <a:pt x="42" y="106"/>
                  </a:lnTo>
                  <a:lnTo>
                    <a:pt x="47" y="108"/>
                  </a:lnTo>
                  <a:lnTo>
                    <a:pt x="53" y="110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67" y="110"/>
                  </a:lnTo>
                  <a:lnTo>
                    <a:pt x="74" y="107"/>
                  </a:lnTo>
                  <a:lnTo>
                    <a:pt x="78" y="105"/>
                  </a:lnTo>
                  <a:lnTo>
                    <a:pt x="83" y="100"/>
                  </a:lnTo>
                  <a:lnTo>
                    <a:pt x="86" y="96"/>
                  </a:lnTo>
                  <a:lnTo>
                    <a:pt x="89" y="90"/>
                  </a:lnTo>
                  <a:lnTo>
                    <a:pt x="90" y="83"/>
                  </a:lnTo>
                  <a:lnTo>
                    <a:pt x="91" y="75"/>
                  </a:lnTo>
                  <a:lnTo>
                    <a:pt x="91" y="0"/>
                  </a:lnTo>
                  <a:lnTo>
                    <a:pt x="121" y="0"/>
                  </a:lnTo>
                  <a:lnTo>
                    <a:pt x="121" y="1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auto">
            <a:xfrm>
              <a:off x="921" y="3775"/>
              <a:ext cx="47" cy="47"/>
            </a:xfrm>
            <a:custGeom>
              <a:avLst/>
              <a:gdLst>
                <a:gd name="T0" fmla="*/ 71 w 141"/>
                <a:gd name="T1" fmla="*/ 113 h 140"/>
                <a:gd name="T2" fmla="*/ 87 w 141"/>
                <a:gd name="T3" fmla="*/ 109 h 140"/>
                <a:gd name="T4" fmla="*/ 100 w 141"/>
                <a:gd name="T5" fmla="*/ 100 h 140"/>
                <a:gd name="T6" fmla="*/ 108 w 141"/>
                <a:gd name="T7" fmla="*/ 88 h 140"/>
                <a:gd name="T8" fmla="*/ 110 w 141"/>
                <a:gd name="T9" fmla="*/ 70 h 140"/>
                <a:gd name="T10" fmla="*/ 141 w 141"/>
                <a:gd name="T11" fmla="*/ 70 h 140"/>
                <a:gd name="T12" fmla="*/ 139 w 141"/>
                <a:gd name="T13" fmla="*/ 85 h 140"/>
                <a:gd name="T14" fmla="*/ 136 w 141"/>
                <a:gd name="T15" fmla="*/ 98 h 140"/>
                <a:gd name="T16" fmla="*/ 121 w 141"/>
                <a:gd name="T17" fmla="*/ 121 h 140"/>
                <a:gd name="T18" fmla="*/ 99 w 141"/>
                <a:gd name="T19" fmla="*/ 136 h 140"/>
                <a:gd name="T20" fmla="*/ 85 w 141"/>
                <a:gd name="T21" fmla="*/ 139 h 140"/>
                <a:gd name="T22" fmla="*/ 71 w 141"/>
                <a:gd name="T23" fmla="*/ 140 h 140"/>
                <a:gd name="T24" fmla="*/ 63 w 141"/>
                <a:gd name="T25" fmla="*/ 140 h 140"/>
                <a:gd name="T26" fmla="*/ 50 w 141"/>
                <a:gd name="T27" fmla="*/ 138 h 140"/>
                <a:gd name="T28" fmla="*/ 31 w 141"/>
                <a:gd name="T29" fmla="*/ 129 h 140"/>
                <a:gd name="T30" fmla="*/ 12 w 141"/>
                <a:gd name="T31" fmla="*/ 110 h 140"/>
                <a:gd name="T32" fmla="*/ 4 w 141"/>
                <a:gd name="T33" fmla="*/ 92 h 140"/>
                <a:gd name="T34" fmla="*/ 2 w 141"/>
                <a:gd name="T35" fmla="*/ 78 h 140"/>
                <a:gd name="T36" fmla="*/ 0 w 141"/>
                <a:gd name="T37" fmla="*/ 70 h 140"/>
                <a:gd name="T38" fmla="*/ 2 w 141"/>
                <a:gd name="T39" fmla="*/ 55 h 140"/>
                <a:gd name="T40" fmla="*/ 6 w 141"/>
                <a:gd name="T41" fmla="*/ 43 h 140"/>
                <a:gd name="T42" fmla="*/ 21 w 141"/>
                <a:gd name="T43" fmla="*/ 20 h 140"/>
                <a:gd name="T44" fmla="*/ 43 w 141"/>
                <a:gd name="T45" fmla="*/ 5 h 140"/>
                <a:gd name="T46" fmla="*/ 57 w 141"/>
                <a:gd name="T47" fmla="*/ 2 h 140"/>
                <a:gd name="T48" fmla="*/ 71 w 141"/>
                <a:gd name="T49" fmla="*/ 0 h 140"/>
                <a:gd name="T50" fmla="*/ 78 w 141"/>
                <a:gd name="T51" fmla="*/ 0 h 140"/>
                <a:gd name="T52" fmla="*/ 93 w 141"/>
                <a:gd name="T53" fmla="*/ 4 h 140"/>
                <a:gd name="T54" fmla="*/ 106 w 141"/>
                <a:gd name="T55" fmla="*/ 8 h 140"/>
                <a:gd name="T56" fmla="*/ 121 w 141"/>
                <a:gd name="T57" fmla="*/ 21 h 140"/>
                <a:gd name="T58" fmla="*/ 99 w 141"/>
                <a:gd name="T59" fmla="*/ 41 h 140"/>
                <a:gd name="T60" fmla="*/ 86 w 141"/>
                <a:gd name="T61" fmla="*/ 33 h 140"/>
                <a:gd name="T62" fmla="*/ 71 w 141"/>
                <a:gd name="T63" fmla="*/ 29 h 140"/>
                <a:gd name="T64" fmla="*/ 62 w 141"/>
                <a:gd name="T65" fmla="*/ 29 h 140"/>
                <a:gd name="T66" fmla="*/ 48 w 141"/>
                <a:gd name="T67" fmla="*/ 36 h 140"/>
                <a:gd name="T68" fmla="*/ 38 w 141"/>
                <a:gd name="T69" fmla="*/ 46 h 140"/>
                <a:gd name="T70" fmla="*/ 32 w 141"/>
                <a:gd name="T71" fmla="*/ 61 h 140"/>
                <a:gd name="T72" fmla="*/ 31 w 141"/>
                <a:gd name="T73" fmla="*/ 70 h 140"/>
                <a:gd name="T74" fmla="*/ 35 w 141"/>
                <a:gd name="T75" fmla="*/ 88 h 140"/>
                <a:gd name="T76" fmla="*/ 43 w 141"/>
                <a:gd name="T77" fmla="*/ 100 h 140"/>
                <a:gd name="T78" fmla="*/ 54 w 141"/>
                <a:gd name="T79" fmla="*/ 109 h 140"/>
                <a:gd name="T80" fmla="*/ 71 w 141"/>
                <a:gd name="T81" fmla="*/ 11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0">
                  <a:moveTo>
                    <a:pt x="71" y="113"/>
                  </a:moveTo>
                  <a:lnTo>
                    <a:pt x="71" y="113"/>
                  </a:lnTo>
                  <a:lnTo>
                    <a:pt x="79" y="112"/>
                  </a:lnTo>
                  <a:lnTo>
                    <a:pt x="87" y="109"/>
                  </a:lnTo>
                  <a:lnTo>
                    <a:pt x="94" y="106"/>
                  </a:lnTo>
                  <a:lnTo>
                    <a:pt x="100" y="100"/>
                  </a:lnTo>
                  <a:lnTo>
                    <a:pt x="105" y="94"/>
                  </a:lnTo>
                  <a:lnTo>
                    <a:pt x="108" y="88"/>
                  </a:lnTo>
                  <a:lnTo>
                    <a:pt x="110" y="80"/>
                  </a:lnTo>
                  <a:lnTo>
                    <a:pt x="110" y="70"/>
                  </a:lnTo>
                  <a:lnTo>
                    <a:pt x="141" y="70"/>
                  </a:lnTo>
                  <a:lnTo>
                    <a:pt x="141" y="70"/>
                  </a:lnTo>
                  <a:lnTo>
                    <a:pt x="140" y="78"/>
                  </a:lnTo>
                  <a:lnTo>
                    <a:pt x="139" y="85"/>
                  </a:lnTo>
                  <a:lnTo>
                    <a:pt x="138" y="92"/>
                  </a:lnTo>
                  <a:lnTo>
                    <a:pt x="136" y="98"/>
                  </a:lnTo>
                  <a:lnTo>
                    <a:pt x="129" y="110"/>
                  </a:lnTo>
                  <a:lnTo>
                    <a:pt x="121" y="121"/>
                  </a:lnTo>
                  <a:lnTo>
                    <a:pt x="110" y="129"/>
                  </a:lnTo>
                  <a:lnTo>
                    <a:pt x="99" y="136"/>
                  </a:lnTo>
                  <a:lnTo>
                    <a:pt x="92" y="138"/>
                  </a:lnTo>
                  <a:lnTo>
                    <a:pt x="85" y="139"/>
                  </a:lnTo>
                  <a:lnTo>
                    <a:pt x="78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7" y="139"/>
                  </a:lnTo>
                  <a:lnTo>
                    <a:pt x="50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2" y="110"/>
                  </a:lnTo>
                  <a:lnTo>
                    <a:pt x="6" y="99"/>
                  </a:lnTo>
                  <a:lnTo>
                    <a:pt x="4" y="92"/>
                  </a:lnTo>
                  <a:lnTo>
                    <a:pt x="2" y="85"/>
                  </a:lnTo>
                  <a:lnTo>
                    <a:pt x="2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63"/>
                  </a:lnTo>
                  <a:lnTo>
                    <a:pt x="2" y="55"/>
                  </a:lnTo>
                  <a:lnTo>
                    <a:pt x="4" y="49"/>
                  </a:lnTo>
                  <a:lnTo>
                    <a:pt x="6" y="43"/>
                  </a:lnTo>
                  <a:lnTo>
                    <a:pt x="12" y="30"/>
                  </a:lnTo>
                  <a:lnTo>
                    <a:pt x="21" y="20"/>
                  </a:lnTo>
                  <a:lnTo>
                    <a:pt x="31" y="12"/>
                  </a:lnTo>
                  <a:lnTo>
                    <a:pt x="43" y="5"/>
                  </a:lnTo>
                  <a:lnTo>
                    <a:pt x="50" y="3"/>
                  </a:lnTo>
                  <a:lnTo>
                    <a:pt x="57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4"/>
                  </a:lnTo>
                  <a:lnTo>
                    <a:pt x="99" y="6"/>
                  </a:lnTo>
                  <a:lnTo>
                    <a:pt x="106" y="8"/>
                  </a:lnTo>
                  <a:lnTo>
                    <a:pt x="112" y="12"/>
                  </a:lnTo>
                  <a:lnTo>
                    <a:pt x="121" y="2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3" y="36"/>
                  </a:lnTo>
                  <a:lnTo>
                    <a:pt x="86" y="33"/>
                  </a:lnTo>
                  <a:lnTo>
                    <a:pt x="79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62" y="29"/>
                  </a:lnTo>
                  <a:lnTo>
                    <a:pt x="54" y="31"/>
                  </a:lnTo>
                  <a:lnTo>
                    <a:pt x="48" y="36"/>
                  </a:lnTo>
                  <a:lnTo>
                    <a:pt x="43" y="41"/>
                  </a:lnTo>
                  <a:lnTo>
                    <a:pt x="38" y="46"/>
                  </a:lnTo>
                  <a:lnTo>
                    <a:pt x="35" y="53"/>
                  </a:lnTo>
                  <a:lnTo>
                    <a:pt x="32" y="61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2" y="80"/>
                  </a:lnTo>
                  <a:lnTo>
                    <a:pt x="35" y="88"/>
                  </a:lnTo>
                  <a:lnTo>
                    <a:pt x="38" y="94"/>
                  </a:lnTo>
                  <a:lnTo>
                    <a:pt x="43" y="100"/>
                  </a:lnTo>
                  <a:lnTo>
                    <a:pt x="48" y="106"/>
                  </a:lnTo>
                  <a:lnTo>
                    <a:pt x="54" y="109"/>
                  </a:lnTo>
                  <a:lnTo>
                    <a:pt x="62" y="112"/>
                  </a:lnTo>
                  <a:lnTo>
                    <a:pt x="71" y="113"/>
                  </a:lnTo>
                  <a:lnTo>
                    <a:pt x="71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9"/>
            <p:cNvSpPr>
              <a:spLocks/>
            </p:cNvSpPr>
            <p:nvPr userDrawn="1"/>
          </p:nvSpPr>
          <p:spPr bwMode="auto">
            <a:xfrm>
              <a:off x="976" y="3756"/>
              <a:ext cx="10" cy="66"/>
            </a:xfrm>
            <a:custGeom>
              <a:avLst/>
              <a:gdLst>
                <a:gd name="T0" fmla="*/ 0 w 30"/>
                <a:gd name="T1" fmla="*/ 4 h 196"/>
                <a:gd name="T2" fmla="*/ 30 w 30"/>
                <a:gd name="T3" fmla="*/ 0 h 196"/>
                <a:gd name="T4" fmla="*/ 30 w 30"/>
                <a:gd name="T5" fmla="*/ 196 h 196"/>
                <a:gd name="T6" fmla="*/ 0 w 30"/>
                <a:gd name="T7" fmla="*/ 196 h 196"/>
                <a:gd name="T8" fmla="*/ 0 w 30"/>
                <a:gd name="T9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6">
                  <a:moveTo>
                    <a:pt x="0" y="4"/>
                  </a:moveTo>
                  <a:lnTo>
                    <a:pt x="30" y="0"/>
                  </a:lnTo>
                  <a:lnTo>
                    <a:pt x="30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6" name="Freeform 30"/>
            <p:cNvSpPr>
              <a:spLocks noEditPoints="1"/>
            </p:cNvSpPr>
            <p:nvPr userDrawn="1"/>
          </p:nvSpPr>
          <p:spPr bwMode="auto">
            <a:xfrm>
              <a:off x="996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6 w 140"/>
                <a:gd name="T5" fmla="*/ 104 h 140"/>
                <a:gd name="T6" fmla="*/ 57 w 140"/>
                <a:gd name="T7" fmla="*/ 109 h 140"/>
                <a:gd name="T8" fmla="*/ 71 w 140"/>
                <a:gd name="T9" fmla="*/ 113 h 140"/>
                <a:gd name="T10" fmla="*/ 81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4 w 140"/>
                <a:gd name="T17" fmla="*/ 108 h 140"/>
                <a:gd name="T18" fmla="*/ 121 w 140"/>
                <a:gd name="T19" fmla="*/ 123 h 140"/>
                <a:gd name="T20" fmla="*/ 103 w 140"/>
                <a:gd name="T21" fmla="*/ 135 h 140"/>
                <a:gd name="T22" fmla="*/ 82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3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2 w 140"/>
                <a:gd name="T35" fmla="*/ 85 h 140"/>
                <a:gd name="T36" fmla="*/ 0 w 140"/>
                <a:gd name="T37" fmla="*/ 70 h 140"/>
                <a:gd name="T38" fmla="*/ 1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6 w 140"/>
                <a:gd name="T47" fmla="*/ 2 h 140"/>
                <a:gd name="T48" fmla="*/ 70 w 140"/>
                <a:gd name="T49" fmla="*/ 0 h 140"/>
                <a:gd name="T50" fmla="*/ 78 w 140"/>
                <a:gd name="T51" fmla="*/ 0 h 140"/>
                <a:gd name="T52" fmla="*/ 92 w 140"/>
                <a:gd name="T53" fmla="*/ 4 h 140"/>
                <a:gd name="T54" fmla="*/ 109 w 140"/>
                <a:gd name="T55" fmla="*/ 12 h 140"/>
                <a:gd name="T56" fmla="*/ 128 w 140"/>
                <a:gd name="T57" fmla="*/ 31 h 140"/>
                <a:gd name="T58" fmla="*/ 139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2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4 w 140"/>
                <a:gd name="T77" fmla="*/ 29 h 140"/>
                <a:gd name="T78" fmla="*/ 53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4" y="88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6" y="104"/>
                  </a:lnTo>
                  <a:lnTo>
                    <a:pt x="50" y="107"/>
                  </a:lnTo>
                  <a:lnTo>
                    <a:pt x="57" y="109"/>
                  </a:lnTo>
                  <a:lnTo>
                    <a:pt x="64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1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4" y="108"/>
                  </a:lnTo>
                  <a:lnTo>
                    <a:pt x="128" y="116"/>
                  </a:lnTo>
                  <a:lnTo>
                    <a:pt x="121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4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3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2" y="85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63"/>
                  </a:lnTo>
                  <a:lnTo>
                    <a:pt x="2" y="57"/>
                  </a:lnTo>
                  <a:lnTo>
                    <a:pt x="6" y="43"/>
                  </a:lnTo>
                  <a:lnTo>
                    <a:pt x="13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2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8" y="31"/>
                  </a:lnTo>
                  <a:lnTo>
                    <a:pt x="134" y="43"/>
                  </a:lnTo>
                  <a:lnTo>
                    <a:pt x="139" y="57"/>
                  </a:lnTo>
                  <a:lnTo>
                    <a:pt x="140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2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7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4" y="29"/>
                  </a:lnTo>
                  <a:lnTo>
                    <a:pt x="57" y="30"/>
                  </a:lnTo>
                  <a:lnTo>
                    <a:pt x="53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9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7" name="Freeform 31"/>
            <p:cNvSpPr>
              <a:spLocks noEditPoints="1"/>
            </p:cNvSpPr>
            <p:nvPr userDrawn="1"/>
          </p:nvSpPr>
          <p:spPr bwMode="auto">
            <a:xfrm>
              <a:off x="1049" y="3775"/>
              <a:ext cx="46" cy="47"/>
            </a:xfrm>
            <a:custGeom>
              <a:avLst/>
              <a:gdLst>
                <a:gd name="T0" fmla="*/ 139 w 139"/>
                <a:gd name="T1" fmla="*/ 139 h 140"/>
                <a:gd name="T2" fmla="*/ 108 w 139"/>
                <a:gd name="T3" fmla="*/ 125 h 140"/>
                <a:gd name="T4" fmla="*/ 102 w 139"/>
                <a:gd name="T5" fmla="*/ 130 h 140"/>
                <a:gd name="T6" fmla="*/ 81 w 139"/>
                <a:gd name="T7" fmla="*/ 139 h 140"/>
                <a:gd name="T8" fmla="*/ 69 w 139"/>
                <a:gd name="T9" fmla="*/ 140 h 140"/>
                <a:gd name="T10" fmla="*/ 54 w 139"/>
                <a:gd name="T11" fmla="*/ 139 h 140"/>
                <a:gd name="T12" fmla="*/ 30 w 139"/>
                <a:gd name="T13" fmla="*/ 130 h 140"/>
                <a:gd name="T14" fmla="*/ 12 w 139"/>
                <a:gd name="T15" fmla="*/ 110 h 140"/>
                <a:gd name="T16" fmla="*/ 2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5 w 139"/>
                <a:gd name="T25" fmla="*/ 42 h 140"/>
                <a:gd name="T26" fmla="*/ 20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8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2 w 139"/>
                <a:gd name="T47" fmla="*/ 54 h 140"/>
                <a:gd name="T48" fmla="*/ 30 w 139"/>
                <a:gd name="T49" fmla="*/ 70 h 140"/>
                <a:gd name="T50" fmla="*/ 30 w 139"/>
                <a:gd name="T51" fmla="*/ 78 h 140"/>
                <a:gd name="T52" fmla="*/ 36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5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09 w 139"/>
                <a:gd name="T67" fmla="*/ 70 h 140"/>
                <a:gd name="T68" fmla="*/ 108 w 139"/>
                <a:gd name="T69" fmla="*/ 62 h 140"/>
                <a:gd name="T70" fmla="*/ 102 w 139"/>
                <a:gd name="T71" fmla="*/ 47 h 140"/>
                <a:gd name="T72" fmla="*/ 92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8" y="139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2" y="130"/>
                  </a:lnTo>
                  <a:lnTo>
                    <a:pt x="93" y="136"/>
                  </a:lnTo>
                  <a:lnTo>
                    <a:pt x="81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4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20" y="121"/>
                  </a:lnTo>
                  <a:lnTo>
                    <a:pt x="12" y="110"/>
                  </a:lnTo>
                  <a:lnTo>
                    <a:pt x="5" y="99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2" y="49"/>
                  </a:lnTo>
                  <a:lnTo>
                    <a:pt x="5" y="42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4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1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8" y="16"/>
                  </a:lnTo>
                  <a:lnTo>
                    <a:pt x="108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6" y="47"/>
                  </a:lnTo>
                  <a:lnTo>
                    <a:pt x="32" y="54"/>
                  </a:lnTo>
                  <a:lnTo>
                    <a:pt x="30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8"/>
                  </a:lnTo>
                  <a:lnTo>
                    <a:pt x="32" y="86"/>
                  </a:lnTo>
                  <a:lnTo>
                    <a:pt x="36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5" y="108"/>
                  </a:lnTo>
                  <a:lnTo>
                    <a:pt x="92" y="105"/>
                  </a:lnTo>
                  <a:lnTo>
                    <a:pt x="98" y="99"/>
                  </a:lnTo>
                  <a:lnTo>
                    <a:pt x="102" y="93"/>
                  </a:lnTo>
                  <a:lnTo>
                    <a:pt x="106" y="86"/>
                  </a:lnTo>
                  <a:lnTo>
                    <a:pt x="108" y="78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8" y="62"/>
                  </a:lnTo>
                  <a:lnTo>
                    <a:pt x="106" y="54"/>
                  </a:lnTo>
                  <a:lnTo>
                    <a:pt x="102" y="47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5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8" name="Freeform 32"/>
            <p:cNvSpPr>
              <a:spLocks/>
            </p:cNvSpPr>
            <p:nvPr userDrawn="1"/>
          </p:nvSpPr>
          <p:spPr bwMode="auto">
            <a:xfrm>
              <a:off x="1106" y="3775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30 w 65"/>
                <a:gd name="T3" fmla="*/ 2 h 139"/>
                <a:gd name="T4" fmla="*/ 30 w 65"/>
                <a:gd name="T5" fmla="*/ 16 h 139"/>
                <a:gd name="T6" fmla="*/ 30 w 65"/>
                <a:gd name="T7" fmla="*/ 16 h 139"/>
                <a:gd name="T8" fmla="*/ 36 w 65"/>
                <a:gd name="T9" fmla="*/ 10 h 139"/>
                <a:gd name="T10" fmla="*/ 44 w 65"/>
                <a:gd name="T11" fmla="*/ 5 h 139"/>
                <a:gd name="T12" fmla="*/ 47 w 65"/>
                <a:gd name="T13" fmla="*/ 3 h 139"/>
                <a:gd name="T14" fmla="*/ 53 w 65"/>
                <a:gd name="T15" fmla="*/ 2 h 139"/>
                <a:gd name="T16" fmla="*/ 58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49 w 65"/>
                <a:gd name="T29" fmla="*/ 31 h 139"/>
                <a:gd name="T30" fmla="*/ 44 w 65"/>
                <a:gd name="T31" fmla="*/ 35 h 139"/>
                <a:gd name="T32" fmla="*/ 39 w 65"/>
                <a:gd name="T33" fmla="*/ 38 h 139"/>
                <a:gd name="T34" fmla="*/ 36 w 65"/>
                <a:gd name="T35" fmla="*/ 44 h 139"/>
                <a:gd name="T36" fmla="*/ 32 w 65"/>
                <a:gd name="T37" fmla="*/ 50 h 139"/>
                <a:gd name="T38" fmla="*/ 31 w 65"/>
                <a:gd name="T39" fmla="*/ 57 h 139"/>
                <a:gd name="T40" fmla="*/ 30 w 65"/>
                <a:gd name="T41" fmla="*/ 63 h 139"/>
                <a:gd name="T42" fmla="*/ 30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30" y="2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6" y="10"/>
                  </a:lnTo>
                  <a:lnTo>
                    <a:pt x="44" y="5"/>
                  </a:lnTo>
                  <a:lnTo>
                    <a:pt x="47" y="3"/>
                  </a:lnTo>
                  <a:lnTo>
                    <a:pt x="53" y="2"/>
                  </a:lnTo>
                  <a:lnTo>
                    <a:pt x="58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49" y="31"/>
                  </a:lnTo>
                  <a:lnTo>
                    <a:pt x="44" y="35"/>
                  </a:lnTo>
                  <a:lnTo>
                    <a:pt x="39" y="38"/>
                  </a:lnTo>
                  <a:lnTo>
                    <a:pt x="36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9" name="Freeform 33"/>
            <p:cNvSpPr>
              <a:spLocks noEditPoints="1"/>
            </p:cNvSpPr>
            <p:nvPr userDrawn="1"/>
          </p:nvSpPr>
          <p:spPr bwMode="auto">
            <a:xfrm>
              <a:off x="1164" y="3758"/>
              <a:ext cx="37" cy="64"/>
            </a:xfrm>
            <a:custGeom>
              <a:avLst/>
              <a:gdLst>
                <a:gd name="T0" fmla="*/ 56 w 111"/>
                <a:gd name="T1" fmla="*/ 0 h 192"/>
                <a:gd name="T2" fmla="*/ 56 w 111"/>
                <a:gd name="T3" fmla="*/ 0 h 192"/>
                <a:gd name="T4" fmla="*/ 68 w 111"/>
                <a:gd name="T5" fmla="*/ 1 h 192"/>
                <a:gd name="T6" fmla="*/ 78 w 111"/>
                <a:gd name="T7" fmla="*/ 3 h 192"/>
                <a:gd name="T8" fmla="*/ 87 w 111"/>
                <a:gd name="T9" fmla="*/ 8 h 192"/>
                <a:gd name="T10" fmla="*/ 95 w 111"/>
                <a:gd name="T11" fmla="*/ 14 h 192"/>
                <a:gd name="T12" fmla="*/ 102 w 111"/>
                <a:gd name="T13" fmla="*/ 23 h 192"/>
                <a:gd name="T14" fmla="*/ 107 w 111"/>
                <a:gd name="T15" fmla="*/ 32 h 192"/>
                <a:gd name="T16" fmla="*/ 110 w 111"/>
                <a:gd name="T17" fmla="*/ 42 h 192"/>
                <a:gd name="T18" fmla="*/ 111 w 111"/>
                <a:gd name="T19" fmla="*/ 55 h 192"/>
                <a:gd name="T20" fmla="*/ 111 w 111"/>
                <a:gd name="T21" fmla="*/ 55 h 192"/>
                <a:gd name="T22" fmla="*/ 110 w 111"/>
                <a:gd name="T23" fmla="*/ 66 h 192"/>
                <a:gd name="T24" fmla="*/ 108 w 111"/>
                <a:gd name="T25" fmla="*/ 75 h 192"/>
                <a:gd name="T26" fmla="*/ 103 w 111"/>
                <a:gd name="T27" fmla="*/ 84 h 192"/>
                <a:gd name="T28" fmla="*/ 99 w 111"/>
                <a:gd name="T29" fmla="*/ 91 h 192"/>
                <a:gd name="T30" fmla="*/ 92 w 111"/>
                <a:gd name="T31" fmla="*/ 98 h 192"/>
                <a:gd name="T32" fmla="*/ 85 w 111"/>
                <a:gd name="T33" fmla="*/ 103 h 192"/>
                <a:gd name="T34" fmla="*/ 76 w 111"/>
                <a:gd name="T35" fmla="*/ 106 h 192"/>
                <a:gd name="T36" fmla="*/ 68 w 111"/>
                <a:gd name="T37" fmla="*/ 108 h 192"/>
                <a:gd name="T38" fmla="*/ 111 w 111"/>
                <a:gd name="T39" fmla="*/ 192 h 192"/>
                <a:gd name="T40" fmla="*/ 76 w 111"/>
                <a:gd name="T41" fmla="*/ 192 h 192"/>
                <a:gd name="T42" fmla="*/ 35 w 111"/>
                <a:gd name="T43" fmla="*/ 110 h 192"/>
                <a:gd name="T44" fmla="*/ 31 w 111"/>
                <a:gd name="T45" fmla="*/ 110 h 192"/>
                <a:gd name="T46" fmla="*/ 31 w 111"/>
                <a:gd name="T47" fmla="*/ 192 h 192"/>
                <a:gd name="T48" fmla="*/ 0 w 111"/>
                <a:gd name="T49" fmla="*/ 192 h 192"/>
                <a:gd name="T50" fmla="*/ 0 w 111"/>
                <a:gd name="T51" fmla="*/ 0 h 192"/>
                <a:gd name="T52" fmla="*/ 56 w 111"/>
                <a:gd name="T53" fmla="*/ 0 h 192"/>
                <a:gd name="T54" fmla="*/ 31 w 111"/>
                <a:gd name="T55" fmla="*/ 81 h 192"/>
                <a:gd name="T56" fmla="*/ 56 w 111"/>
                <a:gd name="T57" fmla="*/ 81 h 192"/>
                <a:gd name="T58" fmla="*/ 56 w 111"/>
                <a:gd name="T59" fmla="*/ 81 h 192"/>
                <a:gd name="T60" fmla="*/ 62 w 111"/>
                <a:gd name="T61" fmla="*/ 80 h 192"/>
                <a:gd name="T62" fmla="*/ 68 w 111"/>
                <a:gd name="T63" fmla="*/ 79 h 192"/>
                <a:gd name="T64" fmla="*/ 71 w 111"/>
                <a:gd name="T65" fmla="*/ 76 h 192"/>
                <a:gd name="T66" fmla="*/ 75 w 111"/>
                <a:gd name="T67" fmla="*/ 73 h 192"/>
                <a:gd name="T68" fmla="*/ 78 w 111"/>
                <a:gd name="T69" fmla="*/ 69 h 192"/>
                <a:gd name="T70" fmla="*/ 79 w 111"/>
                <a:gd name="T71" fmla="*/ 65 h 192"/>
                <a:gd name="T72" fmla="*/ 80 w 111"/>
                <a:gd name="T73" fmla="*/ 60 h 192"/>
                <a:gd name="T74" fmla="*/ 81 w 111"/>
                <a:gd name="T75" fmla="*/ 55 h 192"/>
                <a:gd name="T76" fmla="*/ 81 w 111"/>
                <a:gd name="T77" fmla="*/ 55 h 192"/>
                <a:gd name="T78" fmla="*/ 80 w 111"/>
                <a:gd name="T79" fmla="*/ 50 h 192"/>
                <a:gd name="T80" fmla="*/ 79 w 111"/>
                <a:gd name="T81" fmla="*/ 44 h 192"/>
                <a:gd name="T82" fmla="*/ 78 w 111"/>
                <a:gd name="T83" fmla="*/ 40 h 192"/>
                <a:gd name="T84" fmla="*/ 75 w 111"/>
                <a:gd name="T85" fmla="*/ 36 h 192"/>
                <a:gd name="T86" fmla="*/ 71 w 111"/>
                <a:gd name="T87" fmla="*/ 33 h 192"/>
                <a:gd name="T88" fmla="*/ 68 w 111"/>
                <a:gd name="T89" fmla="*/ 31 h 192"/>
                <a:gd name="T90" fmla="*/ 62 w 111"/>
                <a:gd name="T91" fmla="*/ 29 h 192"/>
                <a:gd name="T92" fmla="*/ 56 w 111"/>
                <a:gd name="T93" fmla="*/ 29 h 192"/>
                <a:gd name="T94" fmla="*/ 31 w 111"/>
                <a:gd name="T95" fmla="*/ 29 h 192"/>
                <a:gd name="T96" fmla="*/ 31 w 111"/>
                <a:gd name="T97" fmla="*/ 8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1" h="192">
                  <a:moveTo>
                    <a:pt x="56" y="0"/>
                  </a:moveTo>
                  <a:lnTo>
                    <a:pt x="56" y="0"/>
                  </a:lnTo>
                  <a:lnTo>
                    <a:pt x="68" y="1"/>
                  </a:lnTo>
                  <a:lnTo>
                    <a:pt x="78" y="3"/>
                  </a:lnTo>
                  <a:lnTo>
                    <a:pt x="87" y="8"/>
                  </a:lnTo>
                  <a:lnTo>
                    <a:pt x="95" y="14"/>
                  </a:lnTo>
                  <a:lnTo>
                    <a:pt x="102" y="23"/>
                  </a:lnTo>
                  <a:lnTo>
                    <a:pt x="107" y="32"/>
                  </a:lnTo>
                  <a:lnTo>
                    <a:pt x="110" y="42"/>
                  </a:lnTo>
                  <a:lnTo>
                    <a:pt x="111" y="55"/>
                  </a:lnTo>
                  <a:lnTo>
                    <a:pt x="111" y="55"/>
                  </a:lnTo>
                  <a:lnTo>
                    <a:pt x="110" y="66"/>
                  </a:lnTo>
                  <a:lnTo>
                    <a:pt x="108" y="75"/>
                  </a:lnTo>
                  <a:lnTo>
                    <a:pt x="103" y="84"/>
                  </a:lnTo>
                  <a:lnTo>
                    <a:pt x="99" y="91"/>
                  </a:lnTo>
                  <a:lnTo>
                    <a:pt x="92" y="98"/>
                  </a:lnTo>
                  <a:lnTo>
                    <a:pt x="85" y="103"/>
                  </a:lnTo>
                  <a:lnTo>
                    <a:pt x="76" y="106"/>
                  </a:lnTo>
                  <a:lnTo>
                    <a:pt x="68" y="108"/>
                  </a:lnTo>
                  <a:lnTo>
                    <a:pt x="111" y="192"/>
                  </a:lnTo>
                  <a:lnTo>
                    <a:pt x="76" y="192"/>
                  </a:lnTo>
                  <a:lnTo>
                    <a:pt x="35" y="110"/>
                  </a:lnTo>
                  <a:lnTo>
                    <a:pt x="31" y="110"/>
                  </a:lnTo>
                  <a:lnTo>
                    <a:pt x="31" y="192"/>
                  </a:lnTo>
                  <a:lnTo>
                    <a:pt x="0" y="192"/>
                  </a:lnTo>
                  <a:lnTo>
                    <a:pt x="0" y="0"/>
                  </a:lnTo>
                  <a:lnTo>
                    <a:pt x="56" y="0"/>
                  </a:lnTo>
                  <a:close/>
                  <a:moveTo>
                    <a:pt x="31" y="81"/>
                  </a:moveTo>
                  <a:lnTo>
                    <a:pt x="56" y="81"/>
                  </a:lnTo>
                  <a:lnTo>
                    <a:pt x="56" y="81"/>
                  </a:lnTo>
                  <a:lnTo>
                    <a:pt x="62" y="80"/>
                  </a:lnTo>
                  <a:lnTo>
                    <a:pt x="68" y="79"/>
                  </a:lnTo>
                  <a:lnTo>
                    <a:pt x="71" y="76"/>
                  </a:lnTo>
                  <a:lnTo>
                    <a:pt x="75" y="73"/>
                  </a:lnTo>
                  <a:lnTo>
                    <a:pt x="78" y="69"/>
                  </a:lnTo>
                  <a:lnTo>
                    <a:pt x="79" y="65"/>
                  </a:lnTo>
                  <a:lnTo>
                    <a:pt x="80" y="60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0" y="50"/>
                  </a:lnTo>
                  <a:lnTo>
                    <a:pt x="79" y="44"/>
                  </a:lnTo>
                  <a:lnTo>
                    <a:pt x="78" y="40"/>
                  </a:lnTo>
                  <a:lnTo>
                    <a:pt x="75" y="36"/>
                  </a:lnTo>
                  <a:lnTo>
                    <a:pt x="71" y="33"/>
                  </a:lnTo>
                  <a:lnTo>
                    <a:pt x="68" y="31"/>
                  </a:lnTo>
                  <a:lnTo>
                    <a:pt x="62" y="29"/>
                  </a:lnTo>
                  <a:lnTo>
                    <a:pt x="56" y="29"/>
                  </a:lnTo>
                  <a:lnTo>
                    <a:pt x="31" y="29"/>
                  </a:lnTo>
                  <a:lnTo>
                    <a:pt x="31" y="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0" name="Freeform 34"/>
            <p:cNvSpPr>
              <a:spLocks noEditPoints="1"/>
            </p:cNvSpPr>
            <p:nvPr userDrawn="1"/>
          </p:nvSpPr>
          <p:spPr bwMode="auto">
            <a:xfrm>
              <a:off x="1206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1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2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1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1" name="Freeform 35"/>
            <p:cNvSpPr>
              <a:spLocks/>
            </p:cNvSpPr>
            <p:nvPr userDrawn="1"/>
          </p:nvSpPr>
          <p:spPr bwMode="auto">
            <a:xfrm>
              <a:off x="1258" y="3775"/>
              <a:ext cx="32" cy="47"/>
            </a:xfrm>
            <a:custGeom>
              <a:avLst/>
              <a:gdLst>
                <a:gd name="T0" fmla="*/ 29 w 95"/>
                <a:gd name="T1" fmla="*/ 93 h 140"/>
                <a:gd name="T2" fmla="*/ 31 w 95"/>
                <a:gd name="T3" fmla="*/ 101 h 140"/>
                <a:gd name="T4" fmla="*/ 34 w 95"/>
                <a:gd name="T5" fmla="*/ 107 h 140"/>
                <a:gd name="T6" fmla="*/ 47 w 95"/>
                <a:gd name="T7" fmla="*/ 113 h 140"/>
                <a:gd name="T8" fmla="*/ 54 w 95"/>
                <a:gd name="T9" fmla="*/ 112 h 140"/>
                <a:gd name="T10" fmla="*/ 62 w 95"/>
                <a:gd name="T11" fmla="*/ 106 h 140"/>
                <a:gd name="T12" fmla="*/ 64 w 95"/>
                <a:gd name="T13" fmla="*/ 99 h 140"/>
                <a:gd name="T14" fmla="*/ 64 w 95"/>
                <a:gd name="T15" fmla="*/ 96 h 140"/>
                <a:gd name="T16" fmla="*/ 62 w 95"/>
                <a:gd name="T17" fmla="*/ 86 h 140"/>
                <a:gd name="T18" fmla="*/ 56 w 95"/>
                <a:gd name="T19" fmla="*/ 81 h 140"/>
                <a:gd name="T20" fmla="*/ 38 w 95"/>
                <a:gd name="T21" fmla="*/ 75 h 140"/>
                <a:gd name="T22" fmla="*/ 33 w 95"/>
                <a:gd name="T23" fmla="*/ 73 h 140"/>
                <a:gd name="T24" fmla="*/ 23 w 95"/>
                <a:gd name="T25" fmla="*/ 67 h 140"/>
                <a:gd name="T26" fmla="*/ 15 w 95"/>
                <a:gd name="T27" fmla="*/ 59 h 140"/>
                <a:gd name="T28" fmla="*/ 10 w 95"/>
                <a:gd name="T29" fmla="*/ 46 h 140"/>
                <a:gd name="T30" fmla="*/ 9 w 95"/>
                <a:gd name="T31" fmla="*/ 38 h 140"/>
                <a:gd name="T32" fmla="*/ 13 w 95"/>
                <a:gd name="T33" fmla="*/ 23 h 140"/>
                <a:gd name="T34" fmla="*/ 21 w 95"/>
                <a:gd name="T35" fmla="*/ 11 h 140"/>
                <a:gd name="T36" fmla="*/ 32 w 95"/>
                <a:gd name="T37" fmla="*/ 3 h 140"/>
                <a:gd name="T38" fmla="*/ 47 w 95"/>
                <a:gd name="T39" fmla="*/ 0 h 140"/>
                <a:gd name="T40" fmla="*/ 57 w 95"/>
                <a:gd name="T41" fmla="*/ 2 h 140"/>
                <a:gd name="T42" fmla="*/ 73 w 95"/>
                <a:gd name="T43" fmla="*/ 11 h 140"/>
                <a:gd name="T44" fmla="*/ 61 w 95"/>
                <a:gd name="T45" fmla="*/ 36 h 140"/>
                <a:gd name="T46" fmla="*/ 60 w 95"/>
                <a:gd name="T47" fmla="*/ 33 h 140"/>
                <a:gd name="T48" fmla="*/ 53 w 95"/>
                <a:gd name="T49" fmla="*/ 28 h 140"/>
                <a:gd name="T50" fmla="*/ 49 w 95"/>
                <a:gd name="T51" fmla="*/ 27 h 140"/>
                <a:gd name="T52" fmla="*/ 41 w 95"/>
                <a:gd name="T53" fmla="*/ 30 h 140"/>
                <a:gd name="T54" fmla="*/ 38 w 95"/>
                <a:gd name="T55" fmla="*/ 38 h 140"/>
                <a:gd name="T56" fmla="*/ 39 w 95"/>
                <a:gd name="T57" fmla="*/ 42 h 140"/>
                <a:gd name="T58" fmla="*/ 44 w 95"/>
                <a:gd name="T59" fmla="*/ 47 h 140"/>
                <a:gd name="T60" fmla="*/ 57 w 95"/>
                <a:gd name="T61" fmla="*/ 52 h 140"/>
                <a:gd name="T62" fmla="*/ 69 w 95"/>
                <a:gd name="T63" fmla="*/ 55 h 140"/>
                <a:gd name="T64" fmla="*/ 78 w 95"/>
                <a:gd name="T65" fmla="*/ 60 h 140"/>
                <a:gd name="T66" fmla="*/ 87 w 95"/>
                <a:gd name="T67" fmla="*/ 68 h 140"/>
                <a:gd name="T68" fmla="*/ 93 w 95"/>
                <a:gd name="T69" fmla="*/ 80 h 140"/>
                <a:gd name="T70" fmla="*/ 95 w 95"/>
                <a:gd name="T71" fmla="*/ 94 h 140"/>
                <a:gd name="T72" fmla="*/ 94 w 95"/>
                <a:gd name="T73" fmla="*/ 105 h 140"/>
                <a:gd name="T74" fmla="*/ 87 w 95"/>
                <a:gd name="T75" fmla="*/ 121 h 140"/>
                <a:gd name="T76" fmla="*/ 75 w 95"/>
                <a:gd name="T77" fmla="*/ 133 h 140"/>
                <a:gd name="T78" fmla="*/ 57 w 95"/>
                <a:gd name="T79" fmla="*/ 140 h 140"/>
                <a:gd name="T80" fmla="*/ 47 w 95"/>
                <a:gd name="T81" fmla="*/ 140 h 140"/>
                <a:gd name="T82" fmla="*/ 28 w 95"/>
                <a:gd name="T83" fmla="*/ 137 h 140"/>
                <a:gd name="T84" fmla="*/ 13 w 95"/>
                <a:gd name="T85" fmla="*/ 128 h 140"/>
                <a:gd name="T86" fmla="*/ 4 w 95"/>
                <a:gd name="T87" fmla="*/ 112 h 140"/>
                <a:gd name="T88" fmla="*/ 0 w 95"/>
                <a:gd name="T89" fmla="*/ 9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5" h="140">
                  <a:moveTo>
                    <a:pt x="29" y="93"/>
                  </a:moveTo>
                  <a:lnTo>
                    <a:pt x="29" y="93"/>
                  </a:lnTo>
                  <a:lnTo>
                    <a:pt x="30" y="98"/>
                  </a:lnTo>
                  <a:lnTo>
                    <a:pt x="31" y="101"/>
                  </a:lnTo>
                  <a:lnTo>
                    <a:pt x="32" y="105"/>
                  </a:lnTo>
                  <a:lnTo>
                    <a:pt x="34" y="107"/>
                  </a:lnTo>
                  <a:lnTo>
                    <a:pt x="40" y="110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54" y="112"/>
                  </a:lnTo>
                  <a:lnTo>
                    <a:pt x="60" y="108"/>
                  </a:lnTo>
                  <a:lnTo>
                    <a:pt x="62" y="106"/>
                  </a:lnTo>
                  <a:lnTo>
                    <a:pt x="63" y="102"/>
                  </a:lnTo>
                  <a:lnTo>
                    <a:pt x="64" y="99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0"/>
                  </a:lnTo>
                  <a:lnTo>
                    <a:pt x="62" y="86"/>
                  </a:lnTo>
                  <a:lnTo>
                    <a:pt x="60" y="83"/>
                  </a:lnTo>
                  <a:lnTo>
                    <a:pt x="56" y="81"/>
                  </a:lnTo>
                  <a:lnTo>
                    <a:pt x="48" y="77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3" y="73"/>
                  </a:lnTo>
                  <a:lnTo>
                    <a:pt x="28" y="70"/>
                  </a:lnTo>
                  <a:lnTo>
                    <a:pt x="23" y="67"/>
                  </a:lnTo>
                  <a:lnTo>
                    <a:pt x="18" y="63"/>
                  </a:lnTo>
                  <a:lnTo>
                    <a:pt x="15" y="59"/>
                  </a:lnTo>
                  <a:lnTo>
                    <a:pt x="12" y="53"/>
                  </a:lnTo>
                  <a:lnTo>
                    <a:pt x="10" y="46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0"/>
                  </a:lnTo>
                  <a:lnTo>
                    <a:pt x="13" y="23"/>
                  </a:lnTo>
                  <a:lnTo>
                    <a:pt x="16" y="16"/>
                  </a:lnTo>
                  <a:lnTo>
                    <a:pt x="21" y="11"/>
                  </a:lnTo>
                  <a:lnTo>
                    <a:pt x="26" y="6"/>
                  </a:lnTo>
                  <a:lnTo>
                    <a:pt x="32" y="3"/>
                  </a:lnTo>
                  <a:lnTo>
                    <a:pt x="40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57" y="2"/>
                  </a:lnTo>
                  <a:lnTo>
                    <a:pt x="67" y="5"/>
                  </a:lnTo>
                  <a:lnTo>
                    <a:pt x="73" y="11"/>
                  </a:lnTo>
                  <a:lnTo>
                    <a:pt x="80" y="18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0" y="33"/>
                  </a:lnTo>
                  <a:lnTo>
                    <a:pt x="56" y="29"/>
                  </a:lnTo>
                  <a:lnTo>
                    <a:pt x="53" y="28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5" y="28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9" y="42"/>
                  </a:lnTo>
                  <a:lnTo>
                    <a:pt x="41" y="45"/>
                  </a:lnTo>
                  <a:lnTo>
                    <a:pt x="44" y="47"/>
                  </a:lnTo>
                  <a:lnTo>
                    <a:pt x="48" y="50"/>
                  </a:lnTo>
                  <a:lnTo>
                    <a:pt x="57" y="52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73" y="58"/>
                  </a:lnTo>
                  <a:lnTo>
                    <a:pt x="78" y="60"/>
                  </a:lnTo>
                  <a:lnTo>
                    <a:pt x="83" y="63"/>
                  </a:lnTo>
                  <a:lnTo>
                    <a:pt x="87" y="68"/>
                  </a:lnTo>
                  <a:lnTo>
                    <a:pt x="91" y="74"/>
                  </a:lnTo>
                  <a:lnTo>
                    <a:pt x="93" y="80"/>
                  </a:lnTo>
                  <a:lnTo>
                    <a:pt x="94" y="86"/>
                  </a:lnTo>
                  <a:lnTo>
                    <a:pt x="95" y="94"/>
                  </a:lnTo>
                  <a:lnTo>
                    <a:pt x="95" y="94"/>
                  </a:lnTo>
                  <a:lnTo>
                    <a:pt x="94" y="105"/>
                  </a:lnTo>
                  <a:lnTo>
                    <a:pt x="92" y="114"/>
                  </a:lnTo>
                  <a:lnTo>
                    <a:pt x="87" y="121"/>
                  </a:lnTo>
                  <a:lnTo>
                    <a:pt x="81" y="128"/>
                  </a:lnTo>
                  <a:lnTo>
                    <a:pt x="75" y="133"/>
                  </a:lnTo>
                  <a:lnTo>
                    <a:pt x="67" y="138"/>
                  </a:lnTo>
                  <a:lnTo>
                    <a:pt x="57" y="140"/>
                  </a:lnTo>
                  <a:lnTo>
                    <a:pt x="47" y="140"/>
                  </a:lnTo>
                  <a:lnTo>
                    <a:pt x="47" y="140"/>
                  </a:lnTo>
                  <a:lnTo>
                    <a:pt x="37" y="140"/>
                  </a:lnTo>
                  <a:lnTo>
                    <a:pt x="28" y="137"/>
                  </a:lnTo>
                  <a:lnTo>
                    <a:pt x="20" y="132"/>
                  </a:lnTo>
                  <a:lnTo>
                    <a:pt x="13" y="128"/>
                  </a:lnTo>
                  <a:lnTo>
                    <a:pt x="8" y="120"/>
                  </a:lnTo>
                  <a:lnTo>
                    <a:pt x="4" y="112"/>
                  </a:lnTo>
                  <a:lnTo>
                    <a:pt x="1" y="104"/>
                  </a:lnTo>
                  <a:lnTo>
                    <a:pt x="0" y="93"/>
                  </a:lnTo>
                  <a:lnTo>
                    <a:pt x="29" y="9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2" name="Freeform 36"/>
            <p:cNvSpPr>
              <a:spLocks noEditPoints="1"/>
            </p:cNvSpPr>
            <p:nvPr userDrawn="1"/>
          </p:nvSpPr>
          <p:spPr bwMode="auto">
            <a:xfrm>
              <a:off x="1297" y="3775"/>
              <a:ext cx="47" cy="47"/>
            </a:xfrm>
            <a:custGeom>
              <a:avLst/>
              <a:gdLst>
                <a:gd name="T0" fmla="*/ 32 w 140"/>
                <a:gd name="T1" fmla="*/ 81 h 140"/>
                <a:gd name="T2" fmla="*/ 36 w 140"/>
                <a:gd name="T3" fmla="*/ 93 h 140"/>
                <a:gd name="T4" fmla="*/ 44 w 140"/>
                <a:gd name="T5" fmla="*/ 104 h 140"/>
                <a:gd name="T6" fmla="*/ 56 w 140"/>
                <a:gd name="T7" fmla="*/ 109 h 140"/>
                <a:gd name="T8" fmla="*/ 70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0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0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19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8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1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1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6" y="93"/>
                  </a:lnTo>
                  <a:lnTo>
                    <a:pt x="40" y="99"/>
                  </a:lnTo>
                  <a:lnTo>
                    <a:pt x="44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1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0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19" y="21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48" y="4"/>
                  </a:lnTo>
                  <a:lnTo>
                    <a:pt x="55" y="2"/>
                  </a:lnTo>
                  <a:lnTo>
                    <a:pt x="6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3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8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81" y="30"/>
                  </a:lnTo>
                  <a:lnTo>
                    <a:pt x="75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1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3" name="Freeform 37"/>
            <p:cNvSpPr>
              <a:spLocks noEditPoints="1"/>
            </p:cNvSpPr>
            <p:nvPr userDrawn="1"/>
          </p:nvSpPr>
          <p:spPr bwMode="auto">
            <a:xfrm>
              <a:off x="1350" y="3775"/>
              <a:ext cx="46" cy="47"/>
            </a:xfrm>
            <a:custGeom>
              <a:avLst/>
              <a:gdLst>
                <a:gd name="T0" fmla="*/ 139 w 139"/>
                <a:gd name="T1" fmla="*/ 139 h 140"/>
                <a:gd name="T2" fmla="*/ 108 w 139"/>
                <a:gd name="T3" fmla="*/ 125 h 140"/>
                <a:gd name="T4" fmla="*/ 102 w 139"/>
                <a:gd name="T5" fmla="*/ 130 h 140"/>
                <a:gd name="T6" fmla="*/ 82 w 139"/>
                <a:gd name="T7" fmla="*/ 139 h 140"/>
                <a:gd name="T8" fmla="*/ 69 w 139"/>
                <a:gd name="T9" fmla="*/ 140 h 140"/>
                <a:gd name="T10" fmla="*/ 55 w 139"/>
                <a:gd name="T11" fmla="*/ 139 h 140"/>
                <a:gd name="T12" fmla="*/ 30 w 139"/>
                <a:gd name="T13" fmla="*/ 130 h 140"/>
                <a:gd name="T14" fmla="*/ 11 w 139"/>
                <a:gd name="T15" fmla="*/ 110 h 140"/>
                <a:gd name="T16" fmla="*/ 3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6 w 139"/>
                <a:gd name="T25" fmla="*/ 42 h 140"/>
                <a:gd name="T26" fmla="*/ 19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8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3 w 139"/>
                <a:gd name="T47" fmla="*/ 54 h 140"/>
                <a:gd name="T48" fmla="*/ 30 w 139"/>
                <a:gd name="T49" fmla="*/ 70 h 140"/>
                <a:gd name="T50" fmla="*/ 31 w 139"/>
                <a:gd name="T51" fmla="*/ 78 h 140"/>
                <a:gd name="T52" fmla="*/ 37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6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09 w 139"/>
                <a:gd name="T67" fmla="*/ 70 h 140"/>
                <a:gd name="T68" fmla="*/ 109 w 139"/>
                <a:gd name="T69" fmla="*/ 62 h 140"/>
                <a:gd name="T70" fmla="*/ 103 w 139"/>
                <a:gd name="T71" fmla="*/ 47 h 140"/>
                <a:gd name="T72" fmla="*/ 92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8" y="139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2" y="130"/>
                  </a:lnTo>
                  <a:lnTo>
                    <a:pt x="93" y="136"/>
                  </a:lnTo>
                  <a:lnTo>
                    <a:pt x="82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5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19" y="121"/>
                  </a:lnTo>
                  <a:lnTo>
                    <a:pt x="11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3" y="49"/>
                  </a:lnTo>
                  <a:lnTo>
                    <a:pt x="6" y="42"/>
                  </a:lnTo>
                  <a:lnTo>
                    <a:pt x="11" y="30"/>
                  </a:lnTo>
                  <a:lnTo>
                    <a:pt x="19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1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8" y="16"/>
                  </a:lnTo>
                  <a:lnTo>
                    <a:pt x="108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7" y="47"/>
                  </a:lnTo>
                  <a:lnTo>
                    <a:pt x="33" y="54"/>
                  </a:lnTo>
                  <a:lnTo>
                    <a:pt x="31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8"/>
                  </a:lnTo>
                  <a:lnTo>
                    <a:pt x="33" y="86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6" y="108"/>
                  </a:lnTo>
                  <a:lnTo>
                    <a:pt x="92" y="105"/>
                  </a:lnTo>
                  <a:lnTo>
                    <a:pt x="98" y="99"/>
                  </a:lnTo>
                  <a:lnTo>
                    <a:pt x="103" y="93"/>
                  </a:lnTo>
                  <a:lnTo>
                    <a:pt x="106" y="86"/>
                  </a:lnTo>
                  <a:lnTo>
                    <a:pt x="109" y="78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62"/>
                  </a:lnTo>
                  <a:lnTo>
                    <a:pt x="106" y="54"/>
                  </a:lnTo>
                  <a:lnTo>
                    <a:pt x="103" y="47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6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4" name="Freeform 38"/>
            <p:cNvSpPr>
              <a:spLocks/>
            </p:cNvSpPr>
            <p:nvPr userDrawn="1"/>
          </p:nvSpPr>
          <p:spPr bwMode="auto">
            <a:xfrm>
              <a:off x="1407" y="3775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31 w 65"/>
                <a:gd name="T3" fmla="*/ 2 h 139"/>
                <a:gd name="T4" fmla="*/ 31 w 65"/>
                <a:gd name="T5" fmla="*/ 16 h 139"/>
                <a:gd name="T6" fmla="*/ 31 w 65"/>
                <a:gd name="T7" fmla="*/ 16 h 139"/>
                <a:gd name="T8" fmla="*/ 35 w 65"/>
                <a:gd name="T9" fmla="*/ 10 h 139"/>
                <a:gd name="T10" fmla="*/ 43 w 65"/>
                <a:gd name="T11" fmla="*/ 5 h 139"/>
                <a:gd name="T12" fmla="*/ 48 w 65"/>
                <a:gd name="T13" fmla="*/ 3 h 139"/>
                <a:gd name="T14" fmla="*/ 52 w 65"/>
                <a:gd name="T15" fmla="*/ 2 h 139"/>
                <a:gd name="T16" fmla="*/ 59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50 w 65"/>
                <a:gd name="T29" fmla="*/ 31 h 139"/>
                <a:gd name="T30" fmla="*/ 44 w 65"/>
                <a:gd name="T31" fmla="*/ 35 h 139"/>
                <a:gd name="T32" fmla="*/ 40 w 65"/>
                <a:gd name="T33" fmla="*/ 38 h 139"/>
                <a:gd name="T34" fmla="*/ 35 w 65"/>
                <a:gd name="T35" fmla="*/ 44 h 139"/>
                <a:gd name="T36" fmla="*/ 33 w 65"/>
                <a:gd name="T37" fmla="*/ 50 h 139"/>
                <a:gd name="T38" fmla="*/ 31 w 65"/>
                <a:gd name="T39" fmla="*/ 57 h 139"/>
                <a:gd name="T40" fmla="*/ 31 w 65"/>
                <a:gd name="T41" fmla="*/ 63 h 139"/>
                <a:gd name="T42" fmla="*/ 31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31" y="2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0"/>
                  </a:lnTo>
                  <a:lnTo>
                    <a:pt x="43" y="5"/>
                  </a:lnTo>
                  <a:lnTo>
                    <a:pt x="48" y="3"/>
                  </a:lnTo>
                  <a:lnTo>
                    <a:pt x="52" y="2"/>
                  </a:lnTo>
                  <a:lnTo>
                    <a:pt x="59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50" y="31"/>
                  </a:lnTo>
                  <a:lnTo>
                    <a:pt x="44" y="35"/>
                  </a:lnTo>
                  <a:lnTo>
                    <a:pt x="40" y="38"/>
                  </a:lnTo>
                  <a:lnTo>
                    <a:pt x="35" y="44"/>
                  </a:lnTo>
                  <a:lnTo>
                    <a:pt x="33" y="50"/>
                  </a:lnTo>
                  <a:lnTo>
                    <a:pt x="31" y="57"/>
                  </a:lnTo>
                  <a:lnTo>
                    <a:pt x="31" y="63"/>
                  </a:lnTo>
                  <a:lnTo>
                    <a:pt x="31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5" name="Freeform 39"/>
            <p:cNvSpPr>
              <a:spLocks/>
            </p:cNvSpPr>
            <p:nvPr userDrawn="1"/>
          </p:nvSpPr>
          <p:spPr bwMode="auto">
            <a:xfrm>
              <a:off x="1434" y="3775"/>
              <a:ext cx="47" cy="47"/>
            </a:xfrm>
            <a:custGeom>
              <a:avLst/>
              <a:gdLst>
                <a:gd name="T0" fmla="*/ 71 w 141"/>
                <a:gd name="T1" fmla="*/ 113 h 140"/>
                <a:gd name="T2" fmla="*/ 87 w 141"/>
                <a:gd name="T3" fmla="*/ 109 h 140"/>
                <a:gd name="T4" fmla="*/ 100 w 141"/>
                <a:gd name="T5" fmla="*/ 100 h 140"/>
                <a:gd name="T6" fmla="*/ 108 w 141"/>
                <a:gd name="T7" fmla="*/ 88 h 140"/>
                <a:gd name="T8" fmla="*/ 110 w 141"/>
                <a:gd name="T9" fmla="*/ 70 h 140"/>
                <a:gd name="T10" fmla="*/ 141 w 141"/>
                <a:gd name="T11" fmla="*/ 70 h 140"/>
                <a:gd name="T12" fmla="*/ 140 w 141"/>
                <a:gd name="T13" fmla="*/ 85 h 140"/>
                <a:gd name="T14" fmla="*/ 135 w 141"/>
                <a:gd name="T15" fmla="*/ 98 h 140"/>
                <a:gd name="T16" fmla="*/ 120 w 141"/>
                <a:gd name="T17" fmla="*/ 121 h 140"/>
                <a:gd name="T18" fmla="*/ 98 w 141"/>
                <a:gd name="T19" fmla="*/ 136 h 140"/>
                <a:gd name="T20" fmla="*/ 85 w 141"/>
                <a:gd name="T21" fmla="*/ 139 h 140"/>
                <a:gd name="T22" fmla="*/ 71 w 141"/>
                <a:gd name="T23" fmla="*/ 140 h 140"/>
                <a:gd name="T24" fmla="*/ 63 w 141"/>
                <a:gd name="T25" fmla="*/ 140 h 140"/>
                <a:gd name="T26" fmla="*/ 49 w 141"/>
                <a:gd name="T27" fmla="*/ 138 h 140"/>
                <a:gd name="T28" fmla="*/ 31 w 141"/>
                <a:gd name="T29" fmla="*/ 129 h 140"/>
                <a:gd name="T30" fmla="*/ 13 w 141"/>
                <a:gd name="T31" fmla="*/ 110 h 140"/>
                <a:gd name="T32" fmla="*/ 3 w 141"/>
                <a:gd name="T33" fmla="*/ 92 h 140"/>
                <a:gd name="T34" fmla="*/ 1 w 141"/>
                <a:gd name="T35" fmla="*/ 78 h 140"/>
                <a:gd name="T36" fmla="*/ 0 w 141"/>
                <a:gd name="T37" fmla="*/ 70 h 140"/>
                <a:gd name="T38" fmla="*/ 2 w 141"/>
                <a:gd name="T39" fmla="*/ 55 h 140"/>
                <a:gd name="T40" fmla="*/ 6 w 141"/>
                <a:gd name="T41" fmla="*/ 43 h 140"/>
                <a:gd name="T42" fmla="*/ 21 w 141"/>
                <a:gd name="T43" fmla="*/ 20 h 140"/>
                <a:gd name="T44" fmla="*/ 42 w 141"/>
                <a:gd name="T45" fmla="*/ 5 h 140"/>
                <a:gd name="T46" fmla="*/ 56 w 141"/>
                <a:gd name="T47" fmla="*/ 2 h 140"/>
                <a:gd name="T48" fmla="*/ 71 w 141"/>
                <a:gd name="T49" fmla="*/ 0 h 140"/>
                <a:gd name="T50" fmla="*/ 79 w 141"/>
                <a:gd name="T51" fmla="*/ 0 h 140"/>
                <a:gd name="T52" fmla="*/ 93 w 141"/>
                <a:gd name="T53" fmla="*/ 4 h 140"/>
                <a:gd name="T54" fmla="*/ 105 w 141"/>
                <a:gd name="T55" fmla="*/ 8 h 140"/>
                <a:gd name="T56" fmla="*/ 121 w 141"/>
                <a:gd name="T57" fmla="*/ 21 h 140"/>
                <a:gd name="T58" fmla="*/ 98 w 141"/>
                <a:gd name="T59" fmla="*/ 41 h 140"/>
                <a:gd name="T60" fmla="*/ 87 w 141"/>
                <a:gd name="T61" fmla="*/ 33 h 140"/>
                <a:gd name="T62" fmla="*/ 71 w 141"/>
                <a:gd name="T63" fmla="*/ 29 h 140"/>
                <a:gd name="T64" fmla="*/ 62 w 141"/>
                <a:gd name="T65" fmla="*/ 29 h 140"/>
                <a:gd name="T66" fmla="*/ 48 w 141"/>
                <a:gd name="T67" fmla="*/ 36 h 140"/>
                <a:gd name="T68" fmla="*/ 38 w 141"/>
                <a:gd name="T69" fmla="*/ 46 h 140"/>
                <a:gd name="T70" fmla="*/ 32 w 141"/>
                <a:gd name="T71" fmla="*/ 61 h 140"/>
                <a:gd name="T72" fmla="*/ 31 w 141"/>
                <a:gd name="T73" fmla="*/ 70 h 140"/>
                <a:gd name="T74" fmla="*/ 34 w 141"/>
                <a:gd name="T75" fmla="*/ 88 h 140"/>
                <a:gd name="T76" fmla="*/ 42 w 141"/>
                <a:gd name="T77" fmla="*/ 100 h 140"/>
                <a:gd name="T78" fmla="*/ 55 w 141"/>
                <a:gd name="T79" fmla="*/ 109 h 140"/>
                <a:gd name="T80" fmla="*/ 71 w 141"/>
                <a:gd name="T81" fmla="*/ 11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0">
                  <a:moveTo>
                    <a:pt x="71" y="113"/>
                  </a:moveTo>
                  <a:lnTo>
                    <a:pt x="71" y="113"/>
                  </a:lnTo>
                  <a:lnTo>
                    <a:pt x="79" y="112"/>
                  </a:lnTo>
                  <a:lnTo>
                    <a:pt x="87" y="109"/>
                  </a:lnTo>
                  <a:lnTo>
                    <a:pt x="94" y="106"/>
                  </a:lnTo>
                  <a:lnTo>
                    <a:pt x="100" y="100"/>
                  </a:lnTo>
                  <a:lnTo>
                    <a:pt x="104" y="94"/>
                  </a:lnTo>
                  <a:lnTo>
                    <a:pt x="108" y="88"/>
                  </a:lnTo>
                  <a:lnTo>
                    <a:pt x="110" y="80"/>
                  </a:lnTo>
                  <a:lnTo>
                    <a:pt x="110" y="70"/>
                  </a:lnTo>
                  <a:lnTo>
                    <a:pt x="141" y="70"/>
                  </a:lnTo>
                  <a:lnTo>
                    <a:pt x="141" y="70"/>
                  </a:lnTo>
                  <a:lnTo>
                    <a:pt x="141" y="78"/>
                  </a:lnTo>
                  <a:lnTo>
                    <a:pt x="140" y="85"/>
                  </a:lnTo>
                  <a:lnTo>
                    <a:pt x="137" y="92"/>
                  </a:lnTo>
                  <a:lnTo>
                    <a:pt x="135" y="98"/>
                  </a:lnTo>
                  <a:lnTo>
                    <a:pt x="129" y="110"/>
                  </a:lnTo>
                  <a:lnTo>
                    <a:pt x="120" y="121"/>
                  </a:lnTo>
                  <a:lnTo>
                    <a:pt x="110" y="129"/>
                  </a:lnTo>
                  <a:lnTo>
                    <a:pt x="98" y="136"/>
                  </a:lnTo>
                  <a:lnTo>
                    <a:pt x="92" y="138"/>
                  </a:lnTo>
                  <a:lnTo>
                    <a:pt x="85" y="139"/>
                  </a:lnTo>
                  <a:lnTo>
                    <a:pt x="78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3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1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63"/>
                  </a:lnTo>
                  <a:lnTo>
                    <a:pt x="2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13" y="30"/>
                  </a:lnTo>
                  <a:lnTo>
                    <a:pt x="21" y="20"/>
                  </a:lnTo>
                  <a:lnTo>
                    <a:pt x="31" y="12"/>
                  </a:lnTo>
                  <a:lnTo>
                    <a:pt x="42" y="5"/>
                  </a:lnTo>
                  <a:lnTo>
                    <a:pt x="49" y="3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6" y="2"/>
                  </a:lnTo>
                  <a:lnTo>
                    <a:pt x="93" y="4"/>
                  </a:lnTo>
                  <a:lnTo>
                    <a:pt x="100" y="6"/>
                  </a:lnTo>
                  <a:lnTo>
                    <a:pt x="105" y="8"/>
                  </a:lnTo>
                  <a:lnTo>
                    <a:pt x="111" y="12"/>
                  </a:lnTo>
                  <a:lnTo>
                    <a:pt x="121" y="21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79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62" y="29"/>
                  </a:lnTo>
                  <a:lnTo>
                    <a:pt x="55" y="31"/>
                  </a:lnTo>
                  <a:lnTo>
                    <a:pt x="48" y="36"/>
                  </a:lnTo>
                  <a:lnTo>
                    <a:pt x="42" y="41"/>
                  </a:lnTo>
                  <a:lnTo>
                    <a:pt x="38" y="46"/>
                  </a:lnTo>
                  <a:lnTo>
                    <a:pt x="34" y="53"/>
                  </a:lnTo>
                  <a:lnTo>
                    <a:pt x="32" y="61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2" y="80"/>
                  </a:lnTo>
                  <a:lnTo>
                    <a:pt x="34" y="88"/>
                  </a:lnTo>
                  <a:lnTo>
                    <a:pt x="38" y="94"/>
                  </a:lnTo>
                  <a:lnTo>
                    <a:pt x="42" y="100"/>
                  </a:lnTo>
                  <a:lnTo>
                    <a:pt x="48" y="106"/>
                  </a:lnTo>
                  <a:lnTo>
                    <a:pt x="55" y="109"/>
                  </a:lnTo>
                  <a:lnTo>
                    <a:pt x="62" y="112"/>
                  </a:lnTo>
                  <a:lnTo>
                    <a:pt x="71" y="113"/>
                  </a:lnTo>
                  <a:lnTo>
                    <a:pt x="71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6" name="Freeform 40"/>
            <p:cNvSpPr>
              <a:spLocks/>
            </p:cNvSpPr>
            <p:nvPr userDrawn="1"/>
          </p:nvSpPr>
          <p:spPr bwMode="auto">
            <a:xfrm>
              <a:off x="1489" y="3756"/>
              <a:ext cx="40" cy="66"/>
            </a:xfrm>
            <a:custGeom>
              <a:avLst/>
              <a:gdLst>
                <a:gd name="T0" fmla="*/ 0 w 122"/>
                <a:gd name="T1" fmla="*/ 4 h 196"/>
                <a:gd name="T2" fmla="*/ 30 w 122"/>
                <a:gd name="T3" fmla="*/ 0 h 196"/>
                <a:gd name="T4" fmla="*/ 30 w 122"/>
                <a:gd name="T5" fmla="*/ 75 h 196"/>
                <a:gd name="T6" fmla="*/ 30 w 122"/>
                <a:gd name="T7" fmla="*/ 75 h 196"/>
                <a:gd name="T8" fmla="*/ 37 w 122"/>
                <a:gd name="T9" fmla="*/ 68 h 196"/>
                <a:gd name="T10" fmla="*/ 46 w 122"/>
                <a:gd name="T11" fmla="*/ 62 h 196"/>
                <a:gd name="T12" fmla="*/ 57 w 122"/>
                <a:gd name="T13" fmla="*/ 59 h 196"/>
                <a:gd name="T14" fmla="*/ 63 w 122"/>
                <a:gd name="T15" fmla="*/ 57 h 196"/>
                <a:gd name="T16" fmla="*/ 70 w 122"/>
                <a:gd name="T17" fmla="*/ 57 h 196"/>
                <a:gd name="T18" fmla="*/ 70 w 122"/>
                <a:gd name="T19" fmla="*/ 57 h 196"/>
                <a:gd name="T20" fmla="*/ 81 w 122"/>
                <a:gd name="T21" fmla="*/ 59 h 196"/>
                <a:gd name="T22" fmla="*/ 92 w 122"/>
                <a:gd name="T23" fmla="*/ 61 h 196"/>
                <a:gd name="T24" fmla="*/ 101 w 122"/>
                <a:gd name="T25" fmla="*/ 65 h 196"/>
                <a:gd name="T26" fmla="*/ 108 w 122"/>
                <a:gd name="T27" fmla="*/ 72 h 196"/>
                <a:gd name="T28" fmla="*/ 113 w 122"/>
                <a:gd name="T29" fmla="*/ 80 h 196"/>
                <a:gd name="T30" fmla="*/ 118 w 122"/>
                <a:gd name="T31" fmla="*/ 90 h 196"/>
                <a:gd name="T32" fmla="*/ 121 w 122"/>
                <a:gd name="T33" fmla="*/ 101 h 196"/>
                <a:gd name="T34" fmla="*/ 122 w 122"/>
                <a:gd name="T35" fmla="*/ 114 h 196"/>
                <a:gd name="T36" fmla="*/ 122 w 122"/>
                <a:gd name="T37" fmla="*/ 196 h 196"/>
                <a:gd name="T38" fmla="*/ 92 w 122"/>
                <a:gd name="T39" fmla="*/ 196 h 196"/>
                <a:gd name="T40" fmla="*/ 92 w 122"/>
                <a:gd name="T41" fmla="*/ 120 h 196"/>
                <a:gd name="T42" fmla="*/ 92 w 122"/>
                <a:gd name="T43" fmla="*/ 120 h 196"/>
                <a:gd name="T44" fmla="*/ 92 w 122"/>
                <a:gd name="T45" fmla="*/ 112 h 196"/>
                <a:gd name="T46" fmla="*/ 90 w 122"/>
                <a:gd name="T47" fmla="*/ 106 h 196"/>
                <a:gd name="T48" fmla="*/ 88 w 122"/>
                <a:gd name="T49" fmla="*/ 100 h 196"/>
                <a:gd name="T50" fmla="*/ 85 w 122"/>
                <a:gd name="T51" fmla="*/ 95 h 196"/>
                <a:gd name="T52" fmla="*/ 80 w 122"/>
                <a:gd name="T53" fmla="*/ 91 h 196"/>
                <a:gd name="T54" fmla="*/ 76 w 122"/>
                <a:gd name="T55" fmla="*/ 88 h 196"/>
                <a:gd name="T56" fmla="*/ 69 w 122"/>
                <a:gd name="T57" fmla="*/ 86 h 196"/>
                <a:gd name="T58" fmla="*/ 62 w 122"/>
                <a:gd name="T59" fmla="*/ 86 h 196"/>
                <a:gd name="T60" fmla="*/ 62 w 122"/>
                <a:gd name="T61" fmla="*/ 86 h 196"/>
                <a:gd name="T62" fmla="*/ 55 w 122"/>
                <a:gd name="T63" fmla="*/ 86 h 196"/>
                <a:gd name="T64" fmla="*/ 49 w 122"/>
                <a:gd name="T65" fmla="*/ 88 h 196"/>
                <a:gd name="T66" fmla="*/ 43 w 122"/>
                <a:gd name="T67" fmla="*/ 92 h 196"/>
                <a:gd name="T68" fmla="*/ 39 w 122"/>
                <a:gd name="T69" fmla="*/ 95 h 196"/>
                <a:gd name="T70" fmla="*/ 35 w 122"/>
                <a:gd name="T71" fmla="*/ 101 h 196"/>
                <a:gd name="T72" fmla="*/ 32 w 122"/>
                <a:gd name="T73" fmla="*/ 107 h 196"/>
                <a:gd name="T74" fmla="*/ 31 w 122"/>
                <a:gd name="T75" fmla="*/ 114 h 196"/>
                <a:gd name="T76" fmla="*/ 30 w 122"/>
                <a:gd name="T77" fmla="*/ 120 h 196"/>
                <a:gd name="T78" fmla="*/ 30 w 122"/>
                <a:gd name="T79" fmla="*/ 196 h 196"/>
                <a:gd name="T80" fmla="*/ 0 w 122"/>
                <a:gd name="T81" fmla="*/ 196 h 196"/>
                <a:gd name="T82" fmla="*/ 0 w 122"/>
                <a:gd name="T83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2" h="196">
                  <a:moveTo>
                    <a:pt x="0" y="4"/>
                  </a:moveTo>
                  <a:lnTo>
                    <a:pt x="30" y="0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7" y="68"/>
                  </a:lnTo>
                  <a:lnTo>
                    <a:pt x="46" y="62"/>
                  </a:lnTo>
                  <a:lnTo>
                    <a:pt x="57" y="59"/>
                  </a:lnTo>
                  <a:lnTo>
                    <a:pt x="63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81" y="59"/>
                  </a:lnTo>
                  <a:lnTo>
                    <a:pt x="92" y="61"/>
                  </a:lnTo>
                  <a:lnTo>
                    <a:pt x="101" y="65"/>
                  </a:lnTo>
                  <a:lnTo>
                    <a:pt x="108" y="72"/>
                  </a:lnTo>
                  <a:lnTo>
                    <a:pt x="113" y="80"/>
                  </a:lnTo>
                  <a:lnTo>
                    <a:pt x="118" y="90"/>
                  </a:lnTo>
                  <a:lnTo>
                    <a:pt x="121" y="101"/>
                  </a:lnTo>
                  <a:lnTo>
                    <a:pt x="122" y="114"/>
                  </a:lnTo>
                  <a:lnTo>
                    <a:pt x="122" y="196"/>
                  </a:lnTo>
                  <a:lnTo>
                    <a:pt x="92" y="196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2" y="112"/>
                  </a:lnTo>
                  <a:lnTo>
                    <a:pt x="90" y="106"/>
                  </a:lnTo>
                  <a:lnTo>
                    <a:pt x="88" y="100"/>
                  </a:lnTo>
                  <a:lnTo>
                    <a:pt x="85" y="95"/>
                  </a:lnTo>
                  <a:lnTo>
                    <a:pt x="80" y="91"/>
                  </a:lnTo>
                  <a:lnTo>
                    <a:pt x="76" y="88"/>
                  </a:lnTo>
                  <a:lnTo>
                    <a:pt x="69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55" y="86"/>
                  </a:lnTo>
                  <a:lnTo>
                    <a:pt x="49" y="88"/>
                  </a:lnTo>
                  <a:lnTo>
                    <a:pt x="43" y="92"/>
                  </a:lnTo>
                  <a:lnTo>
                    <a:pt x="39" y="95"/>
                  </a:lnTo>
                  <a:lnTo>
                    <a:pt x="35" y="101"/>
                  </a:lnTo>
                  <a:lnTo>
                    <a:pt x="32" y="107"/>
                  </a:lnTo>
                  <a:lnTo>
                    <a:pt x="31" y="114"/>
                  </a:lnTo>
                  <a:lnTo>
                    <a:pt x="30" y="120"/>
                  </a:lnTo>
                  <a:lnTo>
                    <a:pt x="30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7" name="Freeform 41"/>
            <p:cNvSpPr>
              <a:spLocks/>
            </p:cNvSpPr>
            <p:nvPr userDrawn="1"/>
          </p:nvSpPr>
          <p:spPr bwMode="auto">
            <a:xfrm>
              <a:off x="1565" y="3757"/>
              <a:ext cx="64" cy="65"/>
            </a:xfrm>
            <a:custGeom>
              <a:avLst/>
              <a:gdLst>
                <a:gd name="T0" fmla="*/ 95 w 190"/>
                <a:gd name="T1" fmla="*/ 167 h 195"/>
                <a:gd name="T2" fmla="*/ 122 w 190"/>
                <a:gd name="T3" fmla="*/ 162 h 195"/>
                <a:gd name="T4" fmla="*/ 141 w 190"/>
                <a:gd name="T5" fmla="*/ 147 h 195"/>
                <a:gd name="T6" fmla="*/ 155 w 190"/>
                <a:gd name="T7" fmla="*/ 125 h 195"/>
                <a:gd name="T8" fmla="*/ 159 w 190"/>
                <a:gd name="T9" fmla="*/ 98 h 195"/>
                <a:gd name="T10" fmla="*/ 190 w 190"/>
                <a:gd name="T11" fmla="*/ 98 h 195"/>
                <a:gd name="T12" fmla="*/ 189 w 190"/>
                <a:gd name="T13" fmla="*/ 117 h 195"/>
                <a:gd name="T14" fmla="*/ 183 w 190"/>
                <a:gd name="T15" fmla="*/ 136 h 195"/>
                <a:gd name="T16" fmla="*/ 174 w 190"/>
                <a:gd name="T17" fmla="*/ 153 h 195"/>
                <a:gd name="T18" fmla="*/ 163 w 190"/>
                <a:gd name="T19" fmla="*/ 168 h 195"/>
                <a:gd name="T20" fmla="*/ 149 w 190"/>
                <a:gd name="T21" fmla="*/ 179 h 195"/>
                <a:gd name="T22" fmla="*/ 133 w 190"/>
                <a:gd name="T23" fmla="*/ 188 h 195"/>
                <a:gd name="T24" fmla="*/ 115 w 190"/>
                <a:gd name="T25" fmla="*/ 194 h 195"/>
                <a:gd name="T26" fmla="*/ 95 w 190"/>
                <a:gd name="T27" fmla="*/ 195 h 195"/>
                <a:gd name="T28" fmla="*/ 86 w 190"/>
                <a:gd name="T29" fmla="*/ 195 h 195"/>
                <a:gd name="T30" fmla="*/ 67 w 190"/>
                <a:gd name="T31" fmla="*/ 192 h 195"/>
                <a:gd name="T32" fmla="*/ 49 w 190"/>
                <a:gd name="T33" fmla="*/ 184 h 195"/>
                <a:gd name="T34" fmla="*/ 35 w 190"/>
                <a:gd name="T35" fmla="*/ 173 h 195"/>
                <a:gd name="T36" fmla="*/ 22 w 190"/>
                <a:gd name="T37" fmla="*/ 160 h 195"/>
                <a:gd name="T38" fmla="*/ 12 w 190"/>
                <a:gd name="T39" fmla="*/ 145 h 195"/>
                <a:gd name="T40" fmla="*/ 5 w 190"/>
                <a:gd name="T41" fmla="*/ 128 h 195"/>
                <a:gd name="T42" fmla="*/ 1 w 190"/>
                <a:gd name="T43" fmla="*/ 108 h 195"/>
                <a:gd name="T44" fmla="*/ 0 w 190"/>
                <a:gd name="T45" fmla="*/ 98 h 195"/>
                <a:gd name="T46" fmla="*/ 2 w 190"/>
                <a:gd name="T47" fmla="*/ 78 h 195"/>
                <a:gd name="T48" fmla="*/ 8 w 190"/>
                <a:gd name="T49" fmla="*/ 60 h 195"/>
                <a:gd name="T50" fmla="*/ 16 w 190"/>
                <a:gd name="T51" fmla="*/ 43 h 195"/>
                <a:gd name="T52" fmla="*/ 28 w 190"/>
                <a:gd name="T53" fmla="*/ 29 h 195"/>
                <a:gd name="T54" fmla="*/ 41 w 190"/>
                <a:gd name="T55" fmla="*/ 16 h 195"/>
                <a:gd name="T56" fmla="*/ 57 w 190"/>
                <a:gd name="T57" fmla="*/ 8 h 195"/>
                <a:gd name="T58" fmla="*/ 76 w 190"/>
                <a:gd name="T59" fmla="*/ 3 h 195"/>
                <a:gd name="T60" fmla="*/ 95 w 190"/>
                <a:gd name="T61" fmla="*/ 0 h 195"/>
                <a:gd name="T62" fmla="*/ 107 w 190"/>
                <a:gd name="T63" fmla="*/ 0 h 195"/>
                <a:gd name="T64" fmla="*/ 127 w 190"/>
                <a:gd name="T65" fmla="*/ 6 h 195"/>
                <a:gd name="T66" fmla="*/ 146 w 190"/>
                <a:gd name="T67" fmla="*/ 15 h 195"/>
                <a:gd name="T68" fmla="*/ 162 w 190"/>
                <a:gd name="T69" fmla="*/ 28 h 195"/>
                <a:gd name="T70" fmla="*/ 147 w 190"/>
                <a:gd name="T71" fmla="*/ 57 h 195"/>
                <a:gd name="T72" fmla="*/ 142 w 190"/>
                <a:gd name="T73" fmla="*/ 51 h 195"/>
                <a:gd name="T74" fmla="*/ 132 w 190"/>
                <a:gd name="T75" fmla="*/ 41 h 195"/>
                <a:gd name="T76" fmla="*/ 119 w 190"/>
                <a:gd name="T77" fmla="*/ 34 h 195"/>
                <a:gd name="T78" fmla="*/ 104 w 190"/>
                <a:gd name="T79" fmla="*/ 30 h 195"/>
                <a:gd name="T80" fmla="*/ 95 w 190"/>
                <a:gd name="T81" fmla="*/ 29 h 195"/>
                <a:gd name="T82" fmla="*/ 83 w 190"/>
                <a:gd name="T83" fmla="*/ 30 h 195"/>
                <a:gd name="T84" fmla="*/ 70 w 190"/>
                <a:gd name="T85" fmla="*/ 35 h 195"/>
                <a:gd name="T86" fmla="*/ 49 w 190"/>
                <a:gd name="T87" fmla="*/ 50 h 195"/>
                <a:gd name="T88" fmla="*/ 37 w 190"/>
                <a:gd name="T89" fmla="*/ 71 h 195"/>
                <a:gd name="T90" fmla="*/ 32 w 190"/>
                <a:gd name="T91" fmla="*/ 98 h 195"/>
                <a:gd name="T92" fmla="*/ 33 w 190"/>
                <a:gd name="T93" fmla="*/ 112 h 195"/>
                <a:gd name="T94" fmla="*/ 43 w 190"/>
                <a:gd name="T95" fmla="*/ 137 h 195"/>
                <a:gd name="T96" fmla="*/ 59 w 190"/>
                <a:gd name="T97" fmla="*/ 155 h 195"/>
                <a:gd name="T98" fmla="*/ 76 w 190"/>
                <a:gd name="T99" fmla="*/ 163 h 195"/>
                <a:gd name="T100" fmla="*/ 88 w 190"/>
                <a:gd name="T101" fmla="*/ 167 h 195"/>
                <a:gd name="T102" fmla="*/ 95 w 190"/>
                <a:gd name="T103" fmla="*/ 16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0" h="195">
                  <a:moveTo>
                    <a:pt x="95" y="167"/>
                  </a:moveTo>
                  <a:lnTo>
                    <a:pt x="95" y="167"/>
                  </a:lnTo>
                  <a:lnTo>
                    <a:pt x="109" y="165"/>
                  </a:lnTo>
                  <a:lnTo>
                    <a:pt x="122" y="162"/>
                  </a:lnTo>
                  <a:lnTo>
                    <a:pt x="132" y="155"/>
                  </a:lnTo>
                  <a:lnTo>
                    <a:pt x="141" y="147"/>
                  </a:lnTo>
                  <a:lnTo>
                    <a:pt x="149" y="137"/>
                  </a:lnTo>
                  <a:lnTo>
                    <a:pt x="155" y="125"/>
                  </a:lnTo>
                  <a:lnTo>
                    <a:pt x="158" y="113"/>
                  </a:lnTo>
                  <a:lnTo>
                    <a:pt x="159" y="98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90" y="108"/>
                  </a:lnTo>
                  <a:lnTo>
                    <a:pt x="189" y="117"/>
                  </a:lnTo>
                  <a:lnTo>
                    <a:pt x="187" y="128"/>
                  </a:lnTo>
                  <a:lnTo>
                    <a:pt x="183" y="136"/>
                  </a:lnTo>
                  <a:lnTo>
                    <a:pt x="179" y="145"/>
                  </a:lnTo>
                  <a:lnTo>
                    <a:pt x="174" y="153"/>
                  </a:lnTo>
                  <a:lnTo>
                    <a:pt x="170" y="160"/>
                  </a:lnTo>
                  <a:lnTo>
                    <a:pt x="163" y="168"/>
                  </a:lnTo>
                  <a:lnTo>
                    <a:pt x="157" y="173"/>
                  </a:lnTo>
                  <a:lnTo>
                    <a:pt x="149" y="179"/>
                  </a:lnTo>
                  <a:lnTo>
                    <a:pt x="142" y="184"/>
                  </a:lnTo>
                  <a:lnTo>
                    <a:pt x="133" y="188"/>
                  </a:lnTo>
                  <a:lnTo>
                    <a:pt x="125" y="192"/>
                  </a:lnTo>
                  <a:lnTo>
                    <a:pt x="115" y="194"/>
                  </a:lnTo>
                  <a:lnTo>
                    <a:pt x="106" y="195"/>
                  </a:lnTo>
                  <a:lnTo>
                    <a:pt x="95" y="195"/>
                  </a:lnTo>
                  <a:lnTo>
                    <a:pt x="95" y="195"/>
                  </a:lnTo>
                  <a:lnTo>
                    <a:pt x="86" y="195"/>
                  </a:lnTo>
                  <a:lnTo>
                    <a:pt x="76" y="194"/>
                  </a:lnTo>
                  <a:lnTo>
                    <a:pt x="67" y="192"/>
                  </a:lnTo>
                  <a:lnTo>
                    <a:pt x="57" y="188"/>
                  </a:lnTo>
                  <a:lnTo>
                    <a:pt x="49" y="184"/>
                  </a:lnTo>
                  <a:lnTo>
                    <a:pt x="41" y="179"/>
                  </a:lnTo>
                  <a:lnTo>
                    <a:pt x="35" y="173"/>
                  </a:lnTo>
                  <a:lnTo>
                    <a:pt x="28" y="168"/>
                  </a:lnTo>
                  <a:lnTo>
                    <a:pt x="22" y="160"/>
                  </a:lnTo>
                  <a:lnTo>
                    <a:pt x="16" y="153"/>
                  </a:lnTo>
                  <a:lnTo>
                    <a:pt x="12" y="145"/>
                  </a:lnTo>
                  <a:lnTo>
                    <a:pt x="8" y="136"/>
                  </a:lnTo>
                  <a:lnTo>
                    <a:pt x="5" y="128"/>
                  </a:lnTo>
                  <a:lnTo>
                    <a:pt x="2" y="117"/>
                  </a:lnTo>
                  <a:lnTo>
                    <a:pt x="1" y="10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1" y="88"/>
                  </a:lnTo>
                  <a:lnTo>
                    <a:pt x="2" y="78"/>
                  </a:lnTo>
                  <a:lnTo>
                    <a:pt x="5" y="69"/>
                  </a:lnTo>
                  <a:lnTo>
                    <a:pt x="8" y="60"/>
                  </a:lnTo>
                  <a:lnTo>
                    <a:pt x="12" y="51"/>
                  </a:lnTo>
                  <a:lnTo>
                    <a:pt x="16" y="43"/>
                  </a:lnTo>
                  <a:lnTo>
                    <a:pt x="22" y="36"/>
                  </a:lnTo>
                  <a:lnTo>
                    <a:pt x="28" y="29"/>
                  </a:lnTo>
                  <a:lnTo>
                    <a:pt x="35" y="22"/>
                  </a:lnTo>
                  <a:lnTo>
                    <a:pt x="41" y="16"/>
                  </a:lnTo>
                  <a:lnTo>
                    <a:pt x="49" y="12"/>
                  </a:lnTo>
                  <a:lnTo>
                    <a:pt x="57" y="8"/>
                  </a:lnTo>
                  <a:lnTo>
                    <a:pt x="67" y="5"/>
                  </a:lnTo>
                  <a:lnTo>
                    <a:pt x="76" y="3"/>
                  </a:lnTo>
                  <a:lnTo>
                    <a:pt x="86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107" y="0"/>
                  </a:lnTo>
                  <a:lnTo>
                    <a:pt x="118" y="3"/>
                  </a:lnTo>
                  <a:lnTo>
                    <a:pt x="127" y="6"/>
                  </a:lnTo>
                  <a:lnTo>
                    <a:pt x="138" y="10"/>
                  </a:lnTo>
                  <a:lnTo>
                    <a:pt x="146" y="15"/>
                  </a:lnTo>
                  <a:lnTo>
                    <a:pt x="154" y="21"/>
                  </a:lnTo>
                  <a:lnTo>
                    <a:pt x="162" y="28"/>
                  </a:lnTo>
                  <a:lnTo>
                    <a:pt x="169" y="36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2" y="51"/>
                  </a:lnTo>
                  <a:lnTo>
                    <a:pt x="138" y="45"/>
                  </a:lnTo>
                  <a:lnTo>
                    <a:pt x="132" y="41"/>
                  </a:lnTo>
                  <a:lnTo>
                    <a:pt x="126" y="37"/>
                  </a:lnTo>
                  <a:lnTo>
                    <a:pt x="119" y="34"/>
                  </a:lnTo>
                  <a:lnTo>
                    <a:pt x="111" y="31"/>
                  </a:lnTo>
                  <a:lnTo>
                    <a:pt x="104" y="30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88" y="30"/>
                  </a:lnTo>
                  <a:lnTo>
                    <a:pt x="83" y="30"/>
                  </a:lnTo>
                  <a:lnTo>
                    <a:pt x="76" y="33"/>
                  </a:lnTo>
                  <a:lnTo>
                    <a:pt x="70" y="35"/>
                  </a:lnTo>
                  <a:lnTo>
                    <a:pt x="59" y="41"/>
                  </a:lnTo>
                  <a:lnTo>
                    <a:pt x="49" y="50"/>
                  </a:lnTo>
                  <a:lnTo>
                    <a:pt x="43" y="59"/>
                  </a:lnTo>
                  <a:lnTo>
                    <a:pt x="37" y="71"/>
                  </a:lnTo>
                  <a:lnTo>
                    <a:pt x="33" y="84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3" y="112"/>
                  </a:lnTo>
                  <a:lnTo>
                    <a:pt x="37" y="125"/>
                  </a:lnTo>
                  <a:lnTo>
                    <a:pt x="43" y="137"/>
                  </a:lnTo>
                  <a:lnTo>
                    <a:pt x="49" y="147"/>
                  </a:lnTo>
                  <a:lnTo>
                    <a:pt x="59" y="155"/>
                  </a:lnTo>
                  <a:lnTo>
                    <a:pt x="70" y="161"/>
                  </a:lnTo>
                  <a:lnTo>
                    <a:pt x="76" y="163"/>
                  </a:lnTo>
                  <a:lnTo>
                    <a:pt x="83" y="165"/>
                  </a:lnTo>
                  <a:lnTo>
                    <a:pt x="88" y="167"/>
                  </a:lnTo>
                  <a:lnTo>
                    <a:pt x="95" y="167"/>
                  </a:lnTo>
                  <a:lnTo>
                    <a:pt x="95" y="1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8" name="Freeform 42"/>
            <p:cNvSpPr>
              <a:spLocks noEditPoints="1"/>
            </p:cNvSpPr>
            <p:nvPr userDrawn="1"/>
          </p:nvSpPr>
          <p:spPr bwMode="auto">
            <a:xfrm>
              <a:off x="1636" y="3775"/>
              <a:ext cx="47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7 w 140"/>
                <a:gd name="T13" fmla="*/ 105 h 140"/>
                <a:gd name="T14" fmla="*/ 138 w 140"/>
                <a:gd name="T15" fmla="*/ 99 h 140"/>
                <a:gd name="T16" fmla="*/ 133 w 140"/>
                <a:gd name="T17" fmla="*/ 108 h 140"/>
                <a:gd name="T18" fmla="*/ 121 w 140"/>
                <a:gd name="T19" fmla="*/ 123 h 140"/>
                <a:gd name="T20" fmla="*/ 103 w 140"/>
                <a:gd name="T21" fmla="*/ 135 h 140"/>
                <a:gd name="T22" fmla="*/ 83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3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3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1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8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3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3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1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90" y="109"/>
                  </a:lnTo>
                  <a:lnTo>
                    <a:pt x="97" y="105"/>
                  </a:lnTo>
                  <a:lnTo>
                    <a:pt x="102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1" y="123"/>
                  </a:lnTo>
                  <a:lnTo>
                    <a:pt x="113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3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50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2" y="109"/>
                  </a:lnTo>
                  <a:lnTo>
                    <a:pt x="6" y="98"/>
                  </a:lnTo>
                  <a:lnTo>
                    <a:pt x="4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2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3" y="6"/>
                  </a:lnTo>
                  <a:lnTo>
                    <a:pt x="50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1" y="4"/>
                  </a:lnTo>
                  <a:lnTo>
                    <a:pt x="98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8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5" y="49"/>
                  </a:lnTo>
                  <a:lnTo>
                    <a:pt x="101" y="44"/>
                  </a:lnTo>
                  <a:lnTo>
                    <a:pt x="98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3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8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3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9" name="Freeform 43"/>
            <p:cNvSpPr>
              <a:spLocks/>
            </p:cNvSpPr>
            <p:nvPr userDrawn="1"/>
          </p:nvSpPr>
          <p:spPr bwMode="auto">
            <a:xfrm>
              <a:off x="1692" y="3775"/>
              <a:ext cx="40" cy="47"/>
            </a:xfrm>
            <a:custGeom>
              <a:avLst/>
              <a:gdLst>
                <a:gd name="T0" fmla="*/ 0 w 121"/>
                <a:gd name="T1" fmla="*/ 2 h 139"/>
                <a:gd name="T2" fmla="*/ 30 w 121"/>
                <a:gd name="T3" fmla="*/ 2 h 139"/>
                <a:gd name="T4" fmla="*/ 30 w 121"/>
                <a:gd name="T5" fmla="*/ 18 h 139"/>
                <a:gd name="T6" fmla="*/ 30 w 121"/>
                <a:gd name="T7" fmla="*/ 18 h 139"/>
                <a:gd name="T8" fmla="*/ 36 w 121"/>
                <a:gd name="T9" fmla="*/ 12 h 139"/>
                <a:gd name="T10" fmla="*/ 44 w 121"/>
                <a:gd name="T11" fmla="*/ 6 h 139"/>
                <a:gd name="T12" fmla="*/ 50 w 121"/>
                <a:gd name="T13" fmla="*/ 4 h 139"/>
                <a:gd name="T14" fmla="*/ 55 w 121"/>
                <a:gd name="T15" fmla="*/ 2 h 139"/>
                <a:gd name="T16" fmla="*/ 61 w 121"/>
                <a:gd name="T17" fmla="*/ 0 h 139"/>
                <a:gd name="T18" fmla="*/ 68 w 121"/>
                <a:gd name="T19" fmla="*/ 0 h 139"/>
                <a:gd name="T20" fmla="*/ 68 w 121"/>
                <a:gd name="T21" fmla="*/ 0 h 139"/>
                <a:gd name="T22" fmla="*/ 79 w 121"/>
                <a:gd name="T23" fmla="*/ 2 h 139"/>
                <a:gd name="T24" fmla="*/ 91 w 121"/>
                <a:gd name="T25" fmla="*/ 4 h 139"/>
                <a:gd name="T26" fmla="*/ 99 w 121"/>
                <a:gd name="T27" fmla="*/ 8 h 139"/>
                <a:gd name="T28" fmla="*/ 107 w 121"/>
                <a:gd name="T29" fmla="*/ 15 h 139"/>
                <a:gd name="T30" fmla="*/ 113 w 121"/>
                <a:gd name="T31" fmla="*/ 23 h 139"/>
                <a:gd name="T32" fmla="*/ 117 w 121"/>
                <a:gd name="T33" fmla="*/ 33 h 139"/>
                <a:gd name="T34" fmla="*/ 120 w 121"/>
                <a:gd name="T35" fmla="*/ 44 h 139"/>
                <a:gd name="T36" fmla="*/ 121 w 121"/>
                <a:gd name="T37" fmla="*/ 57 h 139"/>
                <a:gd name="T38" fmla="*/ 121 w 121"/>
                <a:gd name="T39" fmla="*/ 139 h 139"/>
                <a:gd name="T40" fmla="*/ 91 w 121"/>
                <a:gd name="T41" fmla="*/ 139 h 139"/>
                <a:gd name="T42" fmla="*/ 91 w 121"/>
                <a:gd name="T43" fmla="*/ 63 h 139"/>
                <a:gd name="T44" fmla="*/ 91 w 121"/>
                <a:gd name="T45" fmla="*/ 63 h 139"/>
                <a:gd name="T46" fmla="*/ 90 w 121"/>
                <a:gd name="T47" fmla="*/ 55 h 139"/>
                <a:gd name="T48" fmla="*/ 89 w 121"/>
                <a:gd name="T49" fmla="*/ 47 h 139"/>
                <a:gd name="T50" fmla="*/ 86 w 121"/>
                <a:gd name="T51" fmla="*/ 42 h 139"/>
                <a:gd name="T52" fmla="*/ 83 w 121"/>
                <a:gd name="T53" fmla="*/ 37 h 139"/>
                <a:gd name="T54" fmla="*/ 78 w 121"/>
                <a:gd name="T55" fmla="*/ 34 h 139"/>
                <a:gd name="T56" fmla="*/ 74 w 121"/>
                <a:gd name="T57" fmla="*/ 30 h 139"/>
                <a:gd name="T58" fmla="*/ 67 w 121"/>
                <a:gd name="T59" fmla="*/ 29 h 139"/>
                <a:gd name="T60" fmla="*/ 60 w 121"/>
                <a:gd name="T61" fmla="*/ 29 h 139"/>
                <a:gd name="T62" fmla="*/ 60 w 121"/>
                <a:gd name="T63" fmla="*/ 29 h 139"/>
                <a:gd name="T64" fmla="*/ 53 w 121"/>
                <a:gd name="T65" fmla="*/ 29 h 139"/>
                <a:gd name="T66" fmla="*/ 47 w 121"/>
                <a:gd name="T67" fmla="*/ 31 h 139"/>
                <a:gd name="T68" fmla="*/ 42 w 121"/>
                <a:gd name="T69" fmla="*/ 35 h 139"/>
                <a:gd name="T70" fmla="*/ 38 w 121"/>
                <a:gd name="T71" fmla="*/ 38 h 139"/>
                <a:gd name="T72" fmla="*/ 35 w 121"/>
                <a:gd name="T73" fmla="*/ 44 h 139"/>
                <a:gd name="T74" fmla="*/ 32 w 121"/>
                <a:gd name="T75" fmla="*/ 50 h 139"/>
                <a:gd name="T76" fmla="*/ 30 w 121"/>
                <a:gd name="T77" fmla="*/ 57 h 139"/>
                <a:gd name="T78" fmla="*/ 30 w 121"/>
                <a:gd name="T79" fmla="*/ 63 h 139"/>
                <a:gd name="T80" fmla="*/ 30 w 121"/>
                <a:gd name="T81" fmla="*/ 139 h 139"/>
                <a:gd name="T82" fmla="*/ 0 w 121"/>
                <a:gd name="T83" fmla="*/ 139 h 139"/>
                <a:gd name="T84" fmla="*/ 0 w 121"/>
                <a:gd name="T85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39">
                  <a:moveTo>
                    <a:pt x="0" y="2"/>
                  </a:moveTo>
                  <a:lnTo>
                    <a:pt x="30" y="2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6"/>
                  </a:lnTo>
                  <a:lnTo>
                    <a:pt x="50" y="4"/>
                  </a:lnTo>
                  <a:lnTo>
                    <a:pt x="55" y="2"/>
                  </a:lnTo>
                  <a:lnTo>
                    <a:pt x="61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9" y="2"/>
                  </a:lnTo>
                  <a:lnTo>
                    <a:pt x="91" y="4"/>
                  </a:lnTo>
                  <a:lnTo>
                    <a:pt x="99" y="8"/>
                  </a:lnTo>
                  <a:lnTo>
                    <a:pt x="107" y="15"/>
                  </a:lnTo>
                  <a:lnTo>
                    <a:pt x="113" y="23"/>
                  </a:lnTo>
                  <a:lnTo>
                    <a:pt x="117" y="33"/>
                  </a:lnTo>
                  <a:lnTo>
                    <a:pt x="120" y="44"/>
                  </a:lnTo>
                  <a:lnTo>
                    <a:pt x="121" y="57"/>
                  </a:lnTo>
                  <a:lnTo>
                    <a:pt x="121" y="139"/>
                  </a:lnTo>
                  <a:lnTo>
                    <a:pt x="91" y="139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90" y="55"/>
                  </a:lnTo>
                  <a:lnTo>
                    <a:pt x="89" y="47"/>
                  </a:lnTo>
                  <a:lnTo>
                    <a:pt x="86" y="42"/>
                  </a:lnTo>
                  <a:lnTo>
                    <a:pt x="83" y="37"/>
                  </a:lnTo>
                  <a:lnTo>
                    <a:pt x="78" y="34"/>
                  </a:lnTo>
                  <a:lnTo>
                    <a:pt x="74" y="30"/>
                  </a:lnTo>
                  <a:lnTo>
                    <a:pt x="67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3" y="29"/>
                  </a:lnTo>
                  <a:lnTo>
                    <a:pt x="47" y="31"/>
                  </a:lnTo>
                  <a:lnTo>
                    <a:pt x="42" y="35"/>
                  </a:lnTo>
                  <a:lnTo>
                    <a:pt x="38" y="38"/>
                  </a:lnTo>
                  <a:lnTo>
                    <a:pt x="35" y="44"/>
                  </a:lnTo>
                  <a:lnTo>
                    <a:pt x="32" y="50"/>
                  </a:lnTo>
                  <a:lnTo>
                    <a:pt x="30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0" name="Freeform 44"/>
            <p:cNvSpPr>
              <a:spLocks/>
            </p:cNvSpPr>
            <p:nvPr userDrawn="1"/>
          </p:nvSpPr>
          <p:spPr bwMode="auto">
            <a:xfrm>
              <a:off x="1738" y="3756"/>
              <a:ext cx="33" cy="66"/>
            </a:xfrm>
            <a:custGeom>
              <a:avLst/>
              <a:gdLst>
                <a:gd name="T0" fmla="*/ 29 w 100"/>
                <a:gd name="T1" fmla="*/ 4 h 196"/>
                <a:gd name="T2" fmla="*/ 58 w 100"/>
                <a:gd name="T3" fmla="*/ 0 h 196"/>
                <a:gd name="T4" fmla="*/ 58 w 100"/>
                <a:gd name="T5" fmla="*/ 59 h 196"/>
                <a:gd name="T6" fmla="*/ 100 w 100"/>
                <a:gd name="T7" fmla="*/ 59 h 196"/>
                <a:gd name="T8" fmla="*/ 100 w 100"/>
                <a:gd name="T9" fmla="*/ 87 h 196"/>
                <a:gd name="T10" fmla="*/ 58 w 100"/>
                <a:gd name="T11" fmla="*/ 87 h 196"/>
                <a:gd name="T12" fmla="*/ 58 w 100"/>
                <a:gd name="T13" fmla="*/ 196 h 196"/>
                <a:gd name="T14" fmla="*/ 29 w 100"/>
                <a:gd name="T15" fmla="*/ 196 h 196"/>
                <a:gd name="T16" fmla="*/ 29 w 100"/>
                <a:gd name="T17" fmla="*/ 87 h 196"/>
                <a:gd name="T18" fmla="*/ 0 w 100"/>
                <a:gd name="T19" fmla="*/ 87 h 196"/>
                <a:gd name="T20" fmla="*/ 0 w 100"/>
                <a:gd name="T21" fmla="*/ 59 h 196"/>
                <a:gd name="T22" fmla="*/ 29 w 100"/>
                <a:gd name="T23" fmla="*/ 59 h 196"/>
                <a:gd name="T24" fmla="*/ 29 w 100"/>
                <a:gd name="T25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96">
                  <a:moveTo>
                    <a:pt x="29" y="4"/>
                  </a:moveTo>
                  <a:lnTo>
                    <a:pt x="58" y="0"/>
                  </a:lnTo>
                  <a:lnTo>
                    <a:pt x="58" y="59"/>
                  </a:lnTo>
                  <a:lnTo>
                    <a:pt x="100" y="59"/>
                  </a:lnTo>
                  <a:lnTo>
                    <a:pt x="100" y="87"/>
                  </a:lnTo>
                  <a:lnTo>
                    <a:pt x="58" y="87"/>
                  </a:lnTo>
                  <a:lnTo>
                    <a:pt x="58" y="196"/>
                  </a:lnTo>
                  <a:lnTo>
                    <a:pt x="29" y="196"/>
                  </a:lnTo>
                  <a:lnTo>
                    <a:pt x="29" y="87"/>
                  </a:lnTo>
                  <a:lnTo>
                    <a:pt x="0" y="87"/>
                  </a:lnTo>
                  <a:lnTo>
                    <a:pt x="0" y="59"/>
                  </a:lnTo>
                  <a:lnTo>
                    <a:pt x="29" y="59"/>
                  </a:lnTo>
                  <a:lnTo>
                    <a:pt x="2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1" name="Freeform 45"/>
            <p:cNvSpPr>
              <a:spLocks/>
            </p:cNvSpPr>
            <p:nvPr userDrawn="1"/>
          </p:nvSpPr>
          <p:spPr bwMode="auto">
            <a:xfrm>
              <a:off x="1779" y="3775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29 w 65"/>
                <a:gd name="T3" fmla="*/ 2 h 139"/>
                <a:gd name="T4" fmla="*/ 29 w 65"/>
                <a:gd name="T5" fmla="*/ 16 h 139"/>
                <a:gd name="T6" fmla="*/ 29 w 65"/>
                <a:gd name="T7" fmla="*/ 16 h 139"/>
                <a:gd name="T8" fmla="*/ 35 w 65"/>
                <a:gd name="T9" fmla="*/ 10 h 139"/>
                <a:gd name="T10" fmla="*/ 42 w 65"/>
                <a:gd name="T11" fmla="*/ 5 h 139"/>
                <a:gd name="T12" fmla="*/ 47 w 65"/>
                <a:gd name="T13" fmla="*/ 3 h 139"/>
                <a:gd name="T14" fmla="*/ 52 w 65"/>
                <a:gd name="T15" fmla="*/ 2 h 139"/>
                <a:gd name="T16" fmla="*/ 58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49 w 65"/>
                <a:gd name="T29" fmla="*/ 31 h 139"/>
                <a:gd name="T30" fmla="*/ 43 w 65"/>
                <a:gd name="T31" fmla="*/ 35 h 139"/>
                <a:gd name="T32" fmla="*/ 39 w 65"/>
                <a:gd name="T33" fmla="*/ 38 h 139"/>
                <a:gd name="T34" fmla="*/ 35 w 65"/>
                <a:gd name="T35" fmla="*/ 44 h 139"/>
                <a:gd name="T36" fmla="*/ 32 w 65"/>
                <a:gd name="T37" fmla="*/ 50 h 139"/>
                <a:gd name="T38" fmla="*/ 31 w 65"/>
                <a:gd name="T39" fmla="*/ 57 h 139"/>
                <a:gd name="T40" fmla="*/ 29 w 65"/>
                <a:gd name="T41" fmla="*/ 63 h 139"/>
                <a:gd name="T42" fmla="*/ 29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29" y="2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5" y="10"/>
                  </a:lnTo>
                  <a:lnTo>
                    <a:pt x="42" y="5"/>
                  </a:lnTo>
                  <a:lnTo>
                    <a:pt x="47" y="3"/>
                  </a:lnTo>
                  <a:lnTo>
                    <a:pt x="52" y="2"/>
                  </a:lnTo>
                  <a:lnTo>
                    <a:pt x="58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49" y="31"/>
                  </a:lnTo>
                  <a:lnTo>
                    <a:pt x="43" y="35"/>
                  </a:lnTo>
                  <a:lnTo>
                    <a:pt x="39" y="38"/>
                  </a:lnTo>
                  <a:lnTo>
                    <a:pt x="35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29" y="63"/>
                  </a:lnTo>
                  <a:lnTo>
                    <a:pt x="29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2" name="Freeform 46"/>
            <p:cNvSpPr>
              <a:spLocks noEditPoints="1"/>
            </p:cNvSpPr>
            <p:nvPr userDrawn="1"/>
          </p:nvSpPr>
          <p:spPr bwMode="auto">
            <a:xfrm>
              <a:off x="1806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6 w 140"/>
                <a:gd name="T3" fmla="*/ 93 h 140"/>
                <a:gd name="T4" fmla="*/ 44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0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0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8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1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6" y="93"/>
                  </a:lnTo>
                  <a:lnTo>
                    <a:pt x="40" y="99"/>
                  </a:lnTo>
                  <a:lnTo>
                    <a:pt x="44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0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0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3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8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5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1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94290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7015087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7" name="Title Placeholder 1"/>
          <p:cNvSpPr>
            <a:spLocks noGrp="1"/>
          </p:cNvSpPr>
          <p:nvPr>
            <p:ph type="title"/>
          </p:nvPr>
        </p:nvSpPr>
        <p:spPr>
          <a:xfrm>
            <a:off x="3181350" y="5635663"/>
            <a:ext cx="8362949" cy="60204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2" t="23540" r="6984" b="26475"/>
          <a:stretch/>
        </p:blipFill>
        <p:spPr>
          <a:xfrm>
            <a:off x="740229" y="788308"/>
            <a:ext cx="10697028" cy="4437742"/>
          </a:xfrm>
          <a:prstGeom prst="rect">
            <a:avLst/>
          </a:prstGeom>
        </p:spPr>
      </p:pic>
      <p:sp>
        <p:nvSpPr>
          <p:cNvPr id="9" name="Tijdelijke aanduiding voor tekst 16">
            <a:extLst>
              <a:ext uri="{FF2B5EF4-FFF2-40B4-BE49-F238E27FC236}">
                <a16:creationId xmlns:a16="http://schemas.microsoft.com/office/drawing/2014/main" id="{84146CB0-6BC6-4934-BF0B-44A468D396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181350" y="5321300"/>
            <a:ext cx="8270421" cy="285787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 algn="r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BE" dirty="0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762000" y="5310188"/>
            <a:ext cx="2193925" cy="793750"/>
            <a:chOff x="480" y="3345"/>
            <a:chExt cx="1382" cy="500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480" y="3345"/>
              <a:ext cx="1382" cy="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480" y="3424"/>
              <a:ext cx="167" cy="236"/>
            </a:xfrm>
            <a:custGeom>
              <a:avLst/>
              <a:gdLst>
                <a:gd name="T0" fmla="*/ 116 w 502"/>
                <a:gd name="T1" fmla="*/ 486 h 709"/>
                <a:gd name="T2" fmla="*/ 156 w 502"/>
                <a:gd name="T3" fmla="*/ 539 h 709"/>
                <a:gd name="T4" fmla="*/ 181 w 502"/>
                <a:gd name="T5" fmla="*/ 557 h 709"/>
                <a:gd name="T6" fmla="*/ 210 w 502"/>
                <a:gd name="T7" fmla="*/ 568 h 709"/>
                <a:gd name="T8" fmla="*/ 243 w 502"/>
                <a:gd name="T9" fmla="*/ 574 h 709"/>
                <a:gd name="T10" fmla="*/ 275 w 502"/>
                <a:gd name="T11" fmla="*/ 573 h 709"/>
                <a:gd name="T12" fmla="*/ 313 w 502"/>
                <a:gd name="T13" fmla="*/ 560 h 709"/>
                <a:gd name="T14" fmla="*/ 330 w 502"/>
                <a:gd name="T15" fmla="*/ 548 h 709"/>
                <a:gd name="T16" fmla="*/ 340 w 502"/>
                <a:gd name="T17" fmla="*/ 531 h 709"/>
                <a:gd name="T18" fmla="*/ 344 w 502"/>
                <a:gd name="T19" fmla="*/ 511 h 709"/>
                <a:gd name="T20" fmla="*/ 343 w 502"/>
                <a:gd name="T21" fmla="*/ 497 h 709"/>
                <a:gd name="T22" fmla="*/ 335 w 502"/>
                <a:gd name="T23" fmla="*/ 478 h 709"/>
                <a:gd name="T24" fmla="*/ 321 w 502"/>
                <a:gd name="T25" fmla="*/ 462 h 709"/>
                <a:gd name="T26" fmla="*/ 274 w 502"/>
                <a:gd name="T27" fmla="*/ 433 h 709"/>
                <a:gd name="T28" fmla="*/ 204 w 502"/>
                <a:gd name="T29" fmla="*/ 406 h 709"/>
                <a:gd name="T30" fmla="*/ 144 w 502"/>
                <a:gd name="T31" fmla="*/ 377 h 709"/>
                <a:gd name="T32" fmla="*/ 99 w 502"/>
                <a:gd name="T33" fmla="*/ 343 h 709"/>
                <a:gd name="T34" fmla="*/ 66 w 502"/>
                <a:gd name="T35" fmla="*/ 304 h 709"/>
                <a:gd name="T36" fmla="*/ 46 w 502"/>
                <a:gd name="T37" fmla="*/ 260 h 709"/>
                <a:gd name="T38" fmla="*/ 37 w 502"/>
                <a:gd name="T39" fmla="*/ 211 h 709"/>
                <a:gd name="T40" fmla="*/ 37 w 502"/>
                <a:gd name="T41" fmla="*/ 173 h 709"/>
                <a:gd name="T42" fmla="*/ 53 w 502"/>
                <a:gd name="T43" fmla="*/ 117 h 709"/>
                <a:gd name="T44" fmla="*/ 85 w 502"/>
                <a:gd name="T45" fmla="*/ 69 h 709"/>
                <a:gd name="T46" fmla="*/ 131 w 502"/>
                <a:gd name="T47" fmla="*/ 32 h 709"/>
                <a:gd name="T48" fmla="*/ 189 w 502"/>
                <a:gd name="T49" fmla="*/ 8 h 709"/>
                <a:gd name="T50" fmla="*/ 257 w 502"/>
                <a:gd name="T51" fmla="*/ 0 h 709"/>
                <a:gd name="T52" fmla="*/ 290 w 502"/>
                <a:gd name="T53" fmla="*/ 1 h 709"/>
                <a:gd name="T54" fmla="*/ 336 w 502"/>
                <a:gd name="T55" fmla="*/ 10 h 709"/>
                <a:gd name="T56" fmla="*/ 378 w 502"/>
                <a:gd name="T57" fmla="*/ 28 h 709"/>
                <a:gd name="T58" fmla="*/ 417 w 502"/>
                <a:gd name="T59" fmla="*/ 54 h 709"/>
                <a:gd name="T60" fmla="*/ 451 w 502"/>
                <a:gd name="T61" fmla="*/ 89 h 709"/>
                <a:gd name="T62" fmla="*/ 360 w 502"/>
                <a:gd name="T63" fmla="*/ 196 h 709"/>
                <a:gd name="T64" fmla="*/ 340 w 502"/>
                <a:gd name="T65" fmla="*/ 169 h 709"/>
                <a:gd name="T66" fmla="*/ 305 w 502"/>
                <a:gd name="T67" fmla="*/ 143 h 709"/>
                <a:gd name="T68" fmla="*/ 260 w 502"/>
                <a:gd name="T69" fmla="*/ 134 h 709"/>
                <a:gd name="T70" fmla="*/ 231 w 502"/>
                <a:gd name="T71" fmla="*/ 139 h 709"/>
                <a:gd name="T72" fmla="*/ 197 w 502"/>
                <a:gd name="T73" fmla="*/ 157 h 709"/>
                <a:gd name="T74" fmla="*/ 188 w 502"/>
                <a:gd name="T75" fmla="*/ 172 h 709"/>
                <a:gd name="T76" fmla="*/ 184 w 502"/>
                <a:gd name="T77" fmla="*/ 189 h 709"/>
                <a:gd name="T78" fmla="*/ 189 w 502"/>
                <a:gd name="T79" fmla="*/ 214 h 709"/>
                <a:gd name="T80" fmla="*/ 204 w 502"/>
                <a:gd name="T81" fmla="*/ 235 h 709"/>
                <a:gd name="T82" fmla="*/ 250 w 502"/>
                <a:gd name="T83" fmla="*/ 264 h 709"/>
                <a:gd name="T84" fmla="*/ 322 w 502"/>
                <a:gd name="T85" fmla="*/ 291 h 709"/>
                <a:gd name="T86" fmla="*/ 381 w 502"/>
                <a:gd name="T87" fmla="*/ 319 h 709"/>
                <a:gd name="T88" fmla="*/ 430 w 502"/>
                <a:gd name="T89" fmla="*/ 351 h 709"/>
                <a:gd name="T90" fmla="*/ 465 w 502"/>
                <a:gd name="T91" fmla="*/ 387 h 709"/>
                <a:gd name="T92" fmla="*/ 489 w 502"/>
                <a:gd name="T93" fmla="*/ 432 h 709"/>
                <a:gd name="T94" fmla="*/ 501 w 502"/>
                <a:gd name="T95" fmla="*/ 485 h 709"/>
                <a:gd name="T96" fmla="*/ 501 w 502"/>
                <a:gd name="T97" fmla="*/ 526 h 709"/>
                <a:gd name="T98" fmla="*/ 483 w 502"/>
                <a:gd name="T99" fmla="*/ 587 h 709"/>
                <a:gd name="T100" fmla="*/ 449 w 502"/>
                <a:gd name="T101" fmla="*/ 638 h 709"/>
                <a:gd name="T102" fmla="*/ 398 w 502"/>
                <a:gd name="T103" fmla="*/ 676 h 709"/>
                <a:gd name="T104" fmla="*/ 332 w 502"/>
                <a:gd name="T105" fmla="*/ 700 h 709"/>
                <a:gd name="T106" fmla="*/ 255 w 502"/>
                <a:gd name="T107" fmla="*/ 709 h 709"/>
                <a:gd name="T108" fmla="*/ 215 w 502"/>
                <a:gd name="T109" fmla="*/ 707 h 709"/>
                <a:gd name="T110" fmla="*/ 159 w 502"/>
                <a:gd name="T111" fmla="*/ 696 h 709"/>
                <a:gd name="T112" fmla="*/ 108 w 502"/>
                <a:gd name="T113" fmla="*/ 675 h 709"/>
                <a:gd name="T114" fmla="*/ 62 w 502"/>
                <a:gd name="T115" fmla="*/ 644 h 709"/>
                <a:gd name="T116" fmla="*/ 23 w 502"/>
                <a:gd name="T117" fmla="*/ 6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709">
                  <a:moveTo>
                    <a:pt x="0" y="568"/>
                  </a:moveTo>
                  <a:lnTo>
                    <a:pt x="116" y="486"/>
                  </a:lnTo>
                  <a:lnTo>
                    <a:pt x="116" y="486"/>
                  </a:lnTo>
                  <a:lnTo>
                    <a:pt x="128" y="507"/>
                  </a:lnTo>
                  <a:lnTo>
                    <a:pt x="142" y="524"/>
                  </a:lnTo>
                  <a:lnTo>
                    <a:pt x="156" y="539"/>
                  </a:lnTo>
                  <a:lnTo>
                    <a:pt x="164" y="546"/>
                  </a:lnTo>
                  <a:lnTo>
                    <a:pt x="172" y="551"/>
                  </a:lnTo>
                  <a:lnTo>
                    <a:pt x="181" y="557"/>
                  </a:lnTo>
                  <a:lnTo>
                    <a:pt x="190" y="562"/>
                  </a:lnTo>
                  <a:lnTo>
                    <a:pt x="199" y="565"/>
                  </a:lnTo>
                  <a:lnTo>
                    <a:pt x="210" y="568"/>
                  </a:lnTo>
                  <a:lnTo>
                    <a:pt x="220" y="571"/>
                  </a:lnTo>
                  <a:lnTo>
                    <a:pt x="231" y="573"/>
                  </a:lnTo>
                  <a:lnTo>
                    <a:pt x="243" y="574"/>
                  </a:lnTo>
                  <a:lnTo>
                    <a:pt x="255" y="574"/>
                  </a:lnTo>
                  <a:lnTo>
                    <a:pt x="255" y="574"/>
                  </a:lnTo>
                  <a:lnTo>
                    <a:pt x="275" y="573"/>
                  </a:lnTo>
                  <a:lnTo>
                    <a:pt x="291" y="570"/>
                  </a:lnTo>
                  <a:lnTo>
                    <a:pt x="306" y="564"/>
                  </a:lnTo>
                  <a:lnTo>
                    <a:pt x="313" y="560"/>
                  </a:lnTo>
                  <a:lnTo>
                    <a:pt x="320" y="557"/>
                  </a:lnTo>
                  <a:lnTo>
                    <a:pt x="324" y="552"/>
                  </a:lnTo>
                  <a:lnTo>
                    <a:pt x="330" y="548"/>
                  </a:lnTo>
                  <a:lnTo>
                    <a:pt x="333" y="542"/>
                  </a:lnTo>
                  <a:lnTo>
                    <a:pt x="337" y="536"/>
                  </a:lnTo>
                  <a:lnTo>
                    <a:pt x="340" y="531"/>
                  </a:lnTo>
                  <a:lnTo>
                    <a:pt x="341" y="525"/>
                  </a:lnTo>
                  <a:lnTo>
                    <a:pt x="344" y="518"/>
                  </a:lnTo>
                  <a:lnTo>
                    <a:pt x="344" y="511"/>
                  </a:lnTo>
                  <a:lnTo>
                    <a:pt x="344" y="511"/>
                  </a:lnTo>
                  <a:lnTo>
                    <a:pt x="344" y="504"/>
                  </a:lnTo>
                  <a:lnTo>
                    <a:pt x="343" y="497"/>
                  </a:lnTo>
                  <a:lnTo>
                    <a:pt x="340" y="491"/>
                  </a:lnTo>
                  <a:lnTo>
                    <a:pt x="338" y="484"/>
                  </a:lnTo>
                  <a:lnTo>
                    <a:pt x="335" y="478"/>
                  </a:lnTo>
                  <a:lnTo>
                    <a:pt x="331" y="472"/>
                  </a:lnTo>
                  <a:lnTo>
                    <a:pt x="327" y="466"/>
                  </a:lnTo>
                  <a:lnTo>
                    <a:pt x="321" y="462"/>
                  </a:lnTo>
                  <a:lnTo>
                    <a:pt x="308" y="452"/>
                  </a:lnTo>
                  <a:lnTo>
                    <a:pt x="292" y="442"/>
                  </a:lnTo>
                  <a:lnTo>
                    <a:pt x="274" y="433"/>
                  </a:lnTo>
                  <a:lnTo>
                    <a:pt x="252" y="424"/>
                  </a:lnTo>
                  <a:lnTo>
                    <a:pt x="204" y="406"/>
                  </a:lnTo>
                  <a:lnTo>
                    <a:pt x="204" y="406"/>
                  </a:lnTo>
                  <a:lnTo>
                    <a:pt x="182" y="397"/>
                  </a:lnTo>
                  <a:lnTo>
                    <a:pt x="163" y="387"/>
                  </a:lnTo>
                  <a:lnTo>
                    <a:pt x="144" y="377"/>
                  </a:lnTo>
                  <a:lnTo>
                    <a:pt x="128" y="367"/>
                  </a:lnTo>
                  <a:lnTo>
                    <a:pt x="112" y="355"/>
                  </a:lnTo>
                  <a:lnTo>
                    <a:pt x="99" y="343"/>
                  </a:lnTo>
                  <a:lnTo>
                    <a:pt x="87" y="330"/>
                  </a:lnTo>
                  <a:lnTo>
                    <a:pt x="76" y="317"/>
                  </a:lnTo>
                  <a:lnTo>
                    <a:pt x="66" y="304"/>
                  </a:lnTo>
                  <a:lnTo>
                    <a:pt x="58" y="290"/>
                  </a:lnTo>
                  <a:lnTo>
                    <a:pt x="52" y="275"/>
                  </a:lnTo>
                  <a:lnTo>
                    <a:pt x="46" y="260"/>
                  </a:lnTo>
                  <a:lnTo>
                    <a:pt x="41" y="244"/>
                  </a:lnTo>
                  <a:lnTo>
                    <a:pt x="38" y="228"/>
                  </a:lnTo>
                  <a:lnTo>
                    <a:pt x="37" y="211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7" y="173"/>
                  </a:lnTo>
                  <a:lnTo>
                    <a:pt x="40" y="154"/>
                  </a:lnTo>
                  <a:lnTo>
                    <a:pt x="45" y="134"/>
                  </a:lnTo>
                  <a:lnTo>
                    <a:pt x="53" y="117"/>
                  </a:lnTo>
                  <a:lnTo>
                    <a:pt x="62" y="100"/>
                  </a:lnTo>
                  <a:lnTo>
                    <a:pt x="72" y="84"/>
                  </a:lnTo>
                  <a:lnTo>
                    <a:pt x="85" y="69"/>
                  </a:lnTo>
                  <a:lnTo>
                    <a:pt x="99" y="55"/>
                  </a:lnTo>
                  <a:lnTo>
                    <a:pt x="113" y="42"/>
                  </a:lnTo>
                  <a:lnTo>
                    <a:pt x="131" y="32"/>
                  </a:lnTo>
                  <a:lnTo>
                    <a:pt x="149" y="22"/>
                  </a:lnTo>
                  <a:lnTo>
                    <a:pt x="168" y="15"/>
                  </a:lnTo>
                  <a:lnTo>
                    <a:pt x="189" y="8"/>
                  </a:lnTo>
                  <a:lnTo>
                    <a:pt x="211" y="3"/>
                  </a:lnTo>
                  <a:lnTo>
                    <a:pt x="234" y="1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74" y="0"/>
                  </a:lnTo>
                  <a:lnTo>
                    <a:pt x="290" y="1"/>
                  </a:lnTo>
                  <a:lnTo>
                    <a:pt x="305" y="3"/>
                  </a:lnTo>
                  <a:lnTo>
                    <a:pt x="321" y="7"/>
                  </a:lnTo>
                  <a:lnTo>
                    <a:pt x="336" y="10"/>
                  </a:lnTo>
                  <a:lnTo>
                    <a:pt x="351" y="15"/>
                  </a:lnTo>
                  <a:lnTo>
                    <a:pt x="364" y="21"/>
                  </a:lnTo>
                  <a:lnTo>
                    <a:pt x="378" y="28"/>
                  </a:lnTo>
                  <a:lnTo>
                    <a:pt x="392" y="36"/>
                  </a:lnTo>
                  <a:lnTo>
                    <a:pt x="404" y="44"/>
                  </a:lnTo>
                  <a:lnTo>
                    <a:pt x="417" y="54"/>
                  </a:lnTo>
                  <a:lnTo>
                    <a:pt x="428" y="65"/>
                  </a:lnTo>
                  <a:lnTo>
                    <a:pt x="440" y="77"/>
                  </a:lnTo>
                  <a:lnTo>
                    <a:pt x="451" y="89"/>
                  </a:lnTo>
                  <a:lnTo>
                    <a:pt x="462" y="104"/>
                  </a:lnTo>
                  <a:lnTo>
                    <a:pt x="471" y="119"/>
                  </a:lnTo>
                  <a:lnTo>
                    <a:pt x="360" y="196"/>
                  </a:lnTo>
                  <a:lnTo>
                    <a:pt x="360" y="196"/>
                  </a:lnTo>
                  <a:lnTo>
                    <a:pt x="351" y="181"/>
                  </a:lnTo>
                  <a:lnTo>
                    <a:pt x="340" y="169"/>
                  </a:lnTo>
                  <a:lnTo>
                    <a:pt x="330" y="158"/>
                  </a:lnTo>
                  <a:lnTo>
                    <a:pt x="317" y="149"/>
                  </a:lnTo>
                  <a:lnTo>
                    <a:pt x="305" y="143"/>
                  </a:lnTo>
                  <a:lnTo>
                    <a:pt x="291" y="139"/>
                  </a:lnTo>
                  <a:lnTo>
                    <a:pt x="276" y="135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45" y="135"/>
                  </a:lnTo>
                  <a:lnTo>
                    <a:pt x="231" y="139"/>
                  </a:lnTo>
                  <a:lnTo>
                    <a:pt x="219" y="143"/>
                  </a:lnTo>
                  <a:lnTo>
                    <a:pt x="207" y="149"/>
                  </a:lnTo>
                  <a:lnTo>
                    <a:pt x="197" y="157"/>
                  </a:lnTo>
                  <a:lnTo>
                    <a:pt x="194" y="162"/>
                  </a:lnTo>
                  <a:lnTo>
                    <a:pt x="190" y="166"/>
                  </a:lnTo>
                  <a:lnTo>
                    <a:pt x="188" y="172"/>
                  </a:lnTo>
                  <a:lnTo>
                    <a:pt x="186" y="178"/>
                  </a:lnTo>
                  <a:lnTo>
                    <a:pt x="184" y="183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6" y="203"/>
                  </a:lnTo>
                  <a:lnTo>
                    <a:pt x="189" y="214"/>
                  </a:lnTo>
                  <a:lnTo>
                    <a:pt x="191" y="220"/>
                  </a:lnTo>
                  <a:lnTo>
                    <a:pt x="195" y="225"/>
                  </a:lnTo>
                  <a:lnTo>
                    <a:pt x="204" y="235"/>
                  </a:lnTo>
                  <a:lnTo>
                    <a:pt x="215" y="245"/>
                  </a:lnTo>
                  <a:lnTo>
                    <a:pt x="231" y="254"/>
                  </a:lnTo>
                  <a:lnTo>
                    <a:pt x="250" y="264"/>
                  </a:lnTo>
                  <a:lnTo>
                    <a:pt x="273" y="274"/>
                  </a:lnTo>
                  <a:lnTo>
                    <a:pt x="322" y="291"/>
                  </a:lnTo>
                  <a:lnTo>
                    <a:pt x="322" y="291"/>
                  </a:lnTo>
                  <a:lnTo>
                    <a:pt x="343" y="300"/>
                  </a:lnTo>
                  <a:lnTo>
                    <a:pt x="362" y="309"/>
                  </a:lnTo>
                  <a:lnTo>
                    <a:pt x="381" y="319"/>
                  </a:lnTo>
                  <a:lnTo>
                    <a:pt x="399" y="329"/>
                  </a:lnTo>
                  <a:lnTo>
                    <a:pt x="415" y="339"/>
                  </a:lnTo>
                  <a:lnTo>
                    <a:pt x="430" y="351"/>
                  </a:lnTo>
                  <a:lnTo>
                    <a:pt x="442" y="362"/>
                  </a:lnTo>
                  <a:lnTo>
                    <a:pt x="455" y="375"/>
                  </a:lnTo>
                  <a:lnTo>
                    <a:pt x="465" y="387"/>
                  </a:lnTo>
                  <a:lnTo>
                    <a:pt x="475" y="402"/>
                  </a:lnTo>
                  <a:lnTo>
                    <a:pt x="483" y="416"/>
                  </a:lnTo>
                  <a:lnTo>
                    <a:pt x="489" y="432"/>
                  </a:lnTo>
                  <a:lnTo>
                    <a:pt x="495" y="449"/>
                  </a:lnTo>
                  <a:lnTo>
                    <a:pt x="498" y="466"/>
                  </a:lnTo>
                  <a:lnTo>
                    <a:pt x="501" y="485"/>
                  </a:lnTo>
                  <a:lnTo>
                    <a:pt x="502" y="504"/>
                  </a:lnTo>
                  <a:lnTo>
                    <a:pt x="502" y="504"/>
                  </a:lnTo>
                  <a:lnTo>
                    <a:pt x="501" y="526"/>
                  </a:lnTo>
                  <a:lnTo>
                    <a:pt x="497" y="548"/>
                  </a:lnTo>
                  <a:lnTo>
                    <a:pt x="491" y="568"/>
                  </a:lnTo>
                  <a:lnTo>
                    <a:pt x="483" y="587"/>
                  </a:lnTo>
                  <a:lnTo>
                    <a:pt x="474" y="605"/>
                  </a:lnTo>
                  <a:lnTo>
                    <a:pt x="462" y="622"/>
                  </a:lnTo>
                  <a:lnTo>
                    <a:pt x="449" y="638"/>
                  </a:lnTo>
                  <a:lnTo>
                    <a:pt x="433" y="652"/>
                  </a:lnTo>
                  <a:lnTo>
                    <a:pt x="416" y="665"/>
                  </a:lnTo>
                  <a:lnTo>
                    <a:pt x="398" y="676"/>
                  </a:lnTo>
                  <a:lnTo>
                    <a:pt x="377" y="686"/>
                  </a:lnTo>
                  <a:lnTo>
                    <a:pt x="355" y="694"/>
                  </a:lnTo>
                  <a:lnTo>
                    <a:pt x="332" y="700"/>
                  </a:lnTo>
                  <a:lnTo>
                    <a:pt x="308" y="705"/>
                  </a:lnTo>
                  <a:lnTo>
                    <a:pt x="282" y="708"/>
                  </a:lnTo>
                  <a:lnTo>
                    <a:pt x="255" y="709"/>
                  </a:lnTo>
                  <a:lnTo>
                    <a:pt x="255" y="709"/>
                  </a:lnTo>
                  <a:lnTo>
                    <a:pt x="236" y="708"/>
                  </a:lnTo>
                  <a:lnTo>
                    <a:pt x="215" y="707"/>
                  </a:lnTo>
                  <a:lnTo>
                    <a:pt x="197" y="705"/>
                  </a:lnTo>
                  <a:lnTo>
                    <a:pt x="178" y="700"/>
                  </a:lnTo>
                  <a:lnTo>
                    <a:pt x="159" y="696"/>
                  </a:lnTo>
                  <a:lnTo>
                    <a:pt x="142" y="690"/>
                  </a:lnTo>
                  <a:lnTo>
                    <a:pt x="125" y="683"/>
                  </a:lnTo>
                  <a:lnTo>
                    <a:pt x="108" y="675"/>
                  </a:lnTo>
                  <a:lnTo>
                    <a:pt x="93" y="666"/>
                  </a:lnTo>
                  <a:lnTo>
                    <a:pt x="77" y="656"/>
                  </a:lnTo>
                  <a:lnTo>
                    <a:pt x="62" y="644"/>
                  </a:lnTo>
                  <a:lnTo>
                    <a:pt x="48" y="631"/>
                  </a:lnTo>
                  <a:lnTo>
                    <a:pt x="36" y="618"/>
                  </a:lnTo>
                  <a:lnTo>
                    <a:pt x="23" y="603"/>
                  </a:lnTo>
                  <a:lnTo>
                    <a:pt x="11" y="587"/>
                  </a:lnTo>
                  <a:lnTo>
                    <a:pt x="0" y="568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480" y="3424"/>
              <a:ext cx="167" cy="236"/>
            </a:xfrm>
            <a:custGeom>
              <a:avLst/>
              <a:gdLst>
                <a:gd name="T0" fmla="*/ 116 w 502"/>
                <a:gd name="T1" fmla="*/ 486 h 709"/>
                <a:gd name="T2" fmla="*/ 156 w 502"/>
                <a:gd name="T3" fmla="*/ 539 h 709"/>
                <a:gd name="T4" fmla="*/ 181 w 502"/>
                <a:gd name="T5" fmla="*/ 557 h 709"/>
                <a:gd name="T6" fmla="*/ 210 w 502"/>
                <a:gd name="T7" fmla="*/ 568 h 709"/>
                <a:gd name="T8" fmla="*/ 243 w 502"/>
                <a:gd name="T9" fmla="*/ 574 h 709"/>
                <a:gd name="T10" fmla="*/ 275 w 502"/>
                <a:gd name="T11" fmla="*/ 573 h 709"/>
                <a:gd name="T12" fmla="*/ 313 w 502"/>
                <a:gd name="T13" fmla="*/ 560 h 709"/>
                <a:gd name="T14" fmla="*/ 330 w 502"/>
                <a:gd name="T15" fmla="*/ 548 h 709"/>
                <a:gd name="T16" fmla="*/ 340 w 502"/>
                <a:gd name="T17" fmla="*/ 531 h 709"/>
                <a:gd name="T18" fmla="*/ 344 w 502"/>
                <a:gd name="T19" fmla="*/ 511 h 709"/>
                <a:gd name="T20" fmla="*/ 343 w 502"/>
                <a:gd name="T21" fmla="*/ 497 h 709"/>
                <a:gd name="T22" fmla="*/ 335 w 502"/>
                <a:gd name="T23" fmla="*/ 478 h 709"/>
                <a:gd name="T24" fmla="*/ 321 w 502"/>
                <a:gd name="T25" fmla="*/ 462 h 709"/>
                <a:gd name="T26" fmla="*/ 274 w 502"/>
                <a:gd name="T27" fmla="*/ 433 h 709"/>
                <a:gd name="T28" fmla="*/ 204 w 502"/>
                <a:gd name="T29" fmla="*/ 406 h 709"/>
                <a:gd name="T30" fmla="*/ 144 w 502"/>
                <a:gd name="T31" fmla="*/ 377 h 709"/>
                <a:gd name="T32" fmla="*/ 99 w 502"/>
                <a:gd name="T33" fmla="*/ 343 h 709"/>
                <a:gd name="T34" fmla="*/ 66 w 502"/>
                <a:gd name="T35" fmla="*/ 304 h 709"/>
                <a:gd name="T36" fmla="*/ 46 w 502"/>
                <a:gd name="T37" fmla="*/ 260 h 709"/>
                <a:gd name="T38" fmla="*/ 37 w 502"/>
                <a:gd name="T39" fmla="*/ 211 h 709"/>
                <a:gd name="T40" fmla="*/ 37 w 502"/>
                <a:gd name="T41" fmla="*/ 173 h 709"/>
                <a:gd name="T42" fmla="*/ 53 w 502"/>
                <a:gd name="T43" fmla="*/ 117 h 709"/>
                <a:gd name="T44" fmla="*/ 85 w 502"/>
                <a:gd name="T45" fmla="*/ 69 h 709"/>
                <a:gd name="T46" fmla="*/ 131 w 502"/>
                <a:gd name="T47" fmla="*/ 32 h 709"/>
                <a:gd name="T48" fmla="*/ 189 w 502"/>
                <a:gd name="T49" fmla="*/ 8 h 709"/>
                <a:gd name="T50" fmla="*/ 257 w 502"/>
                <a:gd name="T51" fmla="*/ 0 h 709"/>
                <a:gd name="T52" fmla="*/ 290 w 502"/>
                <a:gd name="T53" fmla="*/ 1 h 709"/>
                <a:gd name="T54" fmla="*/ 336 w 502"/>
                <a:gd name="T55" fmla="*/ 10 h 709"/>
                <a:gd name="T56" fmla="*/ 378 w 502"/>
                <a:gd name="T57" fmla="*/ 28 h 709"/>
                <a:gd name="T58" fmla="*/ 417 w 502"/>
                <a:gd name="T59" fmla="*/ 54 h 709"/>
                <a:gd name="T60" fmla="*/ 451 w 502"/>
                <a:gd name="T61" fmla="*/ 89 h 709"/>
                <a:gd name="T62" fmla="*/ 360 w 502"/>
                <a:gd name="T63" fmla="*/ 196 h 709"/>
                <a:gd name="T64" fmla="*/ 340 w 502"/>
                <a:gd name="T65" fmla="*/ 169 h 709"/>
                <a:gd name="T66" fmla="*/ 305 w 502"/>
                <a:gd name="T67" fmla="*/ 143 h 709"/>
                <a:gd name="T68" fmla="*/ 260 w 502"/>
                <a:gd name="T69" fmla="*/ 134 h 709"/>
                <a:gd name="T70" fmla="*/ 231 w 502"/>
                <a:gd name="T71" fmla="*/ 139 h 709"/>
                <a:gd name="T72" fmla="*/ 197 w 502"/>
                <a:gd name="T73" fmla="*/ 157 h 709"/>
                <a:gd name="T74" fmla="*/ 188 w 502"/>
                <a:gd name="T75" fmla="*/ 172 h 709"/>
                <a:gd name="T76" fmla="*/ 184 w 502"/>
                <a:gd name="T77" fmla="*/ 189 h 709"/>
                <a:gd name="T78" fmla="*/ 189 w 502"/>
                <a:gd name="T79" fmla="*/ 214 h 709"/>
                <a:gd name="T80" fmla="*/ 204 w 502"/>
                <a:gd name="T81" fmla="*/ 235 h 709"/>
                <a:gd name="T82" fmla="*/ 250 w 502"/>
                <a:gd name="T83" fmla="*/ 264 h 709"/>
                <a:gd name="T84" fmla="*/ 322 w 502"/>
                <a:gd name="T85" fmla="*/ 291 h 709"/>
                <a:gd name="T86" fmla="*/ 381 w 502"/>
                <a:gd name="T87" fmla="*/ 319 h 709"/>
                <a:gd name="T88" fmla="*/ 430 w 502"/>
                <a:gd name="T89" fmla="*/ 351 h 709"/>
                <a:gd name="T90" fmla="*/ 465 w 502"/>
                <a:gd name="T91" fmla="*/ 387 h 709"/>
                <a:gd name="T92" fmla="*/ 489 w 502"/>
                <a:gd name="T93" fmla="*/ 432 h 709"/>
                <a:gd name="T94" fmla="*/ 501 w 502"/>
                <a:gd name="T95" fmla="*/ 485 h 709"/>
                <a:gd name="T96" fmla="*/ 501 w 502"/>
                <a:gd name="T97" fmla="*/ 526 h 709"/>
                <a:gd name="T98" fmla="*/ 483 w 502"/>
                <a:gd name="T99" fmla="*/ 587 h 709"/>
                <a:gd name="T100" fmla="*/ 449 w 502"/>
                <a:gd name="T101" fmla="*/ 638 h 709"/>
                <a:gd name="T102" fmla="*/ 398 w 502"/>
                <a:gd name="T103" fmla="*/ 676 h 709"/>
                <a:gd name="T104" fmla="*/ 332 w 502"/>
                <a:gd name="T105" fmla="*/ 700 h 709"/>
                <a:gd name="T106" fmla="*/ 255 w 502"/>
                <a:gd name="T107" fmla="*/ 709 h 709"/>
                <a:gd name="T108" fmla="*/ 215 w 502"/>
                <a:gd name="T109" fmla="*/ 707 h 709"/>
                <a:gd name="T110" fmla="*/ 159 w 502"/>
                <a:gd name="T111" fmla="*/ 696 h 709"/>
                <a:gd name="T112" fmla="*/ 108 w 502"/>
                <a:gd name="T113" fmla="*/ 675 h 709"/>
                <a:gd name="T114" fmla="*/ 62 w 502"/>
                <a:gd name="T115" fmla="*/ 644 h 709"/>
                <a:gd name="T116" fmla="*/ 23 w 502"/>
                <a:gd name="T117" fmla="*/ 6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02" h="709">
                  <a:moveTo>
                    <a:pt x="0" y="568"/>
                  </a:moveTo>
                  <a:lnTo>
                    <a:pt x="116" y="486"/>
                  </a:lnTo>
                  <a:lnTo>
                    <a:pt x="116" y="486"/>
                  </a:lnTo>
                  <a:lnTo>
                    <a:pt x="128" y="507"/>
                  </a:lnTo>
                  <a:lnTo>
                    <a:pt x="142" y="524"/>
                  </a:lnTo>
                  <a:lnTo>
                    <a:pt x="156" y="539"/>
                  </a:lnTo>
                  <a:lnTo>
                    <a:pt x="164" y="546"/>
                  </a:lnTo>
                  <a:lnTo>
                    <a:pt x="172" y="551"/>
                  </a:lnTo>
                  <a:lnTo>
                    <a:pt x="181" y="557"/>
                  </a:lnTo>
                  <a:lnTo>
                    <a:pt x="190" y="562"/>
                  </a:lnTo>
                  <a:lnTo>
                    <a:pt x="199" y="565"/>
                  </a:lnTo>
                  <a:lnTo>
                    <a:pt x="210" y="568"/>
                  </a:lnTo>
                  <a:lnTo>
                    <a:pt x="220" y="571"/>
                  </a:lnTo>
                  <a:lnTo>
                    <a:pt x="231" y="573"/>
                  </a:lnTo>
                  <a:lnTo>
                    <a:pt x="243" y="574"/>
                  </a:lnTo>
                  <a:lnTo>
                    <a:pt x="255" y="574"/>
                  </a:lnTo>
                  <a:lnTo>
                    <a:pt x="255" y="574"/>
                  </a:lnTo>
                  <a:lnTo>
                    <a:pt x="275" y="573"/>
                  </a:lnTo>
                  <a:lnTo>
                    <a:pt x="291" y="570"/>
                  </a:lnTo>
                  <a:lnTo>
                    <a:pt x="306" y="564"/>
                  </a:lnTo>
                  <a:lnTo>
                    <a:pt x="313" y="560"/>
                  </a:lnTo>
                  <a:lnTo>
                    <a:pt x="320" y="557"/>
                  </a:lnTo>
                  <a:lnTo>
                    <a:pt x="324" y="552"/>
                  </a:lnTo>
                  <a:lnTo>
                    <a:pt x="330" y="548"/>
                  </a:lnTo>
                  <a:lnTo>
                    <a:pt x="333" y="542"/>
                  </a:lnTo>
                  <a:lnTo>
                    <a:pt x="337" y="536"/>
                  </a:lnTo>
                  <a:lnTo>
                    <a:pt x="340" y="531"/>
                  </a:lnTo>
                  <a:lnTo>
                    <a:pt x="341" y="525"/>
                  </a:lnTo>
                  <a:lnTo>
                    <a:pt x="344" y="518"/>
                  </a:lnTo>
                  <a:lnTo>
                    <a:pt x="344" y="511"/>
                  </a:lnTo>
                  <a:lnTo>
                    <a:pt x="344" y="511"/>
                  </a:lnTo>
                  <a:lnTo>
                    <a:pt x="344" y="504"/>
                  </a:lnTo>
                  <a:lnTo>
                    <a:pt x="343" y="497"/>
                  </a:lnTo>
                  <a:lnTo>
                    <a:pt x="340" y="491"/>
                  </a:lnTo>
                  <a:lnTo>
                    <a:pt x="338" y="484"/>
                  </a:lnTo>
                  <a:lnTo>
                    <a:pt x="335" y="478"/>
                  </a:lnTo>
                  <a:lnTo>
                    <a:pt x="331" y="472"/>
                  </a:lnTo>
                  <a:lnTo>
                    <a:pt x="327" y="466"/>
                  </a:lnTo>
                  <a:lnTo>
                    <a:pt x="321" y="462"/>
                  </a:lnTo>
                  <a:lnTo>
                    <a:pt x="308" y="452"/>
                  </a:lnTo>
                  <a:lnTo>
                    <a:pt x="292" y="442"/>
                  </a:lnTo>
                  <a:lnTo>
                    <a:pt x="274" y="433"/>
                  </a:lnTo>
                  <a:lnTo>
                    <a:pt x="252" y="424"/>
                  </a:lnTo>
                  <a:lnTo>
                    <a:pt x="204" y="406"/>
                  </a:lnTo>
                  <a:lnTo>
                    <a:pt x="204" y="406"/>
                  </a:lnTo>
                  <a:lnTo>
                    <a:pt x="182" y="397"/>
                  </a:lnTo>
                  <a:lnTo>
                    <a:pt x="163" y="387"/>
                  </a:lnTo>
                  <a:lnTo>
                    <a:pt x="144" y="377"/>
                  </a:lnTo>
                  <a:lnTo>
                    <a:pt x="128" y="367"/>
                  </a:lnTo>
                  <a:lnTo>
                    <a:pt x="112" y="355"/>
                  </a:lnTo>
                  <a:lnTo>
                    <a:pt x="99" y="343"/>
                  </a:lnTo>
                  <a:lnTo>
                    <a:pt x="87" y="330"/>
                  </a:lnTo>
                  <a:lnTo>
                    <a:pt x="76" y="317"/>
                  </a:lnTo>
                  <a:lnTo>
                    <a:pt x="66" y="304"/>
                  </a:lnTo>
                  <a:lnTo>
                    <a:pt x="58" y="290"/>
                  </a:lnTo>
                  <a:lnTo>
                    <a:pt x="52" y="275"/>
                  </a:lnTo>
                  <a:lnTo>
                    <a:pt x="46" y="260"/>
                  </a:lnTo>
                  <a:lnTo>
                    <a:pt x="41" y="244"/>
                  </a:lnTo>
                  <a:lnTo>
                    <a:pt x="38" y="228"/>
                  </a:lnTo>
                  <a:lnTo>
                    <a:pt x="37" y="211"/>
                  </a:lnTo>
                  <a:lnTo>
                    <a:pt x="36" y="194"/>
                  </a:lnTo>
                  <a:lnTo>
                    <a:pt x="36" y="194"/>
                  </a:lnTo>
                  <a:lnTo>
                    <a:pt x="37" y="173"/>
                  </a:lnTo>
                  <a:lnTo>
                    <a:pt x="40" y="154"/>
                  </a:lnTo>
                  <a:lnTo>
                    <a:pt x="45" y="134"/>
                  </a:lnTo>
                  <a:lnTo>
                    <a:pt x="53" y="117"/>
                  </a:lnTo>
                  <a:lnTo>
                    <a:pt x="62" y="100"/>
                  </a:lnTo>
                  <a:lnTo>
                    <a:pt x="72" y="84"/>
                  </a:lnTo>
                  <a:lnTo>
                    <a:pt x="85" y="69"/>
                  </a:lnTo>
                  <a:lnTo>
                    <a:pt x="99" y="55"/>
                  </a:lnTo>
                  <a:lnTo>
                    <a:pt x="113" y="42"/>
                  </a:lnTo>
                  <a:lnTo>
                    <a:pt x="131" y="32"/>
                  </a:lnTo>
                  <a:lnTo>
                    <a:pt x="149" y="22"/>
                  </a:lnTo>
                  <a:lnTo>
                    <a:pt x="168" y="15"/>
                  </a:lnTo>
                  <a:lnTo>
                    <a:pt x="189" y="8"/>
                  </a:lnTo>
                  <a:lnTo>
                    <a:pt x="211" y="3"/>
                  </a:lnTo>
                  <a:lnTo>
                    <a:pt x="234" y="1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74" y="0"/>
                  </a:lnTo>
                  <a:lnTo>
                    <a:pt x="290" y="1"/>
                  </a:lnTo>
                  <a:lnTo>
                    <a:pt x="305" y="3"/>
                  </a:lnTo>
                  <a:lnTo>
                    <a:pt x="321" y="7"/>
                  </a:lnTo>
                  <a:lnTo>
                    <a:pt x="336" y="10"/>
                  </a:lnTo>
                  <a:lnTo>
                    <a:pt x="351" y="15"/>
                  </a:lnTo>
                  <a:lnTo>
                    <a:pt x="364" y="21"/>
                  </a:lnTo>
                  <a:lnTo>
                    <a:pt x="378" y="28"/>
                  </a:lnTo>
                  <a:lnTo>
                    <a:pt x="392" y="36"/>
                  </a:lnTo>
                  <a:lnTo>
                    <a:pt x="404" y="44"/>
                  </a:lnTo>
                  <a:lnTo>
                    <a:pt x="417" y="54"/>
                  </a:lnTo>
                  <a:lnTo>
                    <a:pt x="428" y="65"/>
                  </a:lnTo>
                  <a:lnTo>
                    <a:pt x="440" y="77"/>
                  </a:lnTo>
                  <a:lnTo>
                    <a:pt x="451" y="89"/>
                  </a:lnTo>
                  <a:lnTo>
                    <a:pt x="462" y="104"/>
                  </a:lnTo>
                  <a:lnTo>
                    <a:pt x="471" y="119"/>
                  </a:lnTo>
                  <a:lnTo>
                    <a:pt x="360" y="196"/>
                  </a:lnTo>
                  <a:lnTo>
                    <a:pt x="360" y="196"/>
                  </a:lnTo>
                  <a:lnTo>
                    <a:pt x="351" y="181"/>
                  </a:lnTo>
                  <a:lnTo>
                    <a:pt x="340" y="169"/>
                  </a:lnTo>
                  <a:lnTo>
                    <a:pt x="330" y="158"/>
                  </a:lnTo>
                  <a:lnTo>
                    <a:pt x="317" y="149"/>
                  </a:lnTo>
                  <a:lnTo>
                    <a:pt x="305" y="143"/>
                  </a:lnTo>
                  <a:lnTo>
                    <a:pt x="291" y="139"/>
                  </a:lnTo>
                  <a:lnTo>
                    <a:pt x="276" y="135"/>
                  </a:lnTo>
                  <a:lnTo>
                    <a:pt x="260" y="134"/>
                  </a:lnTo>
                  <a:lnTo>
                    <a:pt x="260" y="134"/>
                  </a:lnTo>
                  <a:lnTo>
                    <a:pt x="245" y="135"/>
                  </a:lnTo>
                  <a:lnTo>
                    <a:pt x="231" y="139"/>
                  </a:lnTo>
                  <a:lnTo>
                    <a:pt x="219" y="143"/>
                  </a:lnTo>
                  <a:lnTo>
                    <a:pt x="207" y="149"/>
                  </a:lnTo>
                  <a:lnTo>
                    <a:pt x="197" y="157"/>
                  </a:lnTo>
                  <a:lnTo>
                    <a:pt x="194" y="162"/>
                  </a:lnTo>
                  <a:lnTo>
                    <a:pt x="190" y="166"/>
                  </a:lnTo>
                  <a:lnTo>
                    <a:pt x="188" y="172"/>
                  </a:lnTo>
                  <a:lnTo>
                    <a:pt x="186" y="178"/>
                  </a:lnTo>
                  <a:lnTo>
                    <a:pt x="184" y="183"/>
                  </a:lnTo>
                  <a:lnTo>
                    <a:pt x="184" y="189"/>
                  </a:lnTo>
                  <a:lnTo>
                    <a:pt x="184" y="189"/>
                  </a:lnTo>
                  <a:lnTo>
                    <a:pt x="186" y="203"/>
                  </a:lnTo>
                  <a:lnTo>
                    <a:pt x="189" y="214"/>
                  </a:lnTo>
                  <a:lnTo>
                    <a:pt x="191" y="220"/>
                  </a:lnTo>
                  <a:lnTo>
                    <a:pt x="195" y="225"/>
                  </a:lnTo>
                  <a:lnTo>
                    <a:pt x="204" y="235"/>
                  </a:lnTo>
                  <a:lnTo>
                    <a:pt x="215" y="245"/>
                  </a:lnTo>
                  <a:lnTo>
                    <a:pt x="231" y="254"/>
                  </a:lnTo>
                  <a:lnTo>
                    <a:pt x="250" y="264"/>
                  </a:lnTo>
                  <a:lnTo>
                    <a:pt x="273" y="274"/>
                  </a:lnTo>
                  <a:lnTo>
                    <a:pt x="322" y="291"/>
                  </a:lnTo>
                  <a:lnTo>
                    <a:pt x="322" y="291"/>
                  </a:lnTo>
                  <a:lnTo>
                    <a:pt x="343" y="300"/>
                  </a:lnTo>
                  <a:lnTo>
                    <a:pt x="362" y="309"/>
                  </a:lnTo>
                  <a:lnTo>
                    <a:pt x="381" y="319"/>
                  </a:lnTo>
                  <a:lnTo>
                    <a:pt x="399" y="329"/>
                  </a:lnTo>
                  <a:lnTo>
                    <a:pt x="415" y="339"/>
                  </a:lnTo>
                  <a:lnTo>
                    <a:pt x="430" y="351"/>
                  </a:lnTo>
                  <a:lnTo>
                    <a:pt x="442" y="362"/>
                  </a:lnTo>
                  <a:lnTo>
                    <a:pt x="455" y="375"/>
                  </a:lnTo>
                  <a:lnTo>
                    <a:pt x="465" y="387"/>
                  </a:lnTo>
                  <a:lnTo>
                    <a:pt x="475" y="402"/>
                  </a:lnTo>
                  <a:lnTo>
                    <a:pt x="483" y="416"/>
                  </a:lnTo>
                  <a:lnTo>
                    <a:pt x="489" y="432"/>
                  </a:lnTo>
                  <a:lnTo>
                    <a:pt x="495" y="449"/>
                  </a:lnTo>
                  <a:lnTo>
                    <a:pt x="498" y="466"/>
                  </a:lnTo>
                  <a:lnTo>
                    <a:pt x="501" y="485"/>
                  </a:lnTo>
                  <a:lnTo>
                    <a:pt x="502" y="504"/>
                  </a:lnTo>
                  <a:lnTo>
                    <a:pt x="502" y="504"/>
                  </a:lnTo>
                  <a:lnTo>
                    <a:pt x="501" y="526"/>
                  </a:lnTo>
                  <a:lnTo>
                    <a:pt x="497" y="548"/>
                  </a:lnTo>
                  <a:lnTo>
                    <a:pt x="491" y="568"/>
                  </a:lnTo>
                  <a:lnTo>
                    <a:pt x="483" y="587"/>
                  </a:lnTo>
                  <a:lnTo>
                    <a:pt x="474" y="605"/>
                  </a:lnTo>
                  <a:lnTo>
                    <a:pt x="462" y="622"/>
                  </a:lnTo>
                  <a:lnTo>
                    <a:pt x="449" y="638"/>
                  </a:lnTo>
                  <a:lnTo>
                    <a:pt x="433" y="652"/>
                  </a:lnTo>
                  <a:lnTo>
                    <a:pt x="416" y="665"/>
                  </a:lnTo>
                  <a:lnTo>
                    <a:pt x="398" y="676"/>
                  </a:lnTo>
                  <a:lnTo>
                    <a:pt x="377" y="686"/>
                  </a:lnTo>
                  <a:lnTo>
                    <a:pt x="355" y="694"/>
                  </a:lnTo>
                  <a:lnTo>
                    <a:pt x="332" y="700"/>
                  </a:lnTo>
                  <a:lnTo>
                    <a:pt x="308" y="705"/>
                  </a:lnTo>
                  <a:lnTo>
                    <a:pt x="282" y="708"/>
                  </a:lnTo>
                  <a:lnTo>
                    <a:pt x="255" y="709"/>
                  </a:lnTo>
                  <a:lnTo>
                    <a:pt x="255" y="709"/>
                  </a:lnTo>
                  <a:lnTo>
                    <a:pt x="236" y="708"/>
                  </a:lnTo>
                  <a:lnTo>
                    <a:pt x="215" y="707"/>
                  </a:lnTo>
                  <a:lnTo>
                    <a:pt x="197" y="705"/>
                  </a:lnTo>
                  <a:lnTo>
                    <a:pt x="178" y="700"/>
                  </a:lnTo>
                  <a:lnTo>
                    <a:pt x="159" y="696"/>
                  </a:lnTo>
                  <a:lnTo>
                    <a:pt x="142" y="690"/>
                  </a:lnTo>
                  <a:lnTo>
                    <a:pt x="125" y="683"/>
                  </a:lnTo>
                  <a:lnTo>
                    <a:pt x="108" y="675"/>
                  </a:lnTo>
                  <a:lnTo>
                    <a:pt x="93" y="666"/>
                  </a:lnTo>
                  <a:lnTo>
                    <a:pt x="77" y="656"/>
                  </a:lnTo>
                  <a:lnTo>
                    <a:pt x="62" y="644"/>
                  </a:lnTo>
                  <a:lnTo>
                    <a:pt x="48" y="631"/>
                  </a:lnTo>
                  <a:lnTo>
                    <a:pt x="36" y="618"/>
                  </a:lnTo>
                  <a:lnTo>
                    <a:pt x="23" y="603"/>
                  </a:lnTo>
                  <a:lnTo>
                    <a:pt x="11" y="587"/>
                  </a:lnTo>
                  <a:lnTo>
                    <a:pt x="0" y="56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662" y="3424"/>
              <a:ext cx="206" cy="236"/>
            </a:xfrm>
            <a:custGeom>
              <a:avLst/>
              <a:gdLst>
                <a:gd name="T0" fmla="*/ 1 w 618"/>
                <a:gd name="T1" fmla="*/ 336 h 709"/>
                <a:gd name="T2" fmla="*/ 7 w 618"/>
                <a:gd name="T3" fmla="*/ 282 h 709"/>
                <a:gd name="T4" fmla="*/ 21 w 618"/>
                <a:gd name="T5" fmla="*/ 230 h 709"/>
                <a:gd name="T6" fmla="*/ 42 w 618"/>
                <a:gd name="T7" fmla="*/ 183 h 709"/>
                <a:gd name="T8" fmla="*/ 69 w 618"/>
                <a:gd name="T9" fmla="*/ 140 h 709"/>
                <a:gd name="T10" fmla="*/ 101 w 618"/>
                <a:gd name="T11" fmla="*/ 102 h 709"/>
                <a:gd name="T12" fmla="*/ 140 w 618"/>
                <a:gd name="T13" fmla="*/ 69 h 709"/>
                <a:gd name="T14" fmla="*/ 182 w 618"/>
                <a:gd name="T15" fmla="*/ 41 h 709"/>
                <a:gd name="T16" fmla="*/ 231 w 618"/>
                <a:gd name="T17" fmla="*/ 21 h 709"/>
                <a:gd name="T18" fmla="*/ 282 w 618"/>
                <a:gd name="T19" fmla="*/ 7 h 709"/>
                <a:gd name="T20" fmla="*/ 336 w 618"/>
                <a:gd name="T21" fmla="*/ 0 h 709"/>
                <a:gd name="T22" fmla="*/ 376 w 618"/>
                <a:gd name="T23" fmla="*/ 0 h 709"/>
                <a:gd name="T24" fmla="*/ 433 w 618"/>
                <a:gd name="T25" fmla="*/ 8 h 709"/>
                <a:gd name="T26" fmla="*/ 487 w 618"/>
                <a:gd name="T27" fmla="*/ 24 h 709"/>
                <a:gd name="T28" fmla="*/ 535 w 618"/>
                <a:gd name="T29" fmla="*/ 48 h 709"/>
                <a:gd name="T30" fmla="*/ 579 w 618"/>
                <a:gd name="T31" fmla="*/ 78 h 709"/>
                <a:gd name="T32" fmla="*/ 618 w 618"/>
                <a:gd name="T33" fmla="*/ 114 h 709"/>
                <a:gd name="T34" fmla="*/ 501 w 618"/>
                <a:gd name="T35" fmla="*/ 205 h 709"/>
                <a:gd name="T36" fmla="*/ 448 w 618"/>
                <a:gd name="T37" fmla="*/ 167 h 709"/>
                <a:gd name="T38" fmla="*/ 405 w 618"/>
                <a:gd name="T39" fmla="*/ 152 h 709"/>
                <a:gd name="T40" fmla="*/ 368 w 618"/>
                <a:gd name="T41" fmla="*/ 147 h 709"/>
                <a:gd name="T42" fmla="*/ 334 w 618"/>
                <a:gd name="T43" fmla="*/ 148 h 709"/>
                <a:gd name="T44" fmla="*/ 275 w 618"/>
                <a:gd name="T45" fmla="*/ 163 h 709"/>
                <a:gd name="T46" fmla="*/ 226 w 618"/>
                <a:gd name="T47" fmla="*/ 193 h 709"/>
                <a:gd name="T48" fmla="*/ 188 w 618"/>
                <a:gd name="T49" fmla="*/ 236 h 709"/>
                <a:gd name="T50" fmla="*/ 164 w 618"/>
                <a:gd name="T51" fmla="*/ 291 h 709"/>
                <a:gd name="T52" fmla="*/ 156 w 618"/>
                <a:gd name="T53" fmla="*/ 354 h 709"/>
                <a:gd name="T54" fmla="*/ 160 w 618"/>
                <a:gd name="T55" fmla="*/ 398 h 709"/>
                <a:gd name="T56" fmla="*/ 179 w 618"/>
                <a:gd name="T57" fmla="*/ 456 h 709"/>
                <a:gd name="T58" fmla="*/ 212 w 618"/>
                <a:gd name="T59" fmla="*/ 503 h 709"/>
                <a:gd name="T60" fmla="*/ 257 w 618"/>
                <a:gd name="T61" fmla="*/ 537 h 709"/>
                <a:gd name="T62" fmla="*/ 313 w 618"/>
                <a:gd name="T63" fmla="*/ 558 h 709"/>
                <a:gd name="T64" fmla="*/ 355 w 618"/>
                <a:gd name="T65" fmla="*/ 562 h 709"/>
                <a:gd name="T66" fmla="*/ 393 w 618"/>
                <a:gd name="T67" fmla="*/ 559 h 709"/>
                <a:gd name="T68" fmla="*/ 428 w 618"/>
                <a:gd name="T69" fmla="*/ 550 h 709"/>
                <a:gd name="T70" fmla="*/ 485 w 618"/>
                <a:gd name="T71" fmla="*/ 518 h 709"/>
                <a:gd name="T72" fmla="*/ 618 w 618"/>
                <a:gd name="T73" fmla="*/ 595 h 709"/>
                <a:gd name="T74" fmla="*/ 593 w 618"/>
                <a:gd name="T75" fmla="*/ 620 h 709"/>
                <a:gd name="T76" fmla="*/ 551 w 618"/>
                <a:gd name="T77" fmla="*/ 652 h 709"/>
                <a:gd name="T78" fmla="*/ 504 w 618"/>
                <a:gd name="T79" fmla="*/ 677 h 709"/>
                <a:gd name="T80" fmla="*/ 452 w 618"/>
                <a:gd name="T81" fmla="*/ 697 h 709"/>
                <a:gd name="T82" fmla="*/ 396 w 618"/>
                <a:gd name="T83" fmla="*/ 707 h 709"/>
                <a:gd name="T84" fmla="*/ 355 w 618"/>
                <a:gd name="T85" fmla="*/ 709 h 709"/>
                <a:gd name="T86" fmla="*/ 299 w 618"/>
                <a:gd name="T87" fmla="*/ 705 h 709"/>
                <a:gd name="T88" fmla="*/ 247 w 618"/>
                <a:gd name="T89" fmla="*/ 693 h 709"/>
                <a:gd name="T90" fmla="*/ 199 w 618"/>
                <a:gd name="T91" fmla="*/ 675 h 709"/>
                <a:gd name="T92" fmla="*/ 154 w 618"/>
                <a:gd name="T93" fmla="*/ 650 h 709"/>
                <a:gd name="T94" fmla="*/ 114 w 618"/>
                <a:gd name="T95" fmla="*/ 619 h 709"/>
                <a:gd name="T96" fmla="*/ 79 w 618"/>
                <a:gd name="T97" fmla="*/ 582 h 709"/>
                <a:gd name="T98" fmla="*/ 51 w 618"/>
                <a:gd name="T99" fmla="*/ 541 h 709"/>
                <a:gd name="T100" fmla="*/ 28 w 618"/>
                <a:gd name="T101" fmla="*/ 495 h 709"/>
                <a:gd name="T102" fmla="*/ 12 w 618"/>
                <a:gd name="T103" fmla="*/ 445 h 709"/>
                <a:gd name="T104" fmla="*/ 3 w 618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8" h="709">
                  <a:moveTo>
                    <a:pt x="0" y="354"/>
                  </a:moveTo>
                  <a:lnTo>
                    <a:pt x="0" y="354"/>
                  </a:lnTo>
                  <a:lnTo>
                    <a:pt x="1" y="336"/>
                  </a:lnTo>
                  <a:lnTo>
                    <a:pt x="3" y="317"/>
                  </a:lnTo>
                  <a:lnTo>
                    <a:pt x="5" y="299"/>
                  </a:lnTo>
                  <a:lnTo>
                    <a:pt x="7" y="282"/>
                  </a:lnTo>
                  <a:lnTo>
                    <a:pt x="12" y="265"/>
                  </a:lnTo>
                  <a:lnTo>
                    <a:pt x="16" y="248"/>
                  </a:lnTo>
                  <a:lnTo>
                    <a:pt x="21" y="230"/>
                  </a:lnTo>
                  <a:lnTo>
                    <a:pt x="28" y="214"/>
                  </a:lnTo>
                  <a:lnTo>
                    <a:pt x="35" y="198"/>
                  </a:lnTo>
                  <a:lnTo>
                    <a:pt x="42" y="183"/>
                  </a:lnTo>
                  <a:lnTo>
                    <a:pt x="51" y="169"/>
                  </a:lnTo>
                  <a:lnTo>
                    <a:pt x="59" y="154"/>
                  </a:lnTo>
                  <a:lnTo>
                    <a:pt x="69" y="140"/>
                  </a:lnTo>
                  <a:lnTo>
                    <a:pt x="79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40" y="69"/>
                  </a:lnTo>
                  <a:lnTo>
                    <a:pt x="154" y="60"/>
                  </a:lnTo>
                  <a:lnTo>
                    <a:pt x="168" y="50"/>
                  </a:lnTo>
                  <a:lnTo>
                    <a:pt x="182" y="41"/>
                  </a:lnTo>
                  <a:lnTo>
                    <a:pt x="199" y="34"/>
                  </a:lnTo>
                  <a:lnTo>
                    <a:pt x="215" y="28"/>
                  </a:lnTo>
                  <a:lnTo>
                    <a:pt x="231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2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76" y="0"/>
                  </a:lnTo>
                  <a:lnTo>
                    <a:pt x="396" y="2"/>
                  </a:lnTo>
                  <a:lnTo>
                    <a:pt x="415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70" y="18"/>
                  </a:lnTo>
                  <a:lnTo>
                    <a:pt x="487" y="24"/>
                  </a:lnTo>
                  <a:lnTo>
                    <a:pt x="504" y="31"/>
                  </a:lnTo>
                  <a:lnTo>
                    <a:pt x="520" y="39"/>
                  </a:lnTo>
                  <a:lnTo>
                    <a:pt x="535" y="48"/>
                  </a:lnTo>
                  <a:lnTo>
                    <a:pt x="551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8" y="114"/>
                  </a:lnTo>
                  <a:lnTo>
                    <a:pt x="515" y="220"/>
                  </a:lnTo>
                  <a:lnTo>
                    <a:pt x="515" y="220"/>
                  </a:lnTo>
                  <a:lnTo>
                    <a:pt x="501" y="205"/>
                  </a:lnTo>
                  <a:lnTo>
                    <a:pt x="485" y="191"/>
                  </a:lnTo>
                  <a:lnTo>
                    <a:pt x="468" y="179"/>
                  </a:lnTo>
                  <a:lnTo>
                    <a:pt x="448" y="167"/>
                  </a:lnTo>
                  <a:lnTo>
                    <a:pt x="428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4" y="156"/>
                  </a:lnTo>
                  <a:lnTo>
                    <a:pt x="275" y="163"/>
                  </a:lnTo>
                  <a:lnTo>
                    <a:pt x="257" y="171"/>
                  </a:lnTo>
                  <a:lnTo>
                    <a:pt x="241" y="181"/>
                  </a:lnTo>
                  <a:lnTo>
                    <a:pt x="226" y="193"/>
                  </a:lnTo>
                  <a:lnTo>
                    <a:pt x="212" y="206"/>
                  </a:lnTo>
                  <a:lnTo>
                    <a:pt x="200" y="220"/>
                  </a:lnTo>
                  <a:lnTo>
                    <a:pt x="188" y="236"/>
                  </a:lnTo>
                  <a:lnTo>
                    <a:pt x="179" y="253"/>
                  </a:lnTo>
                  <a:lnTo>
                    <a:pt x="171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7" y="332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57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1" y="438"/>
                  </a:lnTo>
                  <a:lnTo>
                    <a:pt x="179" y="456"/>
                  </a:lnTo>
                  <a:lnTo>
                    <a:pt x="188" y="472"/>
                  </a:lnTo>
                  <a:lnTo>
                    <a:pt x="200" y="488"/>
                  </a:lnTo>
                  <a:lnTo>
                    <a:pt x="212" y="503"/>
                  </a:lnTo>
                  <a:lnTo>
                    <a:pt x="226" y="516"/>
                  </a:lnTo>
                  <a:lnTo>
                    <a:pt x="241" y="528"/>
                  </a:lnTo>
                  <a:lnTo>
                    <a:pt x="257" y="537"/>
                  </a:lnTo>
                  <a:lnTo>
                    <a:pt x="275" y="547"/>
                  </a:lnTo>
                  <a:lnTo>
                    <a:pt x="294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5" y="562"/>
                  </a:lnTo>
                  <a:lnTo>
                    <a:pt x="355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8" y="550"/>
                  </a:lnTo>
                  <a:lnTo>
                    <a:pt x="448" y="541"/>
                  </a:lnTo>
                  <a:lnTo>
                    <a:pt x="468" y="531"/>
                  </a:lnTo>
                  <a:lnTo>
                    <a:pt x="485" y="518"/>
                  </a:lnTo>
                  <a:lnTo>
                    <a:pt x="501" y="504"/>
                  </a:lnTo>
                  <a:lnTo>
                    <a:pt x="515" y="489"/>
                  </a:lnTo>
                  <a:lnTo>
                    <a:pt x="618" y="595"/>
                  </a:lnTo>
                  <a:lnTo>
                    <a:pt x="618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1" y="652"/>
                  </a:lnTo>
                  <a:lnTo>
                    <a:pt x="535" y="661"/>
                  </a:lnTo>
                  <a:lnTo>
                    <a:pt x="520" y="670"/>
                  </a:lnTo>
                  <a:lnTo>
                    <a:pt x="504" y="677"/>
                  </a:lnTo>
                  <a:lnTo>
                    <a:pt x="487" y="685"/>
                  </a:lnTo>
                  <a:lnTo>
                    <a:pt x="470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5" y="705"/>
                  </a:lnTo>
                  <a:lnTo>
                    <a:pt x="396" y="707"/>
                  </a:lnTo>
                  <a:lnTo>
                    <a:pt x="376" y="708"/>
                  </a:lnTo>
                  <a:lnTo>
                    <a:pt x="355" y="709"/>
                  </a:lnTo>
                  <a:lnTo>
                    <a:pt x="355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2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31" y="688"/>
                  </a:lnTo>
                  <a:lnTo>
                    <a:pt x="215" y="682"/>
                  </a:lnTo>
                  <a:lnTo>
                    <a:pt x="199" y="675"/>
                  </a:lnTo>
                  <a:lnTo>
                    <a:pt x="182" y="667"/>
                  </a:lnTo>
                  <a:lnTo>
                    <a:pt x="168" y="659"/>
                  </a:lnTo>
                  <a:lnTo>
                    <a:pt x="154" y="650"/>
                  </a:lnTo>
                  <a:lnTo>
                    <a:pt x="140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9" y="582"/>
                  </a:lnTo>
                  <a:lnTo>
                    <a:pt x="69" y="568"/>
                  </a:lnTo>
                  <a:lnTo>
                    <a:pt x="59" y="555"/>
                  </a:lnTo>
                  <a:lnTo>
                    <a:pt x="51" y="541"/>
                  </a:lnTo>
                  <a:lnTo>
                    <a:pt x="42" y="526"/>
                  </a:lnTo>
                  <a:lnTo>
                    <a:pt x="35" y="510"/>
                  </a:lnTo>
                  <a:lnTo>
                    <a:pt x="28" y="495"/>
                  </a:lnTo>
                  <a:lnTo>
                    <a:pt x="21" y="478"/>
                  </a:lnTo>
                  <a:lnTo>
                    <a:pt x="16" y="462"/>
                  </a:lnTo>
                  <a:lnTo>
                    <a:pt x="12" y="445"/>
                  </a:lnTo>
                  <a:lnTo>
                    <a:pt x="7" y="427"/>
                  </a:lnTo>
                  <a:lnTo>
                    <a:pt x="5" y="409"/>
                  </a:lnTo>
                  <a:lnTo>
                    <a:pt x="3" y="392"/>
                  </a:lnTo>
                  <a:lnTo>
                    <a:pt x="1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8"/>
            <p:cNvSpPr>
              <a:spLocks/>
            </p:cNvSpPr>
            <p:nvPr userDrawn="1"/>
          </p:nvSpPr>
          <p:spPr bwMode="auto">
            <a:xfrm>
              <a:off x="662" y="3424"/>
              <a:ext cx="206" cy="236"/>
            </a:xfrm>
            <a:custGeom>
              <a:avLst/>
              <a:gdLst>
                <a:gd name="T0" fmla="*/ 1 w 618"/>
                <a:gd name="T1" fmla="*/ 336 h 709"/>
                <a:gd name="T2" fmla="*/ 7 w 618"/>
                <a:gd name="T3" fmla="*/ 282 h 709"/>
                <a:gd name="T4" fmla="*/ 21 w 618"/>
                <a:gd name="T5" fmla="*/ 230 h 709"/>
                <a:gd name="T6" fmla="*/ 42 w 618"/>
                <a:gd name="T7" fmla="*/ 183 h 709"/>
                <a:gd name="T8" fmla="*/ 69 w 618"/>
                <a:gd name="T9" fmla="*/ 140 h 709"/>
                <a:gd name="T10" fmla="*/ 101 w 618"/>
                <a:gd name="T11" fmla="*/ 102 h 709"/>
                <a:gd name="T12" fmla="*/ 140 w 618"/>
                <a:gd name="T13" fmla="*/ 69 h 709"/>
                <a:gd name="T14" fmla="*/ 182 w 618"/>
                <a:gd name="T15" fmla="*/ 41 h 709"/>
                <a:gd name="T16" fmla="*/ 231 w 618"/>
                <a:gd name="T17" fmla="*/ 21 h 709"/>
                <a:gd name="T18" fmla="*/ 282 w 618"/>
                <a:gd name="T19" fmla="*/ 7 h 709"/>
                <a:gd name="T20" fmla="*/ 336 w 618"/>
                <a:gd name="T21" fmla="*/ 0 h 709"/>
                <a:gd name="T22" fmla="*/ 376 w 618"/>
                <a:gd name="T23" fmla="*/ 0 h 709"/>
                <a:gd name="T24" fmla="*/ 433 w 618"/>
                <a:gd name="T25" fmla="*/ 8 h 709"/>
                <a:gd name="T26" fmla="*/ 487 w 618"/>
                <a:gd name="T27" fmla="*/ 24 h 709"/>
                <a:gd name="T28" fmla="*/ 535 w 618"/>
                <a:gd name="T29" fmla="*/ 48 h 709"/>
                <a:gd name="T30" fmla="*/ 579 w 618"/>
                <a:gd name="T31" fmla="*/ 78 h 709"/>
                <a:gd name="T32" fmla="*/ 618 w 618"/>
                <a:gd name="T33" fmla="*/ 114 h 709"/>
                <a:gd name="T34" fmla="*/ 501 w 618"/>
                <a:gd name="T35" fmla="*/ 205 h 709"/>
                <a:gd name="T36" fmla="*/ 448 w 618"/>
                <a:gd name="T37" fmla="*/ 167 h 709"/>
                <a:gd name="T38" fmla="*/ 405 w 618"/>
                <a:gd name="T39" fmla="*/ 152 h 709"/>
                <a:gd name="T40" fmla="*/ 368 w 618"/>
                <a:gd name="T41" fmla="*/ 147 h 709"/>
                <a:gd name="T42" fmla="*/ 334 w 618"/>
                <a:gd name="T43" fmla="*/ 148 h 709"/>
                <a:gd name="T44" fmla="*/ 275 w 618"/>
                <a:gd name="T45" fmla="*/ 163 h 709"/>
                <a:gd name="T46" fmla="*/ 226 w 618"/>
                <a:gd name="T47" fmla="*/ 193 h 709"/>
                <a:gd name="T48" fmla="*/ 188 w 618"/>
                <a:gd name="T49" fmla="*/ 236 h 709"/>
                <a:gd name="T50" fmla="*/ 164 w 618"/>
                <a:gd name="T51" fmla="*/ 291 h 709"/>
                <a:gd name="T52" fmla="*/ 156 w 618"/>
                <a:gd name="T53" fmla="*/ 354 h 709"/>
                <a:gd name="T54" fmla="*/ 160 w 618"/>
                <a:gd name="T55" fmla="*/ 398 h 709"/>
                <a:gd name="T56" fmla="*/ 179 w 618"/>
                <a:gd name="T57" fmla="*/ 456 h 709"/>
                <a:gd name="T58" fmla="*/ 212 w 618"/>
                <a:gd name="T59" fmla="*/ 503 h 709"/>
                <a:gd name="T60" fmla="*/ 257 w 618"/>
                <a:gd name="T61" fmla="*/ 537 h 709"/>
                <a:gd name="T62" fmla="*/ 313 w 618"/>
                <a:gd name="T63" fmla="*/ 558 h 709"/>
                <a:gd name="T64" fmla="*/ 355 w 618"/>
                <a:gd name="T65" fmla="*/ 562 h 709"/>
                <a:gd name="T66" fmla="*/ 393 w 618"/>
                <a:gd name="T67" fmla="*/ 559 h 709"/>
                <a:gd name="T68" fmla="*/ 428 w 618"/>
                <a:gd name="T69" fmla="*/ 550 h 709"/>
                <a:gd name="T70" fmla="*/ 485 w 618"/>
                <a:gd name="T71" fmla="*/ 518 h 709"/>
                <a:gd name="T72" fmla="*/ 618 w 618"/>
                <a:gd name="T73" fmla="*/ 595 h 709"/>
                <a:gd name="T74" fmla="*/ 593 w 618"/>
                <a:gd name="T75" fmla="*/ 620 h 709"/>
                <a:gd name="T76" fmla="*/ 551 w 618"/>
                <a:gd name="T77" fmla="*/ 652 h 709"/>
                <a:gd name="T78" fmla="*/ 504 w 618"/>
                <a:gd name="T79" fmla="*/ 677 h 709"/>
                <a:gd name="T80" fmla="*/ 452 w 618"/>
                <a:gd name="T81" fmla="*/ 697 h 709"/>
                <a:gd name="T82" fmla="*/ 396 w 618"/>
                <a:gd name="T83" fmla="*/ 707 h 709"/>
                <a:gd name="T84" fmla="*/ 355 w 618"/>
                <a:gd name="T85" fmla="*/ 709 h 709"/>
                <a:gd name="T86" fmla="*/ 299 w 618"/>
                <a:gd name="T87" fmla="*/ 705 h 709"/>
                <a:gd name="T88" fmla="*/ 247 w 618"/>
                <a:gd name="T89" fmla="*/ 693 h 709"/>
                <a:gd name="T90" fmla="*/ 199 w 618"/>
                <a:gd name="T91" fmla="*/ 675 h 709"/>
                <a:gd name="T92" fmla="*/ 154 w 618"/>
                <a:gd name="T93" fmla="*/ 650 h 709"/>
                <a:gd name="T94" fmla="*/ 114 w 618"/>
                <a:gd name="T95" fmla="*/ 619 h 709"/>
                <a:gd name="T96" fmla="*/ 79 w 618"/>
                <a:gd name="T97" fmla="*/ 582 h 709"/>
                <a:gd name="T98" fmla="*/ 51 w 618"/>
                <a:gd name="T99" fmla="*/ 541 h 709"/>
                <a:gd name="T100" fmla="*/ 28 w 618"/>
                <a:gd name="T101" fmla="*/ 495 h 709"/>
                <a:gd name="T102" fmla="*/ 12 w 618"/>
                <a:gd name="T103" fmla="*/ 445 h 709"/>
                <a:gd name="T104" fmla="*/ 3 w 618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8" h="709">
                  <a:moveTo>
                    <a:pt x="0" y="354"/>
                  </a:moveTo>
                  <a:lnTo>
                    <a:pt x="0" y="354"/>
                  </a:lnTo>
                  <a:lnTo>
                    <a:pt x="1" y="336"/>
                  </a:lnTo>
                  <a:lnTo>
                    <a:pt x="3" y="317"/>
                  </a:lnTo>
                  <a:lnTo>
                    <a:pt x="5" y="299"/>
                  </a:lnTo>
                  <a:lnTo>
                    <a:pt x="7" y="282"/>
                  </a:lnTo>
                  <a:lnTo>
                    <a:pt x="12" y="265"/>
                  </a:lnTo>
                  <a:lnTo>
                    <a:pt x="16" y="248"/>
                  </a:lnTo>
                  <a:lnTo>
                    <a:pt x="21" y="230"/>
                  </a:lnTo>
                  <a:lnTo>
                    <a:pt x="28" y="214"/>
                  </a:lnTo>
                  <a:lnTo>
                    <a:pt x="35" y="198"/>
                  </a:lnTo>
                  <a:lnTo>
                    <a:pt x="42" y="183"/>
                  </a:lnTo>
                  <a:lnTo>
                    <a:pt x="51" y="169"/>
                  </a:lnTo>
                  <a:lnTo>
                    <a:pt x="59" y="154"/>
                  </a:lnTo>
                  <a:lnTo>
                    <a:pt x="69" y="140"/>
                  </a:lnTo>
                  <a:lnTo>
                    <a:pt x="79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40" y="69"/>
                  </a:lnTo>
                  <a:lnTo>
                    <a:pt x="154" y="60"/>
                  </a:lnTo>
                  <a:lnTo>
                    <a:pt x="168" y="50"/>
                  </a:lnTo>
                  <a:lnTo>
                    <a:pt x="182" y="41"/>
                  </a:lnTo>
                  <a:lnTo>
                    <a:pt x="199" y="34"/>
                  </a:lnTo>
                  <a:lnTo>
                    <a:pt x="215" y="28"/>
                  </a:lnTo>
                  <a:lnTo>
                    <a:pt x="231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2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5" y="0"/>
                  </a:lnTo>
                  <a:lnTo>
                    <a:pt x="355" y="0"/>
                  </a:lnTo>
                  <a:lnTo>
                    <a:pt x="376" y="0"/>
                  </a:lnTo>
                  <a:lnTo>
                    <a:pt x="396" y="2"/>
                  </a:lnTo>
                  <a:lnTo>
                    <a:pt x="415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70" y="18"/>
                  </a:lnTo>
                  <a:lnTo>
                    <a:pt x="487" y="24"/>
                  </a:lnTo>
                  <a:lnTo>
                    <a:pt x="504" y="31"/>
                  </a:lnTo>
                  <a:lnTo>
                    <a:pt x="520" y="39"/>
                  </a:lnTo>
                  <a:lnTo>
                    <a:pt x="535" y="48"/>
                  </a:lnTo>
                  <a:lnTo>
                    <a:pt x="551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8" y="114"/>
                  </a:lnTo>
                  <a:lnTo>
                    <a:pt x="515" y="220"/>
                  </a:lnTo>
                  <a:lnTo>
                    <a:pt x="515" y="220"/>
                  </a:lnTo>
                  <a:lnTo>
                    <a:pt x="501" y="205"/>
                  </a:lnTo>
                  <a:lnTo>
                    <a:pt x="485" y="191"/>
                  </a:lnTo>
                  <a:lnTo>
                    <a:pt x="468" y="179"/>
                  </a:lnTo>
                  <a:lnTo>
                    <a:pt x="448" y="167"/>
                  </a:lnTo>
                  <a:lnTo>
                    <a:pt x="428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5" y="147"/>
                  </a:lnTo>
                  <a:lnTo>
                    <a:pt x="355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4" y="156"/>
                  </a:lnTo>
                  <a:lnTo>
                    <a:pt x="275" y="163"/>
                  </a:lnTo>
                  <a:lnTo>
                    <a:pt x="257" y="171"/>
                  </a:lnTo>
                  <a:lnTo>
                    <a:pt x="241" y="181"/>
                  </a:lnTo>
                  <a:lnTo>
                    <a:pt x="226" y="193"/>
                  </a:lnTo>
                  <a:lnTo>
                    <a:pt x="212" y="206"/>
                  </a:lnTo>
                  <a:lnTo>
                    <a:pt x="200" y="220"/>
                  </a:lnTo>
                  <a:lnTo>
                    <a:pt x="188" y="236"/>
                  </a:lnTo>
                  <a:lnTo>
                    <a:pt x="179" y="253"/>
                  </a:lnTo>
                  <a:lnTo>
                    <a:pt x="171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7" y="332"/>
                  </a:lnTo>
                  <a:lnTo>
                    <a:pt x="156" y="354"/>
                  </a:lnTo>
                  <a:lnTo>
                    <a:pt x="156" y="354"/>
                  </a:lnTo>
                  <a:lnTo>
                    <a:pt x="157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1" y="438"/>
                  </a:lnTo>
                  <a:lnTo>
                    <a:pt x="179" y="456"/>
                  </a:lnTo>
                  <a:lnTo>
                    <a:pt x="188" y="472"/>
                  </a:lnTo>
                  <a:lnTo>
                    <a:pt x="200" y="488"/>
                  </a:lnTo>
                  <a:lnTo>
                    <a:pt x="212" y="503"/>
                  </a:lnTo>
                  <a:lnTo>
                    <a:pt x="226" y="516"/>
                  </a:lnTo>
                  <a:lnTo>
                    <a:pt x="241" y="528"/>
                  </a:lnTo>
                  <a:lnTo>
                    <a:pt x="257" y="537"/>
                  </a:lnTo>
                  <a:lnTo>
                    <a:pt x="275" y="547"/>
                  </a:lnTo>
                  <a:lnTo>
                    <a:pt x="294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5" y="562"/>
                  </a:lnTo>
                  <a:lnTo>
                    <a:pt x="355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8" y="550"/>
                  </a:lnTo>
                  <a:lnTo>
                    <a:pt x="448" y="541"/>
                  </a:lnTo>
                  <a:lnTo>
                    <a:pt x="468" y="531"/>
                  </a:lnTo>
                  <a:lnTo>
                    <a:pt x="485" y="518"/>
                  </a:lnTo>
                  <a:lnTo>
                    <a:pt x="501" y="504"/>
                  </a:lnTo>
                  <a:lnTo>
                    <a:pt x="515" y="489"/>
                  </a:lnTo>
                  <a:lnTo>
                    <a:pt x="618" y="595"/>
                  </a:lnTo>
                  <a:lnTo>
                    <a:pt x="618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1" y="652"/>
                  </a:lnTo>
                  <a:lnTo>
                    <a:pt x="535" y="661"/>
                  </a:lnTo>
                  <a:lnTo>
                    <a:pt x="520" y="670"/>
                  </a:lnTo>
                  <a:lnTo>
                    <a:pt x="504" y="677"/>
                  </a:lnTo>
                  <a:lnTo>
                    <a:pt x="487" y="685"/>
                  </a:lnTo>
                  <a:lnTo>
                    <a:pt x="470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5" y="705"/>
                  </a:lnTo>
                  <a:lnTo>
                    <a:pt x="396" y="707"/>
                  </a:lnTo>
                  <a:lnTo>
                    <a:pt x="376" y="708"/>
                  </a:lnTo>
                  <a:lnTo>
                    <a:pt x="355" y="709"/>
                  </a:lnTo>
                  <a:lnTo>
                    <a:pt x="355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2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31" y="688"/>
                  </a:lnTo>
                  <a:lnTo>
                    <a:pt x="215" y="682"/>
                  </a:lnTo>
                  <a:lnTo>
                    <a:pt x="199" y="675"/>
                  </a:lnTo>
                  <a:lnTo>
                    <a:pt x="182" y="667"/>
                  </a:lnTo>
                  <a:lnTo>
                    <a:pt x="168" y="659"/>
                  </a:lnTo>
                  <a:lnTo>
                    <a:pt x="154" y="650"/>
                  </a:lnTo>
                  <a:lnTo>
                    <a:pt x="140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9" y="582"/>
                  </a:lnTo>
                  <a:lnTo>
                    <a:pt x="69" y="568"/>
                  </a:lnTo>
                  <a:lnTo>
                    <a:pt x="59" y="555"/>
                  </a:lnTo>
                  <a:lnTo>
                    <a:pt x="51" y="541"/>
                  </a:lnTo>
                  <a:lnTo>
                    <a:pt x="42" y="526"/>
                  </a:lnTo>
                  <a:lnTo>
                    <a:pt x="35" y="510"/>
                  </a:lnTo>
                  <a:lnTo>
                    <a:pt x="28" y="495"/>
                  </a:lnTo>
                  <a:lnTo>
                    <a:pt x="21" y="478"/>
                  </a:lnTo>
                  <a:lnTo>
                    <a:pt x="16" y="462"/>
                  </a:lnTo>
                  <a:lnTo>
                    <a:pt x="12" y="445"/>
                  </a:lnTo>
                  <a:lnTo>
                    <a:pt x="7" y="427"/>
                  </a:lnTo>
                  <a:lnTo>
                    <a:pt x="5" y="409"/>
                  </a:lnTo>
                  <a:lnTo>
                    <a:pt x="3" y="392"/>
                  </a:lnTo>
                  <a:lnTo>
                    <a:pt x="1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9"/>
            <p:cNvSpPr>
              <a:spLocks/>
            </p:cNvSpPr>
            <p:nvPr userDrawn="1"/>
          </p:nvSpPr>
          <p:spPr bwMode="auto">
            <a:xfrm>
              <a:off x="956" y="3536"/>
              <a:ext cx="176" cy="123"/>
            </a:xfrm>
            <a:custGeom>
              <a:avLst/>
              <a:gdLst>
                <a:gd name="T0" fmla="*/ 529 w 529"/>
                <a:gd name="T1" fmla="*/ 370 h 370"/>
                <a:gd name="T2" fmla="*/ 203 w 529"/>
                <a:gd name="T3" fmla="*/ 0 h 370"/>
                <a:gd name="T4" fmla="*/ 0 w 529"/>
                <a:gd name="T5" fmla="*/ 0 h 370"/>
                <a:gd name="T6" fmla="*/ 322 w 529"/>
                <a:gd name="T7" fmla="*/ 370 h 370"/>
                <a:gd name="T8" fmla="*/ 529 w 529"/>
                <a:gd name="T9" fmla="*/ 37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9" h="370">
                  <a:moveTo>
                    <a:pt x="529" y="370"/>
                  </a:moveTo>
                  <a:lnTo>
                    <a:pt x="203" y="0"/>
                  </a:lnTo>
                  <a:lnTo>
                    <a:pt x="0" y="0"/>
                  </a:lnTo>
                  <a:lnTo>
                    <a:pt x="322" y="370"/>
                  </a:lnTo>
                  <a:lnTo>
                    <a:pt x="529" y="37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auto">
            <a:xfrm>
              <a:off x="893" y="3345"/>
              <a:ext cx="50" cy="314"/>
            </a:xfrm>
            <a:custGeom>
              <a:avLst/>
              <a:gdLst>
                <a:gd name="T0" fmla="*/ 0 w 152"/>
                <a:gd name="T1" fmla="*/ 0 h 943"/>
                <a:gd name="T2" fmla="*/ 0 w 152"/>
                <a:gd name="T3" fmla="*/ 943 h 943"/>
                <a:gd name="T4" fmla="*/ 152 w 152"/>
                <a:gd name="T5" fmla="*/ 943 h 943"/>
                <a:gd name="T6" fmla="*/ 152 w 152"/>
                <a:gd name="T7" fmla="*/ 599 h 943"/>
                <a:gd name="T8" fmla="*/ 152 w 152"/>
                <a:gd name="T9" fmla="*/ 600 h 943"/>
                <a:gd name="T10" fmla="*/ 152 w 152"/>
                <a:gd name="T11" fmla="*/ 565 h 943"/>
                <a:gd name="T12" fmla="*/ 152 w 152"/>
                <a:gd name="T13" fmla="*/ 565 h 943"/>
                <a:gd name="T14" fmla="*/ 152 w 152"/>
                <a:gd name="T15" fmla="*/ 0 h 943"/>
                <a:gd name="T16" fmla="*/ 0 w 152"/>
                <a:gd name="T17" fmla="*/ 0 h 9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943">
                  <a:moveTo>
                    <a:pt x="0" y="0"/>
                  </a:moveTo>
                  <a:lnTo>
                    <a:pt x="0" y="943"/>
                  </a:lnTo>
                  <a:lnTo>
                    <a:pt x="152" y="943"/>
                  </a:lnTo>
                  <a:lnTo>
                    <a:pt x="152" y="599"/>
                  </a:lnTo>
                  <a:lnTo>
                    <a:pt x="152" y="600"/>
                  </a:lnTo>
                  <a:lnTo>
                    <a:pt x="152" y="565"/>
                  </a:lnTo>
                  <a:lnTo>
                    <a:pt x="152" y="565"/>
                  </a:lnTo>
                  <a:lnTo>
                    <a:pt x="15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auto">
            <a:xfrm>
              <a:off x="1202" y="3424"/>
              <a:ext cx="206" cy="236"/>
            </a:xfrm>
            <a:custGeom>
              <a:avLst/>
              <a:gdLst>
                <a:gd name="T0" fmla="*/ 0 w 617"/>
                <a:gd name="T1" fmla="*/ 336 h 709"/>
                <a:gd name="T2" fmla="*/ 7 w 617"/>
                <a:gd name="T3" fmla="*/ 282 h 709"/>
                <a:gd name="T4" fmla="*/ 21 w 617"/>
                <a:gd name="T5" fmla="*/ 230 h 709"/>
                <a:gd name="T6" fmla="*/ 42 w 617"/>
                <a:gd name="T7" fmla="*/ 183 h 709"/>
                <a:gd name="T8" fmla="*/ 68 w 617"/>
                <a:gd name="T9" fmla="*/ 140 h 709"/>
                <a:gd name="T10" fmla="*/ 101 w 617"/>
                <a:gd name="T11" fmla="*/ 102 h 709"/>
                <a:gd name="T12" fmla="*/ 139 w 617"/>
                <a:gd name="T13" fmla="*/ 69 h 709"/>
                <a:gd name="T14" fmla="*/ 183 w 617"/>
                <a:gd name="T15" fmla="*/ 41 h 709"/>
                <a:gd name="T16" fmla="*/ 229 w 617"/>
                <a:gd name="T17" fmla="*/ 21 h 709"/>
                <a:gd name="T18" fmla="*/ 281 w 617"/>
                <a:gd name="T19" fmla="*/ 7 h 709"/>
                <a:gd name="T20" fmla="*/ 336 w 617"/>
                <a:gd name="T21" fmla="*/ 0 h 709"/>
                <a:gd name="T22" fmla="*/ 375 w 617"/>
                <a:gd name="T23" fmla="*/ 0 h 709"/>
                <a:gd name="T24" fmla="*/ 433 w 617"/>
                <a:gd name="T25" fmla="*/ 8 h 709"/>
                <a:gd name="T26" fmla="*/ 486 w 617"/>
                <a:gd name="T27" fmla="*/ 24 h 709"/>
                <a:gd name="T28" fmla="*/ 535 w 617"/>
                <a:gd name="T29" fmla="*/ 48 h 709"/>
                <a:gd name="T30" fmla="*/ 579 w 617"/>
                <a:gd name="T31" fmla="*/ 78 h 709"/>
                <a:gd name="T32" fmla="*/ 617 w 617"/>
                <a:gd name="T33" fmla="*/ 114 h 709"/>
                <a:gd name="T34" fmla="*/ 500 w 617"/>
                <a:gd name="T35" fmla="*/ 205 h 709"/>
                <a:gd name="T36" fmla="*/ 448 w 617"/>
                <a:gd name="T37" fmla="*/ 167 h 709"/>
                <a:gd name="T38" fmla="*/ 405 w 617"/>
                <a:gd name="T39" fmla="*/ 152 h 709"/>
                <a:gd name="T40" fmla="*/ 368 w 617"/>
                <a:gd name="T41" fmla="*/ 147 h 709"/>
                <a:gd name="T42" fmla="*/ 334 w 617"/>
                <a:gd name="T43" fmla="*/ 148 h 709"/>
                <a:gd name="T44" fmla="*/ 274 w 617"/>
                <a:gd name="T45" fmla="*/ 163 h 709"/>
                <a:gd name="T46" fmla="*/ 225 w 617"/>
                <a:gd name="T47" fmla="*/ 193 h 709"/>
                <a:gd name="T48" fmla="*/ 187 w 617"/>
                <a:gd name="T49" fmla="*/ 236 h 709"/>
                <a:gd name="T50" fmla="*/ 164 w 617"/>
                <a:gd name="T51" fmla="*/ 291 h 709"/>
                <a:gd name="T52" fmla="*/ 155 w 617"/>
                <a:gd name="T53" fmla="*/ 354 h 709"/>
                <a:gd name="T54" fmla="*/ 160 w 617"/>
                <a:gd name="T55" fmla="*/ 398 h 709"/>
                <a:gd name="T56" fmla="*/ 178 w 617"/>
                <a:gd name="T57" fmla="*/ 456 h 709"/>
                <a:gd name="T58" fmla="*/ 211 w 617"/>
                <a:gd name="T59" fmla="*/ 503 h 709"/>
                <a:gd name="T60" fmla="*/ 257 w 617"/>
                <a:gd name="T61" fmla="*/ 537 h 709"/>
                <a:gd name="T62" fmla="*/ 313 w 617"/>
                <a:gd name="T63" fmla="*/ 558 h 709"/>
                <a:gd name="T64" fmla="*/ 354 w 617"/>
                <a:gd name="T65" fmla="*/ 562 h 709"/>
                <a:gd name="T66" fmla="*/ 393 w 617"/>
                <a:gd name="T67" fmla="*/ 559 h 709"/>
                <a:gd name="T68" fmla="*/ 427 w 617"/>
                <a:gd name="T69" fmla="*/ 550 h 709"/>
                <a:gd name="T70" fmla="*/ 484 w 617"/>
                <a:gd name="T71" fmla="*/ 518 h 709"/>
                <a:gd name="T72" fmla="*/ 617 w 617"/>
                <a:gd name="T73" fmla="*/ 595 h 709"/>
                <a:gd name="T74" fmla="*/ 593 w 617"/>
                <a:gd name="T75" fmla="*/ 620 h 709"/>
                <a:gd name="T76" fmla="*/ 550 w 617"/>
                <a:gd name="T77" fmla="*/ 652 h 709"/>
                <a:gd name="T78" fmla="*/ 503 w 617"/>
                <a:gd name="T79" fmla="*/ 677 h 709"/>
                <a:gd name="T80" fmla="*/ 452 w 617"/>
                <a:gd name="T81" fmla="*/ 697 h 709"/>
                <a:gd name="T82" fmla="*/ 394 w 617"/>
                <a:gd name="T83" fmla="*/ 707 h 709"/>
                <a:gd name="T84" fmla="*/ 354 w 617"/>
                <a:gd name="T85" fmla="*/ 709 h 709"/>
                <a:gd name="T86" fmla="*/ 299 w 617"/>
                <a:gd name="T87" fmla="*/ 705 h 709"/>
                <a:gd name="T88" fmla="*/ 247 w 617"/>
                <a:gd name="T89" fmla="*/ 693 h 709"/>
                <a:gd name="T90" fmla="*/ 197 w 617"/>
                <a:gd name="T91" fmla="*/ 675 h 709"/>
                <a:gd name="T92" fmla="*/ 153 w 617"/>
                <a:gd name="T93" fmla="*/ 650 h 709"/>
                <a:gd name="T94" fmla="*/ 114 w 617"/>
                <a:gd name="T95" fmla="*/ 619 h 709"/>
                <a:gd name="T96" fmla="*/ 78 w 617"/>
                <a:gd name="T97" fmla="*/ 582 h 709"/>
                <a:gd name="T98" fmla="*/ 50 w 617"/>
                <a:gd name="T99" fmla="*/ 541 h 709"/>
                <a:gd name="T100" fmla="*/ 27 w 617"/>
                <a:gd name="T101" fmla="*/ 495 h 709"/>
                <a:gd name="T102" fmla="*/ 11 w 617"/>
                <a:gd name="T103" fmla="*/ 445 h 709"/>
                <a:gd name="T104" fmla="*/ 2 w 617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7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2" y="317"/>
                  </a:lnTo>
                  <a:lnTo>
                    <a:pt x="4" y="299"/>
                  </a:lnTo>
                  <a:lnTo>
                    <a:pt x="7" y="282"/>
                  </a:lnTo>
                  <a:lnTo>
                    <a:pt x="11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7" y="214"/>
                  </a:lnTo>
                  <a:lnTo>
                    <a:pt x="34" y="198"/>
                  </a:lnTo>
                  <a:lnTo>
                    <a:pt x="42" y="183"/>
                  </a:lnTo>
                  <a:lnTo>
                    <a:pt x="50" y="169"/>
                  </a:lnTo>
                  <a:lnTo>
                    <a:pt x="59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39" y="69"/>
                  </a:lnTo>
                  <a:lnTo>
                    <a:pt x="153" y="60"/>
                  </a:lnTo>
                  <a:lnTo>
                    <a:pt x="168" y="50"/>
                  </a:lnTo>
                  <a:lnTo>
                    <a:pt x="183" y="41"/>
                  </a:lnTo>
                  <a:lnTo>
                    <a:pt x="197" y="34"/>
                  </a:lnTo>
                  <a:lnTo>
                    <a:pt x="213" y="28"/>
                  </a:lnTo>
                  <a:lnTo>
                    <a:pt x="229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1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75" y="0"/>
                  </a:lnTo>
                  <a:lnTo>
                    <a:pt x="394" y="2"/>
                  </a:lnTo>
                  <a:lnTo>
                    <a:pt x="414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69" y="18"/>
                  </a:lnTo>
                  <a:lnTo>
                    <a:pt x="486" y="24"/>
                  </a:lnTo>
                  <a:lnTo>
                    <a:pt x="503" y="31"/>
                  </a:lnTo>
                  <a:lnTo>
                    <a:pt x="519" y="39"/>
                  </a:lnTo>
                  <a:lnTo>
                    <a:pt x="535" y="48"/>
                  </a:lnTo>
                  <a:lnTo>
                    <a:pt x="550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7" y="114"/>
                  </a:lnTo>
                  <a:lnTo>
                    <a:pt x="514" y="220"/>
                  </a:lnTo>
                  <a:lnTo>
                    <a:pt x="514" y="220"/>
                  </a:lnTo>
                  <a:lnTo>
                    <a:pt x="500" y="205"/>
                  </a:lnTo>
                  <a:lnTo>
                    <a:pt x="484" y="191"/>
                  </a:lnTo>
                  <a:lnTo>
                    <a:pt x="467" y="179"/>
                  </a:lnTo>
                  <a:lnTo>
                    <a:pt x="448" y="167"/>
                  </a:lnTo>
                  <a:lnTo>
                    <a:pt x="427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4" y="147"/>
                  </a:lnTo>
                  <a:lnTo>
                    <a:pt x="354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3" y="156"/>
                  </a:lnTo>
                  <a:lnTo>
                    <a:pt x="274" y="163"/>
                  </a:lnTo>
                  <a:lnTo>
                    <a:pt x="257" y="171"/>
                  </a:lnTo>
                  <a:lnTo>
                    <a:pt x="240" y="181"/>
                  </a:lnTo>
                  <a:lnTo>
                    <a:pt x="225" y="193"/>
                  </a:lnTo>
                  <a:lnTo>
                    <a:pt x="211" y="206"/>
                  </a:lnTo>
                  <a:lnTo>
                    <a:pt x="199" y="220"/>
                  </a:lnTo>
                  <a:lnTo>
                    <a:pt x="187" y="236"/>
                  </a:lnTo>
                  <a:lnTo>
                    <a:pt x="178" y="253"/>
                  </a:lnTo>
                  <a:lnTo>
                    <a:pt x="170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6" y="332"/>
                  </a:lnTo>
                  <a:lnTo>
                    <a:pt x="155" y="354"/>
                  </a:lnTo>
                  <a:lnTo>
                    <a:pt x="155" y="354"/>
                  </a:lnTo>
                  <a:lnTo>
                    <a:pt x="156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0" y="438"/>
                  </a:lnTo>
                  <a:lnTo>
                    <a:pt x="178" y="456"/>
                  </a:lnTo>
                  <a:lnTo>
                    <a:pt x="187" y="472"/>
                  </a:lnTo>
                  <a:lnTo>
                    <a:pt x="199" y="488"/>
                  </a:lnTo>
                  <a:lnTo>
                    <a:pt x="211" y="503"/>
                  </a:lnTo>
                  <a:lnTo>
                    <a:pt x="225" y="516"/>
                  </a:lnTo>
                  <a:lnTo>
                    <a:pt x="240" y="528"/>
                  </a:lnTo>
                  <a:lnTo>
                    <a:pt x="257" y="537"/>
                  </a:lnTo>
                  <a:lnTo>
                    <a:pt x="274" y="547"/>
                  </a:lnTo>
                  <a:lnTo>
                    <a:pt x="293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4" y="562"/>
                  </a:lnTo>
                  <a:lnTo>
                    <a:pt x="354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7" y="550"/>
                  </a:lnTo>
                  <a:lnTo>
                    <a:pt x="448" y="541"/>
                  </a:lnTo>
                  <a:lnTo>
                    <a:pt x="467" y="531"/>
                  </a:lnTo>
                  <a:lnTo>
                    <a:pt x="484" y="518"/>
                  </a:lnTo>
                  <a:lnTo>
                    <a:pt x="500" y="504"/>
                  </a:lnTo>
                  <a:lnTo>
                    <a:pt x="514" y="489"/>
                  </a:lnTo>
                  <a:lnTo>
                    <a:pt x="617" y="595"/>
                  </a:lnTo>
                  <a:lnTo>
                    <a:pt x="617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0" y="652"/>
                  </a:lnTo>
                  <a:lnTo>
                    <a:pt x="535" y="661"/>
                  </a:lnTo>
                  <a:lnTo>
                    <a:pt x="519" y="670"/>
                  </a:lnTo>
                  <a:lnTo>
                    <a:pt x="503" y="677"/>
                  </a:lnTo>
                  <a:lnTo>
                    <a:pt x="486" y="685"/>
                  </a:lnTo>
                  <a:lnTo>
                    <a:pt x="469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4" y="705"/>
                  </a:lnTo>
                  <a:lnTo>
                    <a:pt x="394" y="707"/>
                  </a:lnTo>
                  <a:lnTo>
                    <a:pt x="375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3" y="667"/>
                  </a:lnTo>
                  <a:lnTo>
                    <a:pt x="168" y="659"/>
                  </a:lnTo>
                  <a:lnTo>
                    <a:pt x="153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9" y="555"/>
                  </a:lnTo>
                  <a:lnTo>
                    <a:pt x="50" y="541"/>
                  </a:lnTo>
                  <a:lnTo>
                    <a:pt x="42" y="526"/>
                  </a:lnTo>
                  <a:lnTo>
                    <a:pt x="34" y="510"/>
                  </a:lnTo>
                  <a:lnTo>
                    <a:pt x="27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1" y="445"/>
                  </a:lnTo>
                  <a:lnTo>
                    <a:pt x="7" y="427"/>
                  </a:lnTo>
                  <a:lnTo>
                    <a:pt x="4" y="409"/>
                  </a:lnTo>
                  <a:lnTo>
                    <a:pt x="2" y="392"/>
                  </a:lnTo>
                  <a:lnTo>
                    <a:pt x="0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202" y="3424"/>
              <a:ext cx="206" cy="236"/>
            </a:xfrm>
            <a:custGeom>
              <a:avLst/>
              <a:gdLst>
                <a:gd name="T0" fmla="*/ 0 w 617"/>
                <a:gd name="T1" fmla="*/ 336 h 709"/>
                <a:gd name="T2" fmla="*/ 7 w 617"/>
                <a:gd name="T3" fmla="*/ 282 h 709"/>
                <a:gd name="T4" fmla="*/ 21 w 617"/>
                <a:gd name="T5" fmla="*/ 230 h 709"/>
                <a:gd name="T6" fmla="*/ 42 w 617"/>
                <a:gd name="T7" fmla="*/ 183 h 709"/>
                <a:gd name="T8" fmla="*/ 68 w 617"/>
                <a:gd name="T9" fmla="*/ 140 h 709"/>
                <a:gd name="T10" fmla="*/ 101 w 617"/>
                <a:gd name="T11" fmla="*/ 102 h 709"/>
                <a:gd name="T12" fmla="*/ 139 w 617"/>
                <a:gd name="T13" fmla="*/ 69 h 709"/>
                <a:gd name="T14" fmla="*/ 183 w 617"/>
                <a:gd name="T15" fmla="*/ 41 h 709"/>
                <a:gd name="T16" fmla="*/ 229 w 617"/>
                <a:gd name="T17" fmla="*/ 21 h 709"/>
                <a:gd name="T18" fmla="*/ 281 w 617"/>
                <a:gd name="T19" fmla="*/ 7 h 709"/>
                <a:gd name="T20" fmla="*/ 336 w 617"/>
                <a:gd name="T21" fmla="*/ 0 h 709"/>
                <a:gd name="T22" fmla="*/ 375 w 617"/>
                <a:gd name="T23" fmla="*/ 0 h 709"/>
                <a:gd name="T24" fmla="*/ 433 w 617"/>
                <a:gd name="T25" fmla="*/ 8 h 709"/>
                <a:gd name="T26" fmla="*/ 486 w 617"/>
                <a:gd name="T27" fmla="*/ 24 h 709"/>
                <a:gd name="T28" fmla="*/ 535 w 617"/>
                <a:gd name="T29" fmla="*/ 48 h 709"/>
                <a:gd name="T30" fmla="*/ 579 w 617"/>
                <a:gd name="T31" fmla="*/ 78 h 709"/>
                <a:gd name="T32" fmla="*/ 617 w 617"/>
                <a:gd name="T33" fmla="*/ 114 h 709"/>
                <a:gd name="T34" fmla="*/ 500 w 617"/>
                <a:gd name="T35" fmla="*/ 205 h 709"/>
                <a:gd name="T36" fmla="*/ 448 w 617"/>
                <a:gd name="T37" fmla="*/ 167 h 709"/>
                <a:gd name="T38" fmla="*/ 405 w 617"/>
                <a:gd name="T39" fmla="*/ 152 h 709"/>
                <a:gd name="T40" fmla="*/ 368 w 617"/>
                <a:gd name="T41" fmla="*/ 147 h 709"/>
                <a:gd name="T42" fmla="*/ 334 w 617"/>
                <a:gd name="T43" fmla="*/ 148 h 709"/>
                <a:gd name="T44" fmla="*/ 274 w 617"/>
                <a:gd name="T45" fmla="*/ 163 h 709"/>
                <a:gd name="T46" fmla="*/ 225 w 617"/>
                <a:gd name="T47" fmla="*/ 193 h 709"/>
                <a:gd name="T48" fmla="*/ 187 w 617"/>
                <a:gd name="T49" fmla="*/ 236 h 709"/>
                <a:gd name="T50" fmla="*/ 164 w 617"/>
                <a:gd name="T51" fmla="*/ 291 h 709"/>
                <a:gd name="T52" fmla="*/ 155 w 617"/>
                <a:gd name="T53" fmla="*/ 354 h 709"/>
                <a:gd name="T54" fmla="*/ 160 w 617"/>
                <a:gd name="T55" fmla="*/ 398 h 709"/>
                <a:gd name="T56" fmla="*/ 178 w 617"/>
                <a:gd name="T57" fmla="*/ 456 h 709"/>
                <a:gd name="T58" fmla="*/ 211 w 617"/>
                <a:gd name="T59" fmla="*/ 503 h 709"/>
                <a:gd name="T60" fmla="*/ 257 w 617"/>
                <a:gd name="T61" fmla="*/ 537 h 709"/>
                <a:gd name="T62" fmla="*/ 313 w 617"/>
                <a:gd name="T63" fmla="*/ 558 h 709"/>
                <a:gd name="T64" fmla="*/ 354 w 617"/>
                <a:gd name="T65" fmla="*/ 562 h 709"/>
                <a:gd name="T66" fmla="*/ 393 w 617"/>
                <a:gd name="T67" fmla="*/ 559 h 709"/>
                <a:gd name="T68" fmla="*/ 427 w 617"/>
                <a:gd name="T69" fmla="*/ 550 h 709"/>
                <a:gd name="T70" fmla="*/ 484 w 617"/>
                <a:gd name="T71" fmla="*/ 518 h 709"/>
                <a:gd name="T72" fmla="*/ 617 w 617"/>
                <a:gd name="T73" fmla="*/ 595 h 709"/>
                <a:gd name="T74" fmla="*/ 593 w 617"/>
                <a:gd name="T75" fmla="*/ 620 h 709"/>
                <a:gd name="T76" fmla="*/ 550 w 617"/>
                <a:gd name="T77" fmla="*/ 652 h 709"/>
                <a:gd name="T78" fmla="*/ 503 w 617"/>
                <a:gd name="T79" fmla="*/ 677 h 709"/>
                <a:gd name="T80" fmla="*/ 452 w 617"/>
                <a:gd name="T81" fmla="*/ 697 h 709"/>
                <a:gd name="T82" fmla="*/ 394 w 617"/>
                <a:gd name="T83" fmla="*/ 707 h 709"/>
                <a:gd name="T84" fmla="*/ 354 w 617"/>
                <a:gd name="T85" fmla="*/ 709 h 709"/>
                <a:gd name="T86" fmla="*/ 299 w 617"/>
                <a:gd name="T87" fmla="*/ 705 h 709"/>
                <a:gd name="T88" fmla="*/ 247 w 617"/>
                <a:gd name="T89" fmla="*/ 693 h 709"/>
                <a:gd name="T90" fmla="*/ 197 w 617"/>
                <a:gd name="T91" fmla="*/ 675 h 709"/>
                <a:gd name="T92" fmla="*/ 153 w 617"/>
                <a:gd name="T93" fmla="*/ 650 h 709"/>
                <a:gd name="T94" fmla="*/ 114 w 617"/>
                <a:gd name="T95" fmla="*/ 619 h 709"/>
                <a:gd name="T96" fmla="*/ 78 w 617"/>
                <a:gd name="T97" fmla="*/ 582 h 709"/>
                <a:gd name="T98" fmla="*/ 50 w 617"/>
                <a:gd name="T99" fmla="*/ 541 h 709"/>
                <a:gd name="T100" fmla="*/ 27 w 617"/>
                <a:gd name="T101" fmla="*/ 495 h 709"/>
                <a:gd name="T102" fmla="*/ 11 w 617"/>
                <a:gd name="T103" fmla="*/ 445 h 709"/>
                <a:gd name="T104" fmla="*/ 2 w 617"/>
                <a:gd name="T105" fmla="*/ 392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17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2" y="317"/>
                  </a:lnTo>
                  <a:lnTo>
                    <a:pt x="4" y="299"/>
                  </a:lnTo>
                  <a:lnTo>
                    <a:pt x="7" y="282"/>
                  </a:lnTo>
                  <a:lnTo>
                    <a:pt x="11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7" y="214"/>
                  </a:lnTo>
                  <a:lnTo>
                    <a:pt x="34" y="198"/>
                  </a:lnTo>
                  <a:lnTo>
                    <a:pt x="42" y="183"/>
                  </a:lnTo>
                  <a:lnTo>
                    <a:pt x="50" y="169"/>
                  </a:lnTo>
                  <a:lnTo>
                    <a:pt x="59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90" y="115"/>
                  </a:lnTo>
                  <a:lnTo>
                    <a:pt x="101" y="102"/>
                  </a:lnTo>
                  <a:lnTo>
                    <a:pt x="114" y="91"/>
                  </a:lnTo>
                  <a:lnTo>
                    <a:pt x="126" y="79"/>
                  </a:lnTo>
                  <a:lnTo>
                    <a:pt x="139" y="69"/>
                  </a:lnTo>
                  <a:lnTo>
                    <a:pt x="153" y="60"/>
                  </a:lnTo>
                  <a:lnTo>
                    <a:pt x="168" y="50"/>
                  </a:lnTo>
                  <a:lnTo>
                    <a:pt x="183" y="41"/>
                  </a:lnTo>
                  <a:lnTo>
                    <a:pt x="197" y="34"/>
                  </a:lnTo>
                  <a:lnTo>
                    <a:pt x="213" y="28"/>
                  </a:lnTo>
                  <a:lnTo>
                    <a:pt x="229" y="21"/>
                  </a:lnTo>
                  <a:lnTo>
                    <a:pt x="247" y="15"/>
                  </a:lnTo>
                  <a:lnTo>
                    <a:pt x="264" y="10"/>
                  </a:lnTo>
                  <a:lnTo>
                    <a:pt x="281" y="7"/>
                  </a:lnTo>
                  <a:lnTo>
                    <a:pt x="299" y="3"/>
                  </a:lnTo>
                  <a:lnTo>
                    <a:pt x="318" y="1"/>
                  </a:lnTo>
                  <a:lnTo>
                    <a:pt x="336" y="0"/>
                  </a:lnTo>
                  <a:lnTo>
                    <a:pt x="354" y="0"/>
                  </a:lnTo>
                  <a:lnTo>
                    <a:pt x="354" y="0"/>
                  </a:lnTo>
                  <a:lnTo>
                    <a:pt x="375" y="0"/>
                  </a:lnTo>
                  <a:lnTo>
                    <a:pt x="394" y="2"/>
                  </a:lnTo>
                  <a:lnTo>
                    <a:pt x="414" y="5"/>
                  </a:lnTo>
                  <a:lnTo>
                    <a:pt x="433" y="8"/>
                  </a:lnTo>
                  <a:lnTo>
                    <a:pt x="452" y="13"/>
                  </a:lnTo>
                  <a:lnTo>
                    <a:pt x="469" y="18"/>
                  </a:lnTo>
                  <a:lnTo>
                    <a:pt x="486" y="24"/>
                  </a:lnTo>
                  <a:lnTo>
                    <a:pt x="503" y="31"/>
                  </a:lnTo>
                  <a:lnTo>
                    <a:pt x="519" y="39"/>
                  </a:lnTo>
                  <a:lnTo>
                    <a:pt x="535" y="48"/>
                  </a:lnTo>
                  <a:lnTo>
                    <a:pt x="550" y="57"/>
                  </a:lnTo>
                  <a:lnTo>
                    <a:pt x="565" y="68"/>
                  </a:lnTo>
                  <a:lnTo>
                    <a:pt x="579" y="78"/>
                  </a:lnTo>
                  <a:lnTo>
                    <a:pt x="593" y="89"/>
                  </a:lnTo>
                  <a:lnTo>
                    <a:pt x="605" y="101"/>
                  </a:lnTo>
                  <a:lnTo>
                    <a:pt x="617" y="114"/>
                  </a:lnTo>
                  <a:lnTo>
                    <a:pt x="514" y="220"/>
                  </a:lnTo>
                  <a:lnTo>
                    <a:pt x="514" y="220"/>
                  </a:lnTo>
                  <a:lnTo>
                    <a:pt x="500" y="205"/>
                  </a:lnTo>
                  <a:lnTo>
                    <a:pt x="484" y="191"/>
                  </a:lnTo>
                  <a:lnTo>
                    <a:pt x="467" y="179"/>
                  </a:lnTo>
                  <a:lnTo>
                    <a:pt x="448" y="167"/>
                  </a:lnTo>
                  <a:lnTo>
                    <a:pt x="427" y="159"/>
                  </a:lnTo>
                  <a:lnTo>
                    <a:pt x="416" y="156"/>
                  </a:lnTo>
                  <a:lnTo>
                    <a:pt x="405" y="152"/>
                  </a:lnTo>
                  <a:lnTo>
                    <a:pt x="393" y="150"/>
                  </a:lnTo>
                  <a:lnTo>
                    <a:pt x="381" y="148"/>
                  </a:lnTo>
                  <a:lnTo>
                    <a:pt x="368" y="147"/>
                  </a:lnTo>
                  <a:lnTo>
                    <a:pt x="354" y="147"/>
                  </a:lnTo>
                  <a:lnTo>
                    <a:pt x="354" y="147"/>
                  </a:lnTo>
                  <a:lnTo>
                    <a:pt x="334" y="148"/>
                  </a:lnTo>
                  <a:lnTo>
                    <a:pt x="313" y="151"/>
                  </a:lnTo>
                  <a:lnTo>
                    <a:pt x="293" y="156"/>
                  </a:lnTo>
                  <a:lnTo>
                    <a:pt x="274" y="163"/>
                  </a:lnTo>
                  <a:lnTo>
                    <a:pt x="257" y="171"/>
                  </a:lnTo>
                  <a:lnTo>
                    <a:pt x="240" y="181"/>
                  </a:lnTo>
                  <a:lnTo>
                    <a:pt x="225" y="193"/>
                  </a:lnTo>
                  <a:lnTo>
                    <a:pt x="211" y="206"/>
                  </a:lnTo>
                  <a:lnTo>
                    <a:pt x="199" y="220"/>
                  </a:lnTo>
                  <a:lnTo>
                    <a:pt x="187" y="236"/>
                  </a:lnTo>
                  <a:lnTo>
                    <a:pt x="178" y="253"/>
                  </a:lnTo>
                  <a:lnTo>
                    <a:pt x="170" y="272"/>
                  </a:lnTo>
                  <a:lnTo>
                    <a:pt x="164" y="291"/>
                  </a:lnTo>
                  <a:lnTo>
                    <a:pt x="160" y="312"/>
                  </a:lnTo>
                  <a:lnTo>
                    <a:pt x="156" y="332"/>
                  </a:lnTo>
                  <a:lnTo>
                    <a:pt x="155" y="354"/>
                  </a:lnTo>
                  <a:lnTo>
                    <a:pt x="155" y="354"/>
                  </a:lnTo>
                  <a:lnTo>
                    <a:pt x="156" y="377"/>
                  </a:lnTo>
                  <a:lnTo>
                    <a:pt x="160" y="398"/>
                  </a:lnTo>
                  <a:lnTo>
                    <a:pt x="164" y="418"/>
                  </a:lnTo>
                  <a:lnTo>
                    <a:pt x="170" y="438"/>
                  </a:lnTo>
                  <a:lnTo>
                    <a:pt x="178" y="456"/>
                  </a:lnTo>
                  <a:lnTo>
                    <a:pt x="187" y="472"/>
                  </a:lnTo>
                  <a:lnTo>
                    <a:pt x="199" y="488"/>
                  </a:lnTo>
                  <a:lnTo>
                    <a:pt x="211" y="503"/>
                  </a:lnTo>
                  <a:lnTo>
                    <a:pt x="225" y="516"/>
                  </a:lnTo>
                  <a:lnTo>
                    <a:pt x="240" y="528"/>
                  </a:lnTo>
                  <a:lnTo>
                    <a:pt x="257" y="537"/>
                  </a:lnTo>
                  <a:lnTo>
                    <a:pt x="274" y="547"/>
                  </a:lnTo>
                  <a:lnTo>
                    <a:pt x="293" y="554"/>
                  </a:lnTo>
                  <a:lnTo>
                    <a:pt x="313" y="558"/>
                  </a:lnTo>
                  <a:lnTo>
                    <a:pt x="334" y="562"/>
                  </a:lnTo>
                  <a:lnTo>
                    <a:pt x="354" y="562"/>
                  </a:lnTo>
                  <a:lnTo>
                    <a:pt x="354" y="562"/>
                  </a:lnTo>
                  <a:lnTo>
                    <a:pt x="368" y="562"/>
                  </a:lnTo>
                  <a:lnTo>
                    <a:pt x="381" y="560"/>
                  </a:lnTo>
                  <a:lnTo>
                    <a:pt x="393" y="559"/>
                  </a:lnTo>
                  <a:lnTo>
                    <a:pt x="405" y="557"/>
                  </a:lnTo>
                  <a:lnTo>
                    <a:pt x="416" y="554"/>
                  </a:lnTo>
                  <a:lnTo>
                    <a:pt x="427" y="550"/>
                  </a:lnTo>
                  <a:lnTo>
                    <a:pt x="448" y="541"/>
                  </a:lnTo>
                  <a:lnTo>
                    <a:pt x="467" y="531"/>
                  </a:lnTo>
                  <a:lnTo>
                    <a:pt x="484" y="518"/>
                  </a:lnTo>
                  <a:lnTo>
                    <a:pt x="500" y="504"/>
                  </a:lnTo>
                  <a:lnTo>
                    <a:pt x="514" y="489"/>
                  </a:lnTo>
                  <a:lnTo>
                    <a:pt x="617" y="595"/>
                  </a:lnTo>
                  <a:lnTo>
                    <a:pt x="617" y="595"/>
                  </a:lnTo>
                  <a:lnTo>
                    <a:pt x="605" y="607"/>
                  </a:lnTo>
                  <a:lnTo>
                    <a:pt x="593" y="620"/>
                  </a:lnTo>
                  <a:lnTo>
                    <a:pt x="579" y="631"/>
                  </a:lnTo>
                  <a:lnTo>
                    <a:pt x="565" y="642"/>
                  </a:lnTo>
                  <a:lnTo>
                    <a:pt x="550" y="652"/>
                  </a:lnTo>
                  <a:lnTo>
                    <a:pt x="535" y="661"/>
                  </a:lnTo>
                  <a:lnTo>
                    <a:pt x="519" y="670"/>
                  </a:lnTo>
                  <a:lnTo>
                    <a:pt x="503" y="677"/>
                  </a:lnTo>
                  <a:lnTo>
                    <a:pt x="486" y="685"/>
                  </a:lnTo>
                  <a:lnTo>
                    <a:pt x="469" y="691"/>
                  </a:lnTo>
                  <a:lnTo>
                    <a:pt x="452" y="697"/>
                  </a:lnTo>
                  <a:lnTo>
                    <a:pt x="433" y="701"/>
                  </a:lnTo>
                  <a:lnTo>
                    <a:pt x="414" y="705"/>
                  </a:lnTo>
                  <a:lnTo>
                    <a:pt x="394" y="707"/>
                  </a:lnTo>
                  <a:lnTo>
                    <a:pt x="375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8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7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3" y="667"/>
                  </a:lnTo>
                  <a:lnTo>
                    <a:pt x="168" y="659"/>
                  </a:lnTo>
                  <a:lnTo>
                    <a:pt x="153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4" y="619"/>
                  </a:lnTo>
                  <a:lnTo>
                    <a:pt x="101" y="607"/>
                  </a:lnTo>
                  <a:lnTo>
                    <a:pt x="90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9" y="555"/>
                  </a:lnTo>
                  <a:lnTo>
                    <a:pt x="50" y="541"/>
                  </a:lnTo>
                  <a:lnTo>
                    <a:pt x="42" y="526"/>
                  </a:lnTo>
                  <a:lnTo>
                    <a:pt x="34" y="510"/>
                  </a:lnTo>
                  <a:lnTo>
                    <a:pt x="27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1" y="445"/>
                  </a:lnTo>
                  <a:lnTo>
                    <a:pt x="7" y="427"/>
                  </a:lnTo>
                  <a:lnTo>
                    <a:pt x="4" y="409"/>
                  </a:lnTo>
                  <a:lnTo>
                    <a:pt x="2" y="392"/>
                  </a:lnTo>
                  <a:lnTo>
                    <a:pt x="0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 noEditPoints="1"/>
            </p:cNvSpPr>
            <p:nvPr userDrawn="1"/>
          </p:nvSpPr>
          <p:spPr bwMode="auto">
            <a:xfrm>
              <a:off x="1411" y="3424"/>
              <a:ext cx="227" cy="236"/>
            </a:xfrm>
            <a:custGeom>
              <a:avLst/>
              <a:gdLst>
                <a:gd name="T0" fmla="*/ 513 w 681"/>
                <a:gd name="T1" fmla="*/ 279 h 709"/>
                <a:gd name="T2" fmla="*/ 500 w 681"/>
                <a:gd name="T3" fmla="*/ 232 h 709"/>
                <a:gd name="T4" fmla="*/ 475 w 681"/>
                <a:gd name="T5" fmla="*/ 194 h 709"/>
                <a:gd name="T6" fmla="*/ 443 w 681"/>
                <a:gd name="T7" fmla="*/ 165 h 709"/>
                <a:gd name="T8" fmla="*/ 403 w 681"/>
                <a:gd name="T9" fmla="*/ 148 h 709"/>
                <a:gd name="T10" fmla="*/ 357 w 681"/>
                <a:gd name="T11" fmla="*/ 139 h 709"/>
                <a:gd name="T12" fmla="*/ 325 w 681"/>
                <a:gd name="T13" fmla="*/ 140 h 709"/>
                <a:gd name="T14" fmla="*/ 282 w 681"/>
                <a:gd name="T15" fmla="*/ 148 h 709"/>
                <a:gd name="T16" fmla="*/ 242 w 681"/>
                <a:gd name="T17" fmla="*/ 167 h 709"/>
                <a:gd name="T18" fmla="*/ 207 w 681"/>
                <a:gd name="T19" fmla="*/ 196 h 709"/>
                <a:gd name="T20" fmla="*/ 180 w 681"/>
                <a:gd name="T21" fmla="*/ 234 h 709"/>
                <a:gd name="T22" fmla="*/ 160 w 681"/>
                <a:gd name="T23" fmla="*/ 279 h 709"/>
                <a:gd name="T24" fmla="*/ 0 w 681"/>
                <a:gd name="T25" fmla="*/ 336 h 709"/>
                <a:gd name="T26" fmla="*/ 7 w 681"/>
                <a:gd name="T27" fmla="*/ 282 h 709"/>
                <a:gd name="T28" fmla="*/ 21 w 681"/>
                <a:gd name="T29" fmla="*/ 230 h 709"/>
                <a:gd name="T30" fmla="*/ 41 w 681"/>
                <a:gd name="T31" fmla="*/ 183 h 709"/>
                <a:gd name="T32" fmla="*/ 68 w 681"/>
                <a:gd name="T33" fmla="*/ 140 h 709"/>
                <a:gd name="T34" fmla="*/ 101 w 681"/>
                <a:gd name="T35" fmla="*/ 102 h 709"/>
                <a:gd name="T36" fmla="*/ 139 w 681"/>
                <a:gd name="T37" fmla="*/ 69 h 709"/>
                <a:gd name="T38" fmla="*/ 181 w 681"/>
                <a:gd name="T39" fmla="*/ 41 h 709"/>
                <a:gd name="T40" fmla="*/ 228 w 681"/>
                <a:gd name="T41" fmla="*/ 21 h 709"/>
                <a:gd name="T42" fmla="*/ 278 w 681"/>
                <a:gd name="T43" fmla="*/ 7 h 709"/>
                <a:gd name="T44" fmla="*/ 333 w 681"/>
                <a:gd name="T45" fmla="*/ 0 h 709"/>
                <a:gd name="T46" fmla="*/ 369 w 681"/>
                <a:gd name="T47" fmla="*/ 0 h 709"/>
                <a:gd name="T48" fmla="*/ 420 w 681"/>
                <a:gd name="T49" fmla="*/ 6 h 709"/>
                <a:gd name="T50" fmla="*/ 467 w 681"/>
                <a:gd name="T51" fmla="*/ 18 h 709"/>
                <a:gd name="T52" fmla="*/ 511 w 681"/>
                <a:gd name="T53" fmla="*/ 38 h 709"/>
                <a:gd name="T54" fmla="*/ 550 w 681"/>
                <a:gd name="T55" fmla="*/ 63 h 709"/>
                <a:gd name="T56" fmla="*/ 584 w 681"/>
                <a:gd name="T57" fmla="*/ 95 h 709"/>
                <a:gd name="T58" fmla="*/ 614 w 681"/>
                <a:gd name="T59" fmla="*/ 132 h 709"/>
                <a:gd name="T60" fmla="*/ 638 w 681"/>
                <a:gd name="T61" fmla="*/ 174 h 709"/>
                <a:gd name="T62" fmla="*/ 658 w 681"/>
                <a:gd name="T63" fmla="*/ 222 h 709"/>
                <a:gd name="T64" fmla="*/ 671 w 681"/>
                <a:gd name="T65" fmla="*/ 276 h 709"/>
                <a:gd name="T66" fmla="*/ 679 w 681"/>
                <a:gd name="T67" fmla="*/ 335 h 709"/>
                <a:gd name="T68" fmla="*/ 157 w 681"/>
                <a:gd name="T69" fmla="*/ 395 h 709"/>
                <a:gd name="T70" fmla="*/ 165 w 681"/>
                <a:gd name="T71" fmla="*/ 431 h 709"/>
                <a:gd name="T72" fmla="*/ 188 w 681"/>
                <a:gd name="T73" fmla="*/ 477 h 709"/>
                <a:gd name="T74" fmla="*/ 222 w 681"/>
                <a:gd name="T75" fmla="*/ 515 h 709"/>
                <a:gd name="T76" fmla="*/ 266 w 681"/>
                <a:gd name="T77" fmla="*/ 541 h 709"/>
                <a:gd name="T78" fmla="*/ 317 w 681"/>
                <a:gd name="T79" fmla="*/ 556 h 709"/>
                <a:gd name="T80" fmla="*/ 354 w 681"/>
                <a:gd name="T81" fmla="*/ 559 h 709"/>
                <a:gd name="T82" fmla="*/ 399 w 681"/>
                <a:gd name="T83" fmla="*/ 556 h 709"/>
                <a:gd name="T84" fmla="*/ 438 w 681"/>
                <a:gd name="T85" fmla="*/ 546 h 709"/>
                <a:gd name="T86" fmla="*/ 482 w 681"/>
                <a:gd name="T87" fmla="*/ 524 h 709"/>
                <a:gd name="T88" fmla="*/ 533 w 681"/>
                <a:gd name="T89" fmla="*/ 481 h 709"/>
                <a:gd name="T90" fmla="*/ 623 w 681"/>
                <a:gd name="T91" fmla="*/ 602 h 709"/>
                <a:gd name="T92" fmla="*/ 583 w 681"/>
                <a:gd name="T93" fmla="*/ 637 h 709"/>
                <a:gd name="T94" fmla="*/ 535 w 681"/>
                <a:gd name="T95" fmla="*/ 667 h 709"/>
                <a:gd name="T96" fmla="*/ 481 w 681"/>
                <a:gd name="T97" fmla="*/ 690 h 709"/>
                <a:gd name="T98" fmla="*/ 420 w 681"/>
                <a:gd name="T99" fmla="*/ 704 h 709"/>
                <a:gd name="T100" fmla="*/ 354 w 681"/>
                <a:gd name="T101" fmla="*/ 709 h 709"/>
                <a:gd name="T102" fmla="*/ 317 w 681"/>
                <a:gd name="T103" fmla="*/ 707 h 709"/>
                <a:gd name="T104" fmla="*/ 264 w 681"/>
                <a:gd name="T105" fmla="*/ 698 h 709"/>
                <a:gd name="T106" fmla="*/ 213 w 681"/>
                <a:gd name="T107" fmla="*/ 682 h 709"/>
                <a:gd name="T108" fmla="*/ 167 w 681"/>
                <a:gd name="T109" fmla="*/ 659 h 709"/>
                <a:gd name="T110" fmla="*/ 126 w 681"/>
                <a:gd name="T111" fmla="*/ 629 h 709"/>
                <a:gd name="T112" fmla="*/ 89 w 681"/>
                <a:gd name="T113" fmla="*/ 595 h 709"/>
                <a:gd name="T114" fmla="*/ 58 w 681"/>
                <a:gd name="T115" fmla="*/ 555 h 709"/>
                <a:gd name="T116" fmla="*/ 33 w 681"/>
                <a:gd name="T117" fmla="*/ 510 h 709"/>
                <a:gd name="T118" fmla="*/ 15 w 681"/>
                <a:gd name="T119" fmla="*/ 462 h 709"/>
                <a:gd name="T120" fmla="*/ 3 w 681"/>
                <a:gd name="T121" fmla="*/ 409 h 709"/>
                <a:gd name="T122" fmla="*/ 0 w 681"/>
                <a:gd name="T123" fmla="*/ 35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81" h="709">
                  <a:moveTo>
                    <a:pt x="160" y="279"/>
                  </a:moveTo>
                  <a:lnTo>
                    <a:pt x="513" y="279"/>
                  </a:lnTo>
                  <a:lnTo>
                    <a:pt x="513" y="279"/>
                  </a:lnTo>
                  <a:lnTo>
                    <a:pt x="510" y="262"/>
                  </a:lnTo>
                  <a:lnTo>
                    <a:pt x="505" y="246"/>
                  </a:lnTo>
                  <a:lnTo>
                    <a:pt x="500" y="232"/>
                  </a:lnTo>
                  <a:lnTo>
                    <a:pt x="491" y="218"/>
                  </a:lnTo>
                  <a:lnTo>
                    <a:pt x="483" y="205"/>
                  </a:lnTo>
                  <a:lnTo>
                    <a:pt x="475" y="194"/>
                  </a:lnTo>
                  <a:lnTo>
                    <a:pt x="465" y="183"/>
                  </a:lnTo>
                  <a:lnTo>
                    <a:pt x="455" y="174"/>
                  </a:lnTo>
                  <a:lnTo>
                    <a:pt x="443" y="165"/>
                  </a:lnTo>
                  <a:lnTo>
                    <a:pt x="431" y="158"/>
                  </a:lnTo>
                  <a:lnTo>
                    <a:pt x="417" y="152"/>
                  </a:lnTo>
                  <a:lnTo>
                    <a:pt x="403" y="148"/>
                  </a:lnTo>
                  <a:lnTo>
                    <a:pt x="388" y="143"/>
                  </a:lnTo>
                  <a:lnTo>
                    <a:pt x="373" y="141"/>
                  </a:lnTo>
                  <a:lnTo>
                    <a:pt x="357" y="139"/>
                  </a:lnTo>
                  <a:lnTo>
                    <a:pt x="340" y="139"/>
                  </a:lnTo>
                  <a:lnTo>
                    <a:pt x="340" y="139"/>
                  </a:lnTo>
                  <a:lnTo>
                    <a:pt x="325" y="140"/>
                  </a:lnTo>
                  <a:lnTo>
                    <a:pt x="310" y="141"/>
                  </a:lnTo>
                  <a:lnTo>
                    <a:pt x="296" y="144"/>
                  </a:lnTo>
                  <a:lnTo>
                    <a:pt x="282" y="148"/>
                  </a:lnTo>
                  <a:lnTo>
                    <a:pt x="268" y="154"/>
                  </a:lnTo>
                  <a:lnTo>
                    <a:pt x="254" y="160"/>
                  </a:lnTo>
                  <a:lnTo>
                    <a:pt x="242" y="167"/>
                  </a:lnTo>
                  <a:lnTo>
                    <a:pt x="229" y="177"/>
                  </a:lnTo>
                  <a:lnTo>
                    <a:pt x="218" y="186"/>
                  </a:lnTo>
                  <a:lnTo>
                    <a:pt x="207" y="196"/>
                  </a:lnTo>
                  <a:lnTo>
                    <a:pt x="197" y="207"/>
                  </a:lnTo>
                  <a:lnTo>
                    <a:pt x="188" y="220"/>
                  </a:lnTo>
                  <a:lnTo>
                    <a:pt x="180" y="234"/>
                  </a:lnTo>
                  <a:lnTo>
                    <a:pt x="172" y="248"/>
                  </a:lnTo>
                  <a:lnTo>
                    <a:pt x="166" y="264"/>
                  </a:lnTo>
                  <a:lnTo>
                    <a:pt x="160" y="279"/>
                  </a:lnTo>
                  <a:close/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1" y="317"/>
                  </a:lnTo>
                  <a:lnTo>
                    <a:pt x="3" y="299"/>
                  </a:lnTo>
                  <a:lnTo>
                    <a:pt x="7" y="282"/>
                  </a:lnTo>
                  <a:lnTo>
                    <a:pt x="10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6" y="214"/>
                  </a:lnTo>
                  <a:lnTo>
                    <a:pt x="33" y="198"/>
                  </a:lnTo>
                  <a:lnTo>
                    <a:pt x="41" y="183"/>
                  </a:lnTo>
                  <a:lnTo>
                    <a:pt x="49" y="169"/>
                  </a:lnTo>
                  <a:lnTo>
                    <a:pt x="58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89" y="115"/>
                  </a:lnTo>
                  <a:lnTo>
                    <a:pt x="101" y="102"/>
                  </a:lnTo>
                  <a:lnTo>
                    <a:pt x="112" y="91"/>
                  </a:lnTo>
                  <a:lnTo>
                    <a:pt x="125" y="79"/>
                  </a:lnTo>
                  <a:lnTo>
                    <a:pt x="139" y="69"/>
                  </a:lnTo>
                  <a:lnTo>
                    <a:pt x="152" y="60"/>
                  </a:lnTo>
                  <a:lnTo>
                    <a:pt x="166" y="50"/>
                  </a:lnTo>
                  <a:lnTo>
                    <a:pt x="181" y="41"/>
                  </a:lnTo>
                  <a:lnTo>
                    <a:pt x="196" y="34"/>
                  </a:lnTo>
                  <a:lnTo>
                    <a:pt x="212" y="28"/>
                  </a:lnTo>
                  <a:lnTo>
                    <a:pt x="228" y="21"/>
                  </a:lnTo>
                  <a:lnTo>
                    <a:pt x="245" y="15"/>
                  </a:lnTo>
                  <a:lnTo>
                    <a:pt x="261" y="10"/>
                  </a:lnTo>
                  <a:lnTo>
                    <a:pt x="278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69" y="0"/>
                  </a:lnTo>
                  <a:lnTo>
                    <a:pt x="387" y="1"/>
                  </a:lnTo>
                  <a:lnTo>
                    <a:pt x="403" y="3"/>
                  </a:lnTo>
                  <a:lnTo>
                    <a:pt x="420" y="6"/>
                  </a:lnTo>
                  <a:lnTo>
                    <a:pt x="437" y="9"/>
                  </a:lnTo>
                  <a:lnTo>
                    <a:pt x="453" y="14"/>
                  </a:lnTo>
                  <a:lnTo>
                    <a:pt x="467" y="18"/>
                  </a:lnTo>
                  <a:lnTo>
                    <a:pt x="482" y="24"/>
                  </a:lnTo>
                  <a:lnTo>
                    <a:pt x="496" y="31"/>
                  </a:lnTo>
                  <a:lnTo>
                    <a:pt x="511" y="38"/>
                  </a:lnTo>
                  <a:lnTo>
                    <a:pt x="524" y="46"/>
                  </a:lnTo>
                  <a:lnTo>
                    <a:pt x="537" y="54"/>
                  </a:lnTo>
                  <a:lnTo>
                    <a:pt x="550" y="63"/>
                  </a:lnTo>
                  <a:lnTo>
                    <a:pt x="561" y="73"/>
                  </a:lnTo>
                  <a:lnTo>
                    <a:pt x="573" y="84"/>
                  </a:lnTo>
                  <a:lnTo>
                    <a:pt x="584" y="95"/>
                  </a:lnTo>
                  <a:lnTo>
                    <a:pt x="595" y="107"/>
                  </a:lnTo>
                  <a:lnTo>
                    <a:pt x="604" y="119"/>
                  </a:lnTo>
                  <a:lnTo>
                    <a:pt x="614" y="132"/>
                  </a:lnTo>
                  <a:lnTo>
                    <a:pt x="622" y="146"/>
                  </a:lnTo>
                  <a:lnTo>
                    <a:pt x="630" y="160"/>
                  </a:lnTo>
                  <a:lnTo>
                    <a:pt x="638" y="174"/>
                  </a:lnTo>
                  <a:lnTo>
                    <a:pt x="645" y="190"/>
                  </a:lnTo>
                  <a:lnTo>
                    <a:pt x="652" y="206"/>
                  </a:lnTo>
                  <a:lnTo>
                    <a:pt x="658" y="222"/>
                  </a:lnTo>
                  <a:lnTo>
                    <a:pt x="662" y="240"/>
                  </a:lnTo>
                  <a:lnTo>
                    <a:pt x="667" y="258"/>
                  </a:lnTo>
                  <a:lnTo>
                    <a:pt x="671" y="276"/>
                  </a:lnTo>
                  <a:lnTo>
                    <a:pt x="675" y="295"/>
                  </a:lnTo>
                  <a:lnTo>
                    <a:pt x="677" y="314"/>
                  </a:lnTo>
                  <a:lnTo>
                    <a:pt x="679" y="335"/>
                  </a:lnTo>
                  <a:lnTo>
                    <a:pt x="681" y="354"/>
                  </a:lnTo>
                  <a:lnTo>
                    <a:pt x="681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60" y="414"/>
                  </a:lnTo>
                  <a:lnTo>
                    <a:pt x="165" y="431"/>
                  </a:lnTo>
                  <a:lnTo>
                    <a:pt x="172" y="447"/>
                  </a:lnTo>
                  <a:lnTo>
                    <a:pt x="180" y="463"/>
                  </a:lnTo>
                  <a:lnTo>
                    <a:pt x="188" y="477"/>
                  </a:lnTo>
                  <a:lnTo>
                    <a:pt x="198" y="491"/>
                  </a:lnTo>
                  <a:lnTo>
                    <a:pt x="210" y="503"/>
                  </a:lnTo>
                  <a:lnTo>
                    <a:pt x="222" y="515"/>
                  </a:lnTo>
                  <a:lnTo>
                    <a:pt x="236" y="524"/>
                  </a:lnTo>
                  <a:lnTo>
                    <a:pt x="251" y="533"/>
                  </a:lnTo>
                  <a:lnTo>
                    <a:pt x="266" y="541"/>
                  </a:lnTo>
                  <a:lnTo>
                    <a:pt x="282" y="548"/>
                  </a:lnTo>
                  <a:lnTo>
                    <a:pt x="299" y="552"/>
                  </a:lnTo>
                  <a:lnTo>
                    <a:pt x="317" y="556"/>
                  </a:lnTo>
                  <a:lnTo>
                    <a:pt x="336" y="558"/>
                  </a:lnTo>
                  <a:lnTo>
                    <a:pt x="354" y="559"/>
                  </a:lnTo>
                  <a:lnTo>
                    <a:pt x="354" y="559"/>
                  </a:lnTo>
                  <a:lnTo>
                    <a:pt x="370" y="559"/>
                  </a:lnTo>
                  <a:lnTo>
                    <a:pt x="384" y="558"/>
                  </a:lnTo>
                  <a:lnTo>
                    <a:pt x="399" y="556"/>
                  </a:lnTo>
                  <a:lnTo>
                    <a:pt x="412" y="552"/>
                  </a:lnTo>
                  <a:lnTo>
                    <a:pt x="425" y="549"/>
                  </a:lnTo>
                  <a:lnTo>
                    <a:pt x="438" y="546"/>
                  </a:lnTo>
                  <a:lnTo>
                    <a:pt x="450" y="540"/>
                  </a:lnTo>
                  <a:lnTo>
                    <a:pt x="462" y="535"/>
                  </a:lnTo>
                  <a:lnTo>
                    <a:pt x="482" y="524"/>
                  </a:lnTo>
                  <a:lnTo>
                    <a:pt x="502" y="510"/>
                  </a:lnTo>
                  <a:lnTo>
                    <a:pt x="519" y="496"/>
                  </a:lnTo>
                  <a:lnTo>
                    <a:pt x="533" y="481"/>
                  </a:lnTo>
                  <a:lnTo>
                    <a:pt x="635" y="589"/>
                  </a:lnTo>
                  <a:lnTo>
                    <a:pt x="635" y="589"/>
                  </a:lnTo>
                  <a:lnTo>
                    <a:pt x="623" y="602"/>
                  </a:lnTo>
                  <a:lnTo>
                    <a:pt x="611" y="614"/>
                  </a:lnTo>
                  <a:lnTo>
                    <a:pt x="597" y="626"/>
                  </a:lnTo>
                  <a:lnTo>
                    <a:pt x="583" y="637"/>
                  </a:lnTo>
                  <a:lnTo>
                    <a:pt x="568" y="647"/>
                  </a:lnTo>
                  <a:lnTo>
                    <a:pt x="552" y="658"/>
                  </a:lnTo>
                  <a:lnTo>
                    <a:pt x="535" y="667"/>
                  </a:lnTo>
                  <a:lnTo>
                    <a:pt x="518" y="675"/>
                  </a:lnTo>
                  <a:lnTo>
                    <a:pt x="500" y="683"/>
                  </a:lnTo>
                  <a:lnTo>
                    <a:pt x="481" y="690"/>
                  </a:lnTo>
                  <a:lnTo>
                    <a:pt x="461" y="696"/>
                  </a:lnTo>
                  <a:lnTo>
                    <a:pt x="441" y="700"/>
                  </a:lnTo>
                  <a:lnTo>
                    <a:pt x="420" y="704"/>
                  </a:lnTo>
                  <a:lnTo>
                    <a:pt x="399" y="707"/>
                  </a:lnTo>
                  <a:lnTo>
                    <a:pt x="377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7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6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2" y="667"/>
                  </a:lnTo>
                  <a:lnTo>
                    <a:pt x="167" y="659"/>
                  </a:lnTo>
                  <a:lnTo>
                    <a:pt x="152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3" y="619"/>
                  </a:lnTo>
                  <a:lnTo>
                    <a:pt x="101" y="607"/>
                  </a:lnTo>
                  <a:lnTo>
                    <a:pt x="89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8" y="555"/>
                  </a:lnTo>
                  <a:lnTo>
                    <a:pt x="49" y="541"/>
                  </a:lnTo>
                  <a:lnTo>
                    <a:pt x="41" y="526"/>
                  </a:lnTo>
                  <a:lnTo>
                    <a:pt x="33" y="510"/>
                  </a:lnTo>
                  <a:lnTo>
                    <a:pt x="26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0" y="445"/>
                  </a:lnTo>
                  <a:lnTo>
                    <a:pt x="7" y="427"/>
                  </a:lnTo>
                  <a:lnTo>
                    <a:pt x="3" y="409"/>
                  </a:lnTo>
                  <a:lnTo>
                    <a:pt x="1" y="392"/>
                  </a:lnTo>
                  <a:lnTo>
                    <a:pt x="0" y="374"/>
                  </a:lnTo>
                  <a:lnTo>
                    <a:pt x="0" y="354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 userDrawn="1"/>
          </p:nvSpPr>
          <p:spPr bwMode="auto">
            <a:xfrm>
              <a:off x="1464" y="3470"/>
              <a:ext cx="118" cy="47"/>
            </a:xfrm>
            <a:custGeom>
              <a:avLst/>
              <a:gdLst>
                <a:gd name="T0" fmla="*/ 0 w 353"/>
                <a:gd name="T1" fmla="*/ 140 h 140"/>
                <a:gd name="T2" fmla="*/ 353 w 353"/>
                <a:gd name="T3" fmla="*/ 140 h 140"/>
                <a:gd name="T4" fmla="*/ 353 w 353"/>
                <a:gd name="T5" fmla="*/ 140 h 140"/>
                <a:gd name="T6" fmla="*/ 350 w 353"/>
                <a:gd name="T7" fmla="*/ 123 h 140"/>
                <a:gd name="T8" fmla="*/ 345 w 353"/>
                <a:gd name="T9" fmla="*/ 107 h 140"/>
                <a:gd name="T10" fmla="*/ 340 w 353"/>
                <a:gd name="T11" fmla="*/ 93 h 140"/>
                <a:gd name="T12" fmla="*/ 331 w 353"/>
                <a:gd name="T13" fmla="*/ 79 h 140"/>
                <a:gd name="T14" fmla="*/ 323 w 353"/>
                <a:gd name="T15" fmla="*/ 66 h 140"/>
                <a:gd name="T16" fmla="*/ 315 w 353"/>
                <a:gd name="T17" fmla="*/ 55 h 140"/>
                <a:gd name="T18" fmla="*/ 305 w 353"/>
                <a:gd name="T19" fmla="*/ 44 h 140"/>
                <a:gd name="T20" fmla="*/ 295 w 353"/>
                <a:gd name="T21" fmla="*/ 35 h 140"/>
                <a:gd name="T22" fmla="*/ 283 w 353"/>
                <a:gd name="T23" fmla="*/ 26 h 140"/>
                <a:gd name="T24" fmla="*/ 271 w 353"/>
                <a:gd name="T25" fmla="*/ 19 h 140"/>
                <a:gd name="T26" fmla="*/ 257 w 353"/>
                <a:gd name="T27" fmla="*/ 13 h 140"/>
                <a:gd name="T28" fmla="*/ 243 w 353"/>
                <a:gd name="T29" fmla="*/ 9 h 140"/>
                <a:gd name="T30" fmla="*/ 228 w 353"/>
                <a:gd name="T31" fmla="*/ 4 h 140"/>
                <a:gd name="T32" fmla="*/ 213 w 353"/>
                <a:gd name="T33" fmla="*/ 2 h 140"/>
                <a:gd name="T34" fmla="*/ 197 w 353"/>
                <a:gd name="T35" fmla="*/ 0 h 140"/>
                <a:gd name="T36" fmla="*/ 180 w 353"/>
                <a:gd name="T37" fmla="*/ 0 h 140"/>
                <a:gd name="T38" fmla="*/ 180 w 353"/>
                <a:gd name="T39" fmla="*/ 0 h 140"/>
                <a:gd name="T40" fmla="*/ 165 w 353"/>
                <a:gd name="T41" fmla="*/ 1 h 140"/>
                <a:gd name="T42" fmla="*/ 150 w 353"/>
                <a:gd name="T43" fmla="*/ 2 h 140"/>
                <a:gd name="T44" fmla="*/ 136 w 353"/>
                <a:gd name="T45" fmla="*/ 5 h 140"/>
                <a:gd name="T46" fmla="*/ 122 w 353"/>
                <a:gd name="T47" fmla="*/ 9 h 140"/>
                <a:gd name="T48" fmla="*/ 108 w 353"/>
                <a:gd name="T49" fmla="*/ 15 h 140"/>
                <a:gd name="T50" fmla="*/ 94 w 353"/>
                <a:gd name="T51" fmla="*/ 21 h 140"/>
                <a:gd name="T52" fmla="*/ 82 w 353"/>
                <a:gd name="T53" fmla="*/ 28 h 140"/>
                <a:gd name="T54" fmla="*/ 69 w 353"/>
                <a:gd name="T55" fmla="*/ 38 h 140"/>
                <a:gd name="T56" fmla="*/ 58 w 353"/>
                <a:gd name="T57" fmla="*/ 47 h 140"/>
                <a:gd name="T58" fmla="*/ 47 w 353"/>
                <a:gd name="T59" fmla="*/ 57 h 140"/>
                <a:gd name="T60" fmla="*/ 37 w 353"/>
                <a:gd name="T61" fmla="*/ 68 h 140"/>
                <a:gd name="T62" fmla="*/ 28 w 353"/>
                <a:gd name="T63" fmla="*/ 81 h 140"/>
                <a:gd name="T64" fmla="*/ 20 w 353"/>
                <a:gd name="T65" fmla="*/ 95 h 140"/>
                <a:gd name="T66" fmla="*/ 12 w 353"/>
                <a:gd name="T67" fmla="*/ 109 h 140"/>
                <a:gd name="T68" fmla="*/ 6 w 353"/>
                <a:gd name="T69" fmla="*/ 125 h 140"/>
                <a:gd name="T70" fmla="*/ 0 w 353"/>
                <a:gd name="T71" fmla="*/ 1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53" h="140">
                  <a:moveTo>
                    <a:pt x="0" y="140"/>
                  </a:moveTo>
                  <a:lnTo>
                    <a:pt x="353" y="140"/>
                  </a:lnTo>
                  <a:lnTo>
                    <a:pt x="353" y="140"/>
                  </a:lnTo>
                  <a:lnTo>
                    <a:pt x="350" y="123"/>
                  </a:lnTo>
                  <a:lnTo>
                    <a:pt x="345" y="107"/>
                  </a:lnTo>
                  <a:lnTo>
                    <a:pt x="340" y="93"/>
                  </a:lnTo>
                  <a:lnTo>
                    <a:pt x="331" y="79"/>
                  </a:lnTo>
                  <a:lnTo>
                    <a:pt x="323" y="66"/>
                  </a:lnTo>
                  <a:lnTo>
                    <a:pt x="315" y="55"/>
                  </a:lnTo>
                  <a:lnTo>
                    <a:pt x="305" y="44"/>
                  </a:lnTo>
                  <a:lnTo>
                    <a:pt x="295" y="35"/>
                  </a:lnTo>
                  <a:lnTo>
                    <a:pt x="283" y="26"/>
                  </a:lnTo>
                  <a:lnTo>
                    <a:pt x="271" y="19"/>
                  </a:lnTo>
                  <a:lnTo>
                    <a:pt x="257" y="13"/>
                  </a:lnTo>
                  <a:lnTo>
                    <a:pt x="243" y="9"/>
                  </a:lnTo>
                  <a:lnTo>
                    <a:pt x="228" y="4"/>
                  </a:lnTo>
                  <a:lnTo>
                    <a:pt x="213" y="2"/>
                  </a:lnTo>
                  <a:lnTo>
                    <a:pt x="197" y="0"/>
                  </a:lnTo>
                  <a:lnTo>
                    <a:pt x="180" y="0"/>
                  </a:lnTo>
                  <a:lnTo>
                    <a:pt x="180" y="0"/>
                  </a:lnTo>
                  <a:lnTo>
                    <a:pt x="165" y="1"/>
                  </a:lnTo>
                  <a:lnTo>
                    <a:pt x="150" y="2"/>
                  </a:lnTo>
                  <a:lnTo>
                    <a:pt x="136" y="5"/>
                  </a:lnTo>
                  <a:lnTo>
                    <a:pt x="122" y="9"/>
                  </a:lnTo>
                  <a:lnTo>
                    <a:pt x="108" y="15"/>
                  </a:lnTo>
                  <a:lnTo>
                    <a:pt x="94" y="21"/>
                  </a:lnTo>
                  <a:lnTo>
                    <a:pt x="82" y="28"/>
                  </a:lnTo>
                  <a:lnTo>
                    <a:pt x="69" y="38"/>
                  </a:lnTo>
                  <a:lnTo>
                    <a:pt x="58" y="47"/>
                  </a:lnTo>
                  <a:lnTo>
                    <a:pt x="47" y="57"/>
                  </a:lnTo>
                  <a:lnTo>
                    <a:pt x="37" y="68"/>
                  </a:lnTo>
                  <a:lnTo>
                    <a:pt x="28" y="81"/>
                  </a:lnTo>
                  <a:lnTo>
                    <a:pt x="20" y="95"/>
                  </a:lnTo>
                  <a:lnTo>
                    <a:pt x="12" y="109"/>
                  </a:lnTo>
                  <a:lnTo>
                    <a:pt x="6" y="125"/>
                  </a:lnTo>
                  <a:lnTo>
                    <a:pt x="0" y="14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auto">
            <a:xfrm>
              <a:off x="1411" y="3424"/>
              <a:ext cx="227" cy="236"/>
            </a:xfrm>
            <a:custGeom>
              <a:avLst/>
              <a:gdLst>
                <a:gd name="T0" fmla="*/ 0 w 681"/>
                <a:gd name="T1" fmla="*/ 336 h 709"/>
                <a:gd name="T2" fmla="*/ 7 w 681"/>
                <a:gd name="T3" fmla="*/ 282 h 709"/>
                <a:gd name="T4" fmla="*/ 21 w 681"/>
                <a:gd name="T5" fmla="*/ 230 h 709"/>
                <a:gd name="T6" fmla="*/ 41 w 681"/>
                <a:gd name="T7" fmla="*/ 183 h 709"/>
                <a:gd name="T8" fmla="*/ 68 w 681"/>
                <a:gd name="T9" fmla="*/ 140 h 709"/>
                <a:gd name="T10" fmla="*/ 101 w 681"/>
                <a:gd name="T11" fmla="*/ 102 h 709"/>
                <a:gd name="T12" fmla="*/ 139 w 681"/>
                <a:gd name="T13" fmla="*/ 69 h 709"/>
                <a:gd name="T14" fmla="*/ 181 w 681"/>
                <a:gd name="T15" fmla="*/ 41 h 709"/>
                <a:gd name="T16" fmla="*/ 228 w 681"/>
                <a:gd name="T17" fmla="*/ 21 h 709"/>
                <a:gd name="T18" fmla="*/ 278 w 681"/>
                <a:gd name="T19" fmla="*/ 7 h 709"/>
                <a:gd name="T20" fmla="*/ 333 w 681"/>
                <a:gd name="T21" fmla="*/ 0 h 709"/>
                <a:gd name="T22" fmla="*/ 369 w 681"/>
                <a:gd name="T23" fmla="*/ 0 h 709"/>
                <a:gd name="T24" fmla="*/ 420 w 681"/>
                <a:gd name="T25" fmla="*/ 6 h 709"/>
                <a:gd name="T26" fmla="*/ 467 w 681"/>
                <a:gd name="T27" fmla="*/ 18 h 709"/>
                <a:gd name="T28" fmla="*/ 511 w 681"/>
                <a:gd name="T29" fmla="*/ 38 h 709"/>
                <a:gd name="T30" fmla="*/ 550 w 681"/>
                <a:gd name="T31" fmla="*/ 63 h 709"/>
                <a:gd name="T32" fmla="*/ 584 w 681"/>
                <a:gd name="T33" fmla="*/ 95 h 709"/>
                <a:gd name="T34" fmla="*/ 614 w 681"/>
                <a:gd name="T35" fmla="*/ 132 h 709"/>
                <a:gd name="T36" fmla="*/ 638 w 681"/>
                <a:gd name="T37" fmla="*/ 174 h 709"/>
                <a:gd name="T38" fmla="*/ 658 w 681"/>
                <a:gd name="T39" fmla="*/ 222 h 709"/>
                <a:gd name="T40" fmla="*/ 671 w 681"/>
                <a:gd name="T41" fmla="*/ 276 h 709"/>
                <a:gd name="T42" fmla="*/ 679 w 681"/>
                <a:gd name="T43" fmla="*/ 335 h 709"/>
                <a:gd name="T44" fmla="*/ 157 w 681"/>
                <a:gd name="T45" fmla="*/ 395 h 709"/>
                <a:gd name="T46" fmla="*/ 165 w 681"/>
                <a:gd name="T47" fmla="*/ 431 h 709"/>
                <a:gd name="T48" fmla="*/ 188 w 681"/>
                <a:gd name="T49" fmla="*/ 477 h 709"/>
                <a:gd name="T50" fmla="*/ 222 w 681"/>
                <a:gd name="T51" fmla="*/ 515 h 709"/>
                <a:gd name="T52" fmla="*/ 266 w 681"/>
                <a:gd name="T53" fmla="*/ 541 h 709"/>
                <a:gd name="T54" fmla="*/ 317 w 681"/>
                <a:gd name="T55" fmla="*/ 556 h 709"/>
                <a:gd name="T56" fmla="*/ 354 w 681"/>
                <a:gd name="T57" fmla="*/ 559 h 709"/>
                <a:gd name="T58" fmla="*/ 399 w 681"/>
                <a:gd name="T59" fmla="*/ 556 h 709"/>
                <a:gd name="T60" fmla="*/ 438 w 681"/>
                <a:gd name="T61" fmla="*/ 546 h 709"/>
                <a:gd name="T62" fmla="*/ 482 w 681"/>
                <a:gd name="T63" fmla="*/ 524 h 709"/>
                <a:gd name="T64" fmla="*/ 533 w 681"/>
                <a:gd name="T65" fmla="*/ 481 h 709"/>
                <a:gd name="T66" fmla="*/ 623 w 681"/>
                <a:gd name="T67" fmla="*/ 602 h 709"/>
                <a:gd name="T68" fmla="*/ 583 w 681"/>
                <a:gd name="T69" fmla="*/ 637 h 709"/>
                <a:gd name="T70" fmla="*/ 535 w 681"/>
                <a:gd name="T71" fmla="*/ 667 h 709"/>
                <a:gd name="T72" fmla="*/ 481 w 681"/>
                <a:gd name="T73" fmla="*/ 690 h 709"/>
                <a:gd name="T74" fmla="*/ 420 w 681"/>
                <a:gd name="T75" fmla="*/ 704 h 709"/>
                <a:gd name="T76" fmla="*/ 354 w 681"/>
                <a:gd name="T77" fmla="*/ 709 h 709"/>
                <a:gd name="T78" fmla="*/ 317 w 681"/>
                <a:gd name="T79" fmla="*/ 707 h 709"/>
                <a:gd name="T80" fmla="*/ 264 w 681"/>
                <a:gd name="T81" fmla="*/ 698 h 709"/>
                <a:gd name="T82" fmla="*/ 213 w 681"/>
                <a:gd name="T83" fmla="*/ 682 h 709"/>
                <a:gd name="T84" fmla="*/ 167 w 681"/>
                <a:gd name="T85" fmla="*/ 659 h 709"/>
                <a:gd name="T86" fmla="*/ 126 w 681"/>
                <a:gd name="T87" fmla="*/ 629 h 709"/>
                <a:gd name="T88" fmla="*/ 89 w 681"/>
                <a:gd name="T89" fmla="*/ 595 h 709"/>
                <a:gd name="T90" fmla="*/ 58 w 681"/>
                <a:gd name="T91" fmla="*/ 555 h 709"/>
                <a:gd name="T92" fmla="*/ 33 w 681"/>
                <a:gd name="T93" fmla="*/ 510 h 709"/>
                <a:gd name="T94" fmla="*/ 15 w 681"/>
                <a:gd name="T95" fmla="*/ 462 h 709"/>
                <a:gd name="T96" fmla="*/ 3 w 681"/>
                <a:gd name="T97" fmla="*/ 409 h 709"/>
                <a:gd name="T98" fmla="*/ 0 w 681"/>
                <a:gd name="T99" fmla="*/ 35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1" h="709">
                  <a:moveTo>
                    <a:pt x="0" y="354"/>
                  </a:moveTo>
                  <a:lnTo>
                    <a:pt x="0" y="354"/>
                  </a:lnTo>
                  <a:lnTo>
                    <a:pt x="0" y="336"/>
                  </a:lnTo>
                  <a:lnTo>
                    <a:pt x="1" y="317"/>
                  </a:lnTo>
                  <a:lnTo>
                    <a:pt x="3" y="299"/>
                  </a:lnTo>
                  <a:lnTo>
                    <a:pt x="7" y="282"/>
                  </a:lnTo>
                  <a:lnTo>
                    <a:pt x="10" y="265"/>
                  </a:lnTo>
                  <a:lnTo>
                    <a:pt x="15" y="248"/>
                  </a:lnTo>
                  <a:lnTo>
                    <a:pt x="21" y="230"/>
                  </a:lnTo>
                  <a:lnTo>
                    <a:pt x="26" y="214"/>
                  </a:lnTo>
                  <a:lnTo>
                    <a:pt x="33" y="198"/>
                  </a:lnTo>
                  <a:lnTo>
                    <a:pt x="41" y="183"/>
                  </a:lnTo>
                  <a:lnTo>
                    <a:pt x="49" y="169"/>
                  </a:lnTo>
                  <a:lnTo>
                    <a:pt x="58" y="154"/>
                  </a:lnTo>
                  <a:lnTo>
                    <a:pt x="68" y="140"/>
                  </a:lnTo>
                  <a:lnTo>
                    <a:pt x="78" y="127"/>
                  </a:lnTo>
                  <a:lnTo>
                    <a:pt x="89" y="115"/>
                  </a:lnTo>
                  <a:lnTo>
                    <a:pt x="101" y="102"/>
                  </a:lnTo>
                  <a:lnTo>
                    <a:pt x="112" y="91"/>
                  </a:lnTo>
                  <a:lnTo>
                    <a:pt x="125" y="79"/>
                  </a:lnTo>
                  <a:lnTo>
                    <a:pt x="139" y="69"/>
                  </a:lnTo>
                  <a:lnTo>
                    <a:pt x="152" y="60"/>
                  </a:lnTo>
                  <a:lnTo>
                    <a:pt x="166" y="50"/>
                  </a:lnTo>
                  <a:lnTo>
                    <a:pt x="181" y="41"/>
                  </a:lnTo>
                  <a:lnTo>
                    <a:pt x="196" y="34"/>
                  </a:lnTo>
                  <a:lnTo>
                    <a:pt x="212" y="28"/>
                  </a:lnTo>
                  <a:lnTo>
                    <a:pt x="228" y="21"/>
                  </a:lnTo>
                  <a:lnTo>
                    <a:pt x="245" y="15"/>
                  </a:lnTo>
                  <a:lnTo>
                    <a:pt x="261" y="10"/>
                  </a:lnTo>
                  <a:lnTo>
                    <a:pt x="278" y="7"/>
                  </a:lnTo>
                  <a:lnTo>
                    <a:pt x="297" y="3"/>
                  </a:lnTo>
                  <a:lnTo>
                    <a:pt x="315" y="1"/>
                  </a:lnTo>
                  <a:lnTo>
                    <a:pt x="333" y="0"/>
                  </a:lnTo>
                  <a:lnTo>
                    <a:pt x="352" y="0"/>
                  </a:lnTo>
                  <a:lnTo>
                    <a:pt x="352" y="0"/>
                  </a:lnTo>
                  <a:lnTo>
                    <a:pt x="369" y="0"/>
                  </a:lnTo>
                  <a:lnTo>
                    <a:pt x="387" y="1"/>
                  </a:lnTo>
                  <a:lnTo>
                    <a:pt x="403" y="3"/>
                  </a:lnTo>
                  <a:lnTo>
                    <a:pt x="420" y="6"/>
                  </a:lnTo>
                  <a:lnTo>
                    <a:pt x="437" y="9"/>
                  </a:lnTo>
                  <a:lnTo>
                    <a:pt x="453" y="14"/>
                  </a:lnTo>
                  <a:lnTo>
                    <a:pt x="467" y="18"/>
                  </a:lnTo>
                  <a:lnTo>
                    <a:pt x="482" y="24"/>
                  </a:lnTo>
                  <a:lnTo>
                    <a:pt x="496" y="31"/>
                  </a:lnTo>
                  <a:lnTo>
                    <a:pt x="511" y="38"/>
                  </a:lnTo>
                  <a:lnTo>
                    <a:pt x="524" y="46"/>
                  </a:lnTo>
                  <a:lnTo>
                    <a:pt x="537" y="54"/>
                  </a:lnTo>
                  <a:lnTo>
                    <a:pt x="550" y="63"/>
                  </a:lnTo>
                  <a:lnTo>
                    <a:pt x="561" y="73"/>
                  </a:lnTo>
                  <a:lnTo>
                    <a:pt x="573" y="84"/>
                  </a:lnTo>
                  <a:lnTo>
                    <a:pt x="584" y="95"/>
                  </a:lnTo>
                  <a:lnTo>
                    <a:pt x="595" y="107"/>
                  </a:lnTo>
                  <a:lnTo>
                    <a:pt x="604" y="119"/>
                  </a:lnTo>
                  <a:lnTo>
                    <a:pt x="614" y="132"/>
                  </a:lnTo>
                  <a:lnTo>
                    <a:pt x="622" y="146"/>
                  </a:lnTo>
                  <a:lnTo>
                    <a:pt x="630" y="160"/>
                  </a:lnTo>
                  <a:lnTo>
                    <a:pt x="638" y="174"/>
                  </a:lnTo>
                  <a:lnTo>
                    <a:pt x="645" y="190"/>
                  </a:lnTo>
                  <a:lnTo>
                    <a:pt x="652" y="206"/>
                  </a:lnTo>
                  <a:lnTo>
                    <a:pt x="658" y="222"/>
                  </a:lnTo>
                  <a:lnTo>
                    <a:pt x="662" y="240"/>
                  </a:lnTo>
                  <a:lnTo>
                    <a:pt x="667" y="258"/>
                  </a:lnTo>
                  <a:lnTo>
                    <a:pt x="671" y="276"/>
                  </a:lnTo>
                  <a:lnTo>
                    <a:pt x="675" y="295"/>
                  </a:lnTo>
                  <a:lnTo>
                    <a:pt x="677" y="314"/>
                  </a:lnTo>
                  <a:lnTo>
                    <a:pt x="679" y="335"/>
                  </a:lnTo>
                  <a:lnTo>
                    <a:pt x="681" y="354"/>
                  </a:lnTo>
                  <a:lnTo>
                    <a:pt x="681" y="395"/>
                  </a:lnTo>
                  <a:lnTo>
                    <a:pt x="157" y="395"/>
                  </a:lnTo>
                  <a:lnTo>
                    <a:pt x="157" y="395"/>
                  </a:lnTo>
                  <a:lnTo>
                    <a:pt x="160" y="414"/>
                  </a:lnTo>
                  <a:lnTo>
                    <a:pt x="165" y="431"/>
                  </a:lnTo>
                  <a:lnTo>
                    <a:pt x="172" y="447"/>
                  </a:lnTo>
                  <a:lnTo>
                    <a:pt x="180" y="463"/>
                  </a:lnTo>
                  <a:lnTo>
                    <a:pt x="188" y="477"/>
                  </a:lnTo>
                  <a:lnTo>
                    <a:pt x="198" y="491"/>
                  </a:lnTo>
                  <a:lnTo>
                    <a:pt x="210" y="503"/>
                  </a:lnTo>
                  <a:lnTo>
                    <a:pt x="222" y="515"/>
                  </a:lnTo>
                  <a:lnTo>
                    <a:pt x="236" y="524"/>
                  </a:lnTo>
                  <a:lnTo>
                    <a:pt x="251" y="533"/>
                  </a:lnTo>
                  <a:lnTo>
                    <a:pt x="266" y="541"/>
                  </a:lnTo>
                  <a:lnTo>
                    <a:pt x="282" y="548"/>
                  </a:lnTo>
                  <a:lnTo>
                    <a:pt x="299" y="552"/>
                  </a:lnTo>
                  <a:lnTo>
                    <a:pt x="317" y="556"/>
                  </a:lnTo>
                  <a:lnTo>
                    <a:pt x="336" y="558"/>
                  </a:lnTo>
                  <a:lnTo>
                    <a:pt x="354" y="559"/>
                  </a:lnTo>
                  <a:lnTo>
                    <a:pt x="354" y="559"/>
                  </a:lnTo>
                  <a:lnTo>
                    <a:pt x="370" y="559"/>
                  </a:lnTo>
                  <a:lnTo>
                    <a:pt x="384" y="558"/>
                  </a:lnTo>
                  <a:lnTo>
                    <a:pt x="399" y="556"/>
                  </a:lnTo>
                  <a:lnTo>
                    <a:pt x="412" y="552"/>
                  </a:lnTo>
                  <a:lnTo>
                    <a:pt x="425" y="549"/>
                  </a:lnTo>
                  <a:lnTo>
                    <a:pt x="438" y="546"/>
                  </a:lnTo>
                  <a:lnTo>
                    <a:pt x="450" y="540"/>
                  </a:lnTo>
                  <a:lnTo>
                    <a:pt x="462" y="535"/>
                  </a:lnTo>
                  <a:lnTo>
                    <a:pt x="482" y="524"/>
                  </a:lnTo>
                  <a:lnTo>
                    <a:pt x="502" y="510"/>
                  </a:lnTo>
                  <a:lnTo>
                    <a:pt x="519" y="496"/>
                  </a:lnTo>
                  <a:lnTo>
                    <a:pt x="533" y="481"/>
                  </a:lnTo>
                  <a:lnTo>
                    <a:pt x="635" y="589"/>
                  </a:lnTo>
                  <a:lnTo>
                    <a:pt x="635" y="589"/>
                  </a:lnTo>
                  <a:lnTo>
                    <a:pt x="623" y="602"/>
                  </a:lnTo>
                  <a:lnTo>
                    <a:pt x="611" y="614"/>
                  </a:lnTo>
                  <a:lnTo>
                    <a:pt x="597" y="626"/>
                  </a:lnTo>
                  <a:lnTo>
                    <a:pt x="583" y="637"/>
                  </a:lnTo>
                  <a:lnTo>
                    <a:pt x="568" y="647"/>
                  </a:lnTo>
                  <a:lnTo>
                    <a:pt x="552" y="658"/>
                  </a:lnTo>
                  <a:lnTo>
                    <a:pt x="535" y="667"/>
                  </a:lnTo>
                  <a:lnTo>
                    <a:pt x="518" y="675"/>
                  </a:lnTo>
                  <a:lnTo>
                    <a:pt x="500" y="683"/>
                  </a:lnTo>
                  <a:lnTo>
                    <a:pt x="481" y="690"/>
                  </a:lnTo>
                  <a:lnTo>
                    <a:pt x="461" y="696"/>
                  </a:lnTo>
                  <a:lnTo>
                    <a:pt x="441" y="700"/>
                  </a:lnTo>
                  <a:lnTo>
                    <a:pt x="420" y="704"/>
                  </a:lnTo>
                  <a:lnTo>
                    <a:pt x="399" y="707"/>
                  </a:lnTo>
                  <a:lnTo>
                    <a:pt x="377" y="708"/>
                  </a:lnTo>
                  <a:lnTo>
                    <a:pt x="354" y="709"/>
                  </a:lnTo>
                  <a:lnTo>
                    <a:pt x="354" y="709"/>
                  </a:lnTo>
                  <a:lnTo>
                    <a:pt x="336" y="708"/>
                  </a:lnTo>
                  <a:lnTo>
                    <a:pt x="317" y="707"/>
                  </a:lnTo>
                  <a:lnTo>
                    <a:pt x="299" y="705"/>
                  </a:lnTo>
                  <a:lnTo>
                    <a:pt x="281" y="703"/>
                  </a:lnTo>
                  <a:lnTo>
                    <a:pt x="264" y="698"/>
                  </a:lnTo>
                  <a:lnTo>
                    <a:pt x="246" y="693"/>
                  </a:lnTo>
                  <a:lnTo>
                    <a:pt x="229" y="688"/>
                  </a:lnTo>
                  <a:lnTo>
                    <a:pt x="213" y="682"/>
                  </a:lnTo>
                  <a:lnTo>
                    <a:pt x="197" y="675"/>
                  </a:lnTo>
                  <a:lnTo>
                    <a:pt x="182" y="667"/>
                  </a:lnTo>
                  <a:lnTo>
                    <a:pt x="167" y="659"/>
                  </a:lnTo>
                  <a:lnTo>
                    <a:pt x="152" y="650"/>
                  </a:lnTo>
                  <a:lnTo>
                    <a:pt x="139" y="641"/>
                  </a:lnTo>
                  <a:lnTo>
                    <a:pt x="126" y="629"/>
                  </a:lnTo>
                  <a:lnTo>
                    <a:pt x="113" y="619"/>
                  </a:lnTo>
                  <a:lnTo>
                    <a:pt x="101" y="607"/>
                  </a:lnTo>
                  <a:lnTo>
                    <a:pt x="89" y="595"/>
                  </a:lnTo>
                  <a:lnTo>
                    <a:pt x="78" y="582"/>
                  </a:lnTo>
                  <a:lnTo>
                    <a:pt x="68" y="568"/>
                  </a:lnTo>
                  <a:lnTo>
                    <a:pt x="58" y="555"/>
                  </a:lnTo>
                  <a:lnTo>
                    <a:pt x="49" y="541"/>
                  </a:lnTo>
                  <a:lnTo>
                    <a:pt x="41" y="526"/>
                  </a:lnTo>
                  <a:lnTo>
                    <a:pt x="33" y="510"/>
                  </a:lnTo>
                  <a:lnTo>
                    <a:pt x="26" y="495"/>
                  </a:lnTo>
                  <a:lnTo>
                    <a:pt x="21" y="478"/>
                  </a:lnTo>
                  <a:lnTo>
                    <a:pt x="15" y="462"/>
                  </a:lnTo>
                  <a:lnTo>
                    <a:pt x="10" y="445"/>
                  </a:lnTo>
                  <a:lnTo>
                    <a:pt x="7" y="427"/>
                  </a:lnTo>
                  <a:lnTo>
                    <a:pt x="3" y="409"/>
                  </a:lnTo>
                  <a:lnTo>
                    <a:pt x="1" y="392"/>
                  </a:lnTo>
                  <a:lnTo>
                    <a:pt x="0" y="374"/>
                  </a:lnTo>
                  <a:lnTo>
                    <a:pt x="0" y="35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auto">
            <a:xfrm>
              <a:off x="1665" y="3424"/>
              <a:ext cx="197" cy="235"/>
            </a:xfrm>
            <a:custGeom>
              <a:avLst/>
              <a:gdLst>
                <a:gd name="T0" fmla="*/ 431 w 591"/>
                <a:gd name="T1" fmla="*/ 707 h 707"/>
                <a:gd name="T2" fmla="*/ 431 w 591"/>
                <a:gd name="T3" fmla="*/ 296 h 707"/>
                <a:gd name="T4" fmla="*/ 427 w 591"/>
                <a:gd name="T5" fmla="*/ 268 h 707"/>
                <a:gd name="T6" fmla="*/ 419 w 591"/>
                <a:gd name="T7" fmla="*/ 243 h 707"/>
                <a:gd name="T8" fmla="*/ 407 w 591"/>
                <a:gd name="T9" fmla="*/ 220 h 707"/>
                <a:gd name="T10" fmla="*/ 391 w 591"/>
                <a:gd name="T11" fmla="*/ 199 h 707"/>
                <a:gd name="T12" fmla="*/ 371 w 591"/>
                <a:gd name="T13" fmla="*/ 183 h 707"/>
                <a:gd name="T14" fmla="*/ 348 w 591"/>
                <a:gd name="T15" fmla="*/ 171 h 707"/>
                <a:gd name="T16" fmla="*/ 322 w 591"/>
                <a:gd name="T17" fmla="*/ 163 h 707"/>
                <a:gd name="T18" fmla="*/ 295 w 591"/>
                <a:gd name="T19" fmla="*/ 160 h 707"/>
                <a:gd name="T20" fmla="*/ 282 w 591"/>
                <a:gd name="T21" fmla="*/ 160 h 707"/>
                <a:gd name="T22" fmla="*/ 255 w 591"/>
                <a:gd name="T23" fmla="*/ 166 h 707"/>
                <a:gd name="T24" fmla="*/ 230 w 591"/>
                <a:gd name="T25" fmla="*/ 177 h 707"/>
                <a:gd name="T26" fmla="*/ 210 w 591"/>
                <a:gd name="T27" fmla="*/ 191 h 707"/>
                <a:gd name="T28" fmla="*/ 191 w 591"/>
                <a:gd name="T29" fmla="*/ 210 h 707"/>
                <a:gd name="T30" fmla="*/ 176 w 591"/>
                <a:gd name="T31" fmla="*/ 230 h 707"/>
                <a:gd name="T32" fmla="*/ 166 w 591"/>
                <a:gd name="T33" fmla="*/ 256 h 707"/>
                <a:gd name="T34" fmla="*/ 160 w 591"/>
                <a:gd name="T35" fmla="*/ 282 h 707"/>
                <a:gd name="T36" fmla="*/ 160 w 591"/>
                <a:gd name="T37" fmla="*/ 707 h 707"/>
                <a:gd name="T38" fmla="*/ 0 w 591"/>
                <a:gd name="T39" fmla="*/ 296 h 707"/>
                <a:gd name="T40" fmla="*/ 0 w 591"/>
                <a:gd name="T41" fmla="*/ 280 h 707"/>
                <a:gd name="T42" fmla="*/ 3 w 591"/>
                <a:gd name="T43" fmla="*/ 250 h 707"/>
                <a:gd name="T44" fmla="*/ 9 w 591"/>
                <a:gd name="T45" fmla="*/ 221 h 707"/>
                <a:gd name="T46" fmla="*/ 17 w 591"/>
                <a:gd name="T47" fmla="*/ 194 h 707"/>
                <a:gd name="T48" fmla="*/ 29 w 591"/>
                <a:gd name="T49" fmla="*/ 167 h 707"/>
                <a:gd name="T50" fmla="*/ 42 w 591"/>
                <a:gd name="T51" fmla="*/ 142 h 707"/>
                <a:gd name="T52" fmla="*/ 67 w 591"/>
                <a:gd name="T53" fmla="*/ 108 h 707"/>
                <a:gd name="T54" fmla="*/ 108 w 591"/>
                <a:gd name="T55" fmla="*/ 68 h 707"/>
                <a:gd name="T56" fmla="*/ 142 w 591"/>
                <a:gd name="T57" fmla="*/ 42 h 707"/>
                <a:gd name="T58" fmla="*/ 167 w 591"/>
                <a:gd name="T59" fmla="*/ 29 h 707"/>
                <a:gd name="T60" fmla="*/ 193 w 591"/>
                <a:gd name="T61" fmla="*/ 17 h 707"/>
                <a:gd name="T62" fmla="*/ 221 w 591"/>
                <a:gd name="T63" fmla="*/ 9 h 707"/>
                <a:gd name="T64" fmla="*/ 250 w 591"/>
                <a:gd name="T65" fmla="*/ 3 h 707"/>
                <a:gd name="T66" fmla="*/ 279 w 591"/>
                <a:gd name="T67" fmla="*/ 0 h 707"/>
                <a:gd name="T68" fmla="*/ 295 w 591"/>
                <a:gd name="T69" fmla="*/ 0 h 707"/>
                <a:gd name="T70" fmla="*/ 325 w 591"/>
                <a:gd name="T71" fmla="*/ 1 h 707"/>
                <a:gd name="T72" fmla="*/ 355 w 591"/>
                <a:gd name="T73" fmla="*/ 6 h 707"/>
                <a:gd name="T74" fmla="*/ 382 w 591"/>
                <a:gd name="T75" fmla="*/ 13 h 707"/>
                <a:gd name="T76" fmla="*/ 410 w 591"/>
                <a:gd name="T77" fmla="*/ 23 h 707"/>
                <a:gd name="T78" fmla="*/ 436 w 591"/>
                <a:gd name="T79" fmla="*/ 36 h 707"/>
                <a:gd name="T80" fmla="*/ 460 w 591"/>
                <a:gd name="T81" fmla="*/ 50 h 707"/>
                <a:gd name="T82" fmla="*/ 504 w 591"/>
                <a:gd name="T83" fmla="*/ 86 h 707"/>
                <a:gd name="T84" fmla="*/ 541 w 591"/>
                <a:gd name="T85" fmla="*/ 131 h 707"/>
                <a:gd name="T86" fmla="*/ 555 w 591"/>
                <a:gd name="T87" fmla="*/ 155 h 707"/>
                <a:gd name="T88" fmla="*/ 567 w 591"/>
                <a:gd name="T89" fmla="*/ 180 h 707"/>
                <a:gd name="T90" fmla="*/ 577 w 591"/>
                <a:gd name="T91" fmla="*/ 207 h 707"/>
                <a:gd name="T92" fmla="*/ 584 w 591"/>
                <a:gd name="T93" fmla="*/ 236 h 707"/>
                <a:gd name="T94" fmla="*/ 589 w 591"/>
                <a:gd name="T95" fmla="*/ 265 h 707"/>
                <a:gd name="T96" fmla="*/ 591 w 591"/>
                <a:gd name="T97" fmla="*/ 296 h 7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91" h="707">
                  <a:moveTo>
                    <a:pt x="591" y="707"/>
                  </a:moveTo>
                  <a:lnTo>
                    <a:pt x="431" y="707"/>
                  </a:lnTo>
                  <a:lnTo>
                    <a:pt x="431" y="296"/>
                  </a:lnTo>
                  <a:lnTo>
                    <a:pt x="431" y="296"/>
                  </a:lnTo>
                  <a:lnTo>
                    <a:pt x="429" y="282"/>
                  </a:lnTo>
                  <a:lnTo>
                    <a:pt x="427" y="268"/>
                  </a:lnTo>
                  <a:lnTo>
                    <a:pt x="424" y="256"/>
                  </a:lnTo>
                  <a:lnTo>
                    <a:pt x="419" y="243"/>
                  </a:lnTo>
                  <a:lnTo>
                    <a:pt x="413" y="230"/>
                  </a:lnTo>
                  <a:lnTo>
                    <a:pt x="407" y="220"/>
                  </a:lnTo>
                  <a:lnTo>
                    <a:pt x="400" y="210"/>
                  </a:lnTo>
                  <a:lnTo>
                    <a:pt x="391" y="199"/>
                  </a:lnTo>
                  <a:lnTo>
                    <a:pt x="381" y="191"/>
                  </a:lnTo>
                  <a:lnTo>
                    <a:pt x="371" y="183"/>
                  </a:lnTo>
                  <a:lnTo>
                    <a:pt x="360" y="177"/>
                  </a:lnTo>
                  <a:lnTo>
                    <a:pt x="348" y="171"/>
                  </a:lnTo>
                  <a:lnTo>
                    <a:pt x="336" y="166"/>
                  </a:lnTo>
                  <a:lnTo>
                    <a:pt x="322" y="163"/>
                  </a:lnTo>
                  <a:lnTo>
                    <a:pt x="309" y="160"/>
                  </a:lnTo>
                  <a:lnTo>
                    <a:pt x="295" y="160"/>
                  </a:lnTo>
                  <a:lnTo>
                    <a:pt x="295" y="160"/>
                  </a:lnTo>
                  <a:lnTo>
                    <a:pt x="282" y="160"/>
                  </a:lnTo>
                  <a:lnTo>
                    <a:pt x="268" y="163"/>
                  </a:lnTo>
                  <a:lnTo>
                    <a:pt x="255" y="166"/>
                  </a:lnTo>
                  <a:lnTo>
                    <a:pt x="243" y="171"/>
                  </a:lnTo>
                  <a:lnTo>
                    <a:pt x="230" y="177"/>
                  </a:lnTo>
                  <a:lnTo>
                    <a:pt x="220" y="183"/>
                  </a:lnTo>
                  <a:lnTo>
                    <a:pt x="210" y="191"/>
                  </a:lnTo>
                  <a:lnTo>
                    <a:pt x="199" y="199"/>
                  </a:lnTo>
                  <a:lnTo>
                    <a:pt x="191" y="210"/>
                  </a:lnTo>
                  <a:lnTo>
                    <a:pt x="183" y="220"/>
                  </a:lnTo>
                  <a:lnTo>
                    <a:pt x="176" y="230"/>
                  </a:lnTo>
                  <a:lnTo>
                    <a:pt x="171" y="243"/>
                  </a:lnTo>
                  <a:lnTo>
                    <a:pt x="166" y="256"/>
                  </a:lnTo>
                  <a:lnTo>
                    <a:pt x="163" y="268"/>
                  </a:lnTo>
                  <a:lnTo>
                    <a:pt x="160" y="282"/>
                  </a:lnTo>
                  <a:lnTo>
                    <a:pt x="160" y="296"/>
                  </a:lnTo>
                  <a:lnTo>
                    <a:pt x="160" y="707"/>
                  </a:lnTo>
                  <a:lnTo>
                    <a:pt x="0" y="707"/>
                  </a:lnTo>
                  <a:lnTo>
                    <a:pt x="0" y="296"/>
                  </a:lnTo>
                  <a:lnTo>
                    <a:pt x="0" y="296"/>
                  </a:lnTo>
                  <a:lnTo>
                    <a:pt x="0" y="280"/>
                  </a:lnTo>
                  <a:lnTo>
                    <a:pt x="1" y="265"/>
                  </a:lnTo>
                  <a:lnTo>
                    <a:pt x="3" y="250"/>
                  </a:lnTo>
                  <a:lnTo>
                    <a:pt x="6" y="236"/>
                  </a:lnTo>
                  <a:lnTo>
                    <a:pt x="9" y="221"/>
                  </a:lnTo>
                  <a:lnTo>
                    <a:pt x="12" y="207"/>
                  </a:lnTo>
                  <a:lnTo>
                    <a:pt x="17" y="194"/>
                  </a:lnTo>
                  <a:lnTo>
                    <a:pt x="23" y="180"/>
                  </a:lnTo>
                  <a:lnTo>
                    <a:pt x="29" y="167"/>
                  </a:lnTo>
                  <a:lnTo>
                    <a:pt x="35" y="155"/>
                  </a:lnTo>
                  <a:lnTo>
                    <a:pt x="42" y="142"/>
                  </a:lnTo>
                  <a:lnTo>
                    <a:pt x="50" y="131"/>
                  </a:lnTo>
                  <a:lnTo>
                    <a:pt x="67" y="108"/>
                  </a:lnTo>
                  <a:lnTo>
                    <a:pt x="86" y="86"/>
                  </a:lnTo>
                  <a:lnTo>
                    <a:pt x="108" y="68"/>
                  </a:lnTo>
                  <a:lnTo>
                    <a:pt x="129" y="50"/>
                  </a:lnTo>
                  <a:lnTo>
                    <a:pt x="142" y="42"/>
                  </a:lnTo>
                  <a:lnTo>
                    <a:pt x="155" y="36"/>
                  </a:lnTo>
                  <a:lnTo>
                    <a:pt x="167" y="29"/>
                  </a:lnTo>
                  <a:lnTo>
                    <a:pt x="180" y="23"/>
                  </a:lnTo>
                  <a:lnTo>
                    <a:pt x="193" y="17"/>
                  </a:lnTo>
                  <a:lnTo>
                    <a:pt x="207" y="13"/>
                  </a:lnTo>
                  <a:lnTo>
                    <a:pt x="221" y="9"/>
                  </a:lnTo>
                  <a:lnTo>
                    <a:pt x="236" y="6"/>
                  </a:lnTo>
                  <a:lnTo>
                    <a:pt x="250" y="3"/>
                  </a:lnTo>
                  <a:lnTo>
                    <a:pt x="264" y="1"/>
                  </a:lnTo>
                  <a:lnTo>
                    <a:pt x="279" y="0"/>
                  </a:lnTo>
                  <a:lnTo>
                    <a:pt x="295" y="0"/>
                  </a:lnTo>
                  <a:lnTo>
                    <a:pt x="295" y="0"/>
                  </a:lnTo>
                  <a:lnTo>
                    <a:pt x="310" y="0"/>
                  </a:lnTo>
                  <a:lnTo>
                    <a:pt x="325" y="1"/>
                  </a:lnTo>
                  <a:lnTo>
                    <a:pt x="340" y="3"/>
                  </a:lnTo>
                  <a:lnTo>
                    <a:pt x="355" y="6"/>
                  </a:lnTo>
                  <a:lnTo>
                    <a:pt x="369" y="9"/>
                  </a:lnTo>
                  <a:lnTo>
                    <a:pt x="382" y="13"/>
                  </a:lnTo>
                  <a:lnTo>
                    <a:pt x="396" y="17"/>
                  </a:lnTo>
                  <a:lnTo>
                    <a:pt x="410" y="23"/>
                  </a:lnTo>
                  <a:lnTo>
                    <a:pt x="423" y="29"/>
                  </a:lnTo>
                  <a:lnTo>
                    <a:pt x="436" y="36"/>
                  </a:lnTo>
                  <a:lnTo>
                    <a:pt x="448" y="42"/>
                  </a:lnTo>
                  <a:lnTo>
                    <a:pt x="460" y="50"/>
                  </a:lnTo>
                  <a:lnTo>
                    <a:pt x="483" y="68"/>
                  </a:lnTo>
                  <a:lnTo>
                    <a:pt x="504" y="86"/>
                  </a:lnTo>
                  <a:lnTo>
                    <a:pt x="523" y="108"/>
                  </a:lnTo>
                  <a:lnTo>
                    <a:pt x="541" y="131"/>
                  </a:lnTo>
                  <a:lnTo>
                    <a:pt x="547" y="142"/>
                  </a:lnTo>
                  <a:lnTo>
                    <a:pt x="555" y="155"/>
                  </a:lnTo>
                  <a:lnTo>
                    <a:pt x="561" y="167"/>
                  </a:lnTo>
                  <a:lnTo>
                    <a:pt x="567" y="180"/>
                  </a:lnTo>
                  <a:lnTo>
                    <a:pt x="573" y="194"/>
                  </a:lnTo>
                  <a:lnTo>
                    <a:pt x="577" y="207"/>
                  </a:lnTo>
                  <a:lnTo>
                    <a:pt x="582" y="221"/>
                  </a:lnTo>
                  <a:lnTo>
                    <a:pt x="584" y="236"/>
                  </a:lnTo>
                  <a:lnTo>
                    <a:pt x="588" y="250"/>
                  </a:lnTo>
                  <a:lnTo>
                    <a:pt x="589" y="265"/>
                  </a:lnTo>
                  <a:lnTo>
                    <a:pt x="590" y="280"/>
                  </a:lnTo>
                  <a:lnTo>
                    <a:pt x="591" y="296"/>
                  </a:lnTo>
                  <a:lnTo>
                    <a:pt x="591" y="70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auto">
            <a:xfrm>
              <a:off x="1002" y="3424"/>
              <a:ext cx="81" cy="81"/>
            </a:xfrm>
            <a:custGeom>
              <a:avLst/>
              <a:gdLst>
                <a:gd name="T0" fmla="*/ 243 w 243"/>
                <a:gd name="T1" fmla="*/ 122 h 243"/>
                <a:gd name="T2" fmla="*/ 240 w 243"/>
                <a:gd name="T3" fmla="*/ 146 h 243"/>
                <a:gd name="T4" fmla="*/ 234 w 243"/>
                <a:gd name="T5" fmla="*/ 169 h 243"/>
                <a:gd name="T6" fmla="*/ 222 w 243"/>
                <a:gd name="T7" fmla="*/ 189 h 243"/>
                <a:gd name="T8" fmla="*/ 207 w 243"/>
                <a:gd name="T9" fmla="*/ 208 h 243"/>
                <a:gd name="T10" fmla="*/ 189 w 243"/>
                <a:gd name="T11" fmla="*/ 223 h 243"/>
                <a:gd name="T12" fmla="*/ 168 w 243"/>
                <a:gd name="T13" fmla="*/ 233 h 243"/>
                <a:gd name="T14" fmla="*/ 145 w 243"/>
                <a:gd name="T15" fmla="*/ 241 h 243"/>
                <a:gd name="T16" fmla="*/ 121 w 243"/>
                <a:gd name="T17" fmla="*/ 243 h 243"/>
                <a:gd name="T18" fmla="*/ 109 w 243"/>
                <a:gd name="T19" fmla="*/ 242 h 243"/>
                <a:gd name="T20" fmla="*/ 85 w 243"/>
                <a:gd name="T21" fmla="*/ 237 h 243"/>
                <a:gd name="T22" fmla="*/ 63 w 243"/>
                <a:gd name="T23" fmla="*/ 228 h 243"/>
                <a:gd name="T24" fmla="*/ 45 w 243"/>
                <a:gd name="T25" fmla="*/ 216 h 243"/>
                <a:gd name="T26" fmla="*/ 27 w 243"/>
                <a:gd name="T27" fmla="*/ 198 h 243"/>
                <a:gd name="T28" fmla="*/ 15 w 243"/>
                <a:gd name="T29" fmla="*/ 179 h 243"/>
                <a:gd name="T30" fmla="*/ 6 w 243"/>
                <a:gd name="T31" fmla="*/ 157 h 243"/>
                <a:gd name="T32" fmla="*/ 0 w 243"/>
                <a:gd name="T33" fmla="*/ 134 h 243"/>
                <a:gd name="T34" fmla="*/ 0 w 243"/>
                <a:gd name="T35" fmla="*/ 122 h 243"/>
                <a:gd name="T36" fmla="*/ 2 w 243"/>
                <a:gd name="T37" fmla="*/ 96 h 243"/>
                <a:gd name="T38" fmla="*/ 9 w 243"/>
                <a:gd name="T39" fmla="*/ 74 h 243"/>
                <a:gd name="T40" fmla="*/ 21 w 243"/>
                <a:gd name="T41" fmla="*/ 53 h 243"/>
                <a:gd name="T42" fmla="*/ 35 w 243"/>
                <a:gd name="T43" fmla="*/ 36 h 243"/>
                <a:gd name="T44" fmla="*/ 54 w 243"/>
                <a:gd name="T45" fmla="*/ 21 h 243"/>
                <a:gd name="T46" fmla="*/ 74 w 243"/>
                <a:gd name="T47" fmla="*/ 9 h 243"/>
                <a:gd name="T48" fmla="*/ 97 w 243"/>
                <a:gd name="T49" fmla="*/ 2 h 243"/>
                <a:gd name="T50" fmla="*/ 121 w 243"/>
                <a:gd name="T51" fmla="*/ 0 h 243"/>
                <a:gd name="T52" fmla="*/ 134 w 243"/>
                <a:gd name="T53" fmla="*/ 0 h 243"/>
                <a:gd name="T54" fmla="*/ 157 w 243"/>
                <a:gd name="T55" fmla="*/ 5 h 243"/>
                <a:gd name="T56" fmla="*/ 179 w 243"/>
                <a:gd name="T57" fmla="*/ 14 h 243"/>
                <a:gd name="T58" fmla="*/ 198 w 243"/>
                <a:gd name="T59" fmla="*/ 28 h 243"/>
                <a:gd name="T60" fmla="*/ 215 w 243"/>
                <a:gd name="T61" fmla="*/ 44 h 243"/>
                <a:gd name="T62" fmla="*/ 228 w 243"/>
                <a:gd name="T63" fmla="*/ 63 h 243"/>
                <a:gd name="T64" fmla="*/ 237 w 243"/>
                <a:gd name="T65" fmla="*/ 85 h 243"/>
                <a:gd name="T66" fmla="*/ 242 w 243"/>
                <a:gd name="T67" fmla="*/ 10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3" h="243">
                  <a:moveTo>
                    <a:pt x="243" y="122"/>
                  </a:moveTo>
                  <a:lnTo>
                    <a:pt x="243" y="122"/>
                  </a:lnTo>
                  <a:lnTo>
                    <a:pt x="242" y="134"/>
                  </a:lnTo>
                  <a:lnTo>
                    <a:pt x="240" y="146"/>
                  </a:lnTo>
                  <a:lnTo>
                    <a:pt x="237" y="157"/>
                  </a:lnTo>
                  <a:lnTo>
                    <a:pt x="234" y="169"/>
                  </a:lnTo>
                  <a:lnTo>
                    <a:pt x="228" y="179"/>
                  </a:lnTo>
                  <a:lnTo>
                    <a:pt x="222" y="189"/>
                  </a:lnTo>
                  <a:lnTo>
                    <a:pt x="215" y="198"/>
                  </a:lnTo>
                  <a:lnTo>
                    <a:pt x="207" y="208"/>
                  </a:lnTo>
                  <a:lnTo>
                    <a:pt x="198" y="216"/>
                  </a:lnTo>
                  <a:lnTo>
                    <a:pt x="189" y="223"/>
                  </a:lnTo>
                  <a:lnTo>
                    <a:pt x="179" y="228"/>
                  </a:lnTo>
                  <a:lnTo>
                    <a:pt x="168" y="233"/>
                  </a:lnTo>
                  <a:lnTo>
                    <a:pt x="157" y="237"/>
                  </a:lnTo>
                  <a:lnTo>
                    <a:pt x="145" y="241"/>
                  </a:lnTo>
                  <a:lnTo>
                    <a:pt x="134" y="242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09" y="242"/>
                  </a:lnTo>
                  <a:lnTo>
                    <a:pt x="97" y="241"/>
                  </a:lnTo>
                  <a:lnTo>
                    <a:pt x="85" y="237"/>
                  </a:lnTo>
                  <a:lnTo>
                    <a:pt x="74" y="233"/>
                  </a:lnTo>
                  <a:lnTo>
                    <a:pt x="63" y="228"/>
                  </a:lnTo>
                  <a:lnTo>
                    <a:pt x="54" y="223"/>
                  </a:lnTo>
                  <a:lnTo>
                    <a:pt x="45" y="216"/>
                  </a:lnTo>
                  <a:lnTo>
                    <a:pt x="35" y="208"/>
                  </a:lnTo>
                  <a:lnTo>
                    <a:pt x="27" y="198"/>
                  </a:lnTo>
                  <a:lnTo>
                    <a:pt x="21" y="189"/>
                  </a:lnTo>
                  <a:lnTo>
                    <a:pt x="15" y="179"/>
                  </a:lnTo>
                  <a:lnTo>
                    <a:pt x="9" y="169"/>
                  </a:lnTo>
                  <a:lnTo>
                    <a:pt x="6" y="157"/>
                  </a:lnTo>
                  <a:lnTo>
                    <a:pt x="2" y="146"/>
                  </a:lnTo>
                  <a:lnTo>
                    <a:pt x="0" y="134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09"/>
                  </a:lnTo>
                  <a:lnTo>
                    <a:pt x="2" y="96"/>
                  </a:lnTo>
                  <a:lnTo>
                    <a:pt x="6" y="85"/>
                  </a:lnTo>
                  <a:lnTo>
                    <a:pt x="9" y="74"/>
                  </a:lnTo>
                  <a:lnTo>
                    <a:pt x="15" y="63"/>
                  </a:lnTo>
                  <a:lnTo>
                    <a:pt x="21" y="53"/>
                  </a:lnTo>
                  <a:lnTo>
                    <a:pt x="27" y="44"/>
                  </a:lnTo>
                  <a:lnTo>
                    <a:pt x="35" y="36"/>
                  </a:lnTo>
                  <a:lnTo>
                    <a:pt x="45" y="28"/>
                  </a:lnTo>
                  <a:lnTo>
                    <a:pt x="54" y="21"/>
                  </a:lnTo>
                  <a:lnTo>
                    <a:pt x="63" y="14"/>
                  </a:lnTo>
                  <a:lnTo>
                    <a:pt x="74" y="9"/>
                  </a:lnTo>
                  <a:lnTo>
                    <a:pt x="85" y="5"/>
                  </a:lnTo>
                  <a:lnTo>
                    <a:pt x="97" y="2"/>
                  </a:lnTo>
                  <a:lnTo>
                    <a:pt x="109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4" y="0"/>
                  </a:lnTo>
                  <a:lnTo>
                    <a:pt x="145" y="2"/>
                  </a:lnTo>
                  <a:lnTo>
                    <a:pt x="157" y="5"/>
                  </a:lnTo>
                  <a:lnTo>
                    <a:pt x="168" y="9"/>
                  </a:lnTo>
                  <a:lnTo>
                    <a:pt x="179" y="14"/>
                  </a:lnTo>
                  <a:lnTo>
                    <a:pt x="189" y="21"/>
                  </a:lnTo>
                  <a:lnTo>
                    <a:pt x="198" y="28"/>
                  </a:lnTo>
                  <a:lnTo>
                    <a:pt x="207" y="36"/>
                  </a:lnTo>
                  <a:lnTo>
                    <a:pt x="215" y="44"/>
                  </a:lnTo>
                  <a:lnTo>
                    <a:pt x="222" y="53"/>
                  </a:lnTo>
                  <a:lnTo>
                    <a:pt x="228" y="63"/>
                  </a:lnTo>
                  <a:lnTo>
                    <a:pt x="234" y="74"/>
                  </a:lnTo>
                  <a:lnTo>
                    <a:pt x="237" y="85"/>
                  </a:lnTo>
                  <a:lnTo>
                    <a:pt x="240" y="96"/>
                  </a:lnTo>
                  <a:lnTo>
                    <a:pt x="242" y="109"/>
                  </a:lnTo>
                  <a:lnTo>
                    <a:pt x="243" y="122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8"/>
            <p:cNvSpPr>
              <a:spLocks/>
            </p:cNvSpPr>
            <p:nvPr userDrawn="1"/>
          </p:nvSpPr>
          <p:spPr bwMode="auto">
            <a:xfrm>
              <a:off x="1002" y="3424"/>
              <a:ext cx="81" cy="81"/>
            </a:xfrm>
            <a:custGeom>
              <a:avLst/>
              <a:gdLst>
                <a:gd name="T0" fmla="*/ 243 w 243"/>
                <a:gd name="T1" fmla="*/ 122 h 243"/>
                <a:gd name="T2" fmla="*/ 240 w 243"/>
                <a:gd name="T3" fmla="*/ 146 h 243"/>
                <a:gd name="T4" fmla="*/ 234 w 243"/>
                <a:gd name="T5" fmla="*/ 169 h 243"/>
                <a:gd name="T6" fmla="*/ 222 w 243"/>
                <a:gd name="T7" fmla="*/ 189 h 243"/>
                <a:gd name="T8" fmla="*/ 207 w 243"/>
                <a:gd name="T9" fmla="*/ 208 h 243"/>
                <a:gd name="T10" fmla="*/ 189 w 243"/>
                <a:gd name="T11" fmla="*/ 223 h 243"/>
                <a:gd name="T12" fmla="*/ 168 w 243"/>
                <a:gd name="T13" fmla="*/ 233 h 243"/>
                <a:gd name="T14" fmla="*/ 145 w 243"/>
                <a:gd name="T15" fmla="*/ 241 h 243"/>
                <a:gd name="T16" fmla="*/ 121 w 243"/>
                <a:gd name="T17" fmla="*/ 243 h 243"/>
                <a:gd name="T18" fmla="*/ 109 w 243"/>
                <a:gd name="T19" fmla="*/ 242 h 243"/>
                <a:gd name="T20" fmla="*/ 85 w 243"/>
                <a:gd name="T21" fmla="*/ 237 h 243"/>
                <a:gd name="T22" fmla="*/ 63 w 243"/>
                <a:gd name="T23" fmla="*/ 228 h 243"/>
                <a:gd name="T24" fmla="*/ 45 w 243"/>
                <a:gd name="T25" fmla="*/ 216 h 243"/>
                <a:gd name="T26" fmla="*/ 27 w 243"/>
                <a:gd name="T27" fmla="*/ 198 h 243"/>
                <a:gd name="T28" fmla="*/ 15 w 243"/>
                <a:gd name="T29" fmla="*/ 179 h 243"/>
                <a:gd name="T30" fmla="*/ 6 w 243"/>
                <a:gd name="T31" fmla="*/ 157 h 243"/>
                <a:gd name="T32" fmla="*/ 0 w 243"/>
                <a:gd name="T33" fmla="*/ 134 h 243"/>
                <a:gd name="T34" fmla="*/ 0 w 243"/>
                <a:gd name="T35" fmla="*/ 122 h 243"/>
                <a:gd name="T36" fmla="*/ 2 w 243"/>
                <a:gd name="T37" fmla="*/ 96 h 243"/>
                <a:gd name="T38" fmla="*/ 9 w 243"/>
                <a:gd name="T39" fmla="*/ 74 h 243"/>
                <a:gd name="T40" fmla="*/ 21 w 243"/>
                <a:gd name="T41" fmla="*/ 53 h 243"/>
                <a:gd name="T42" fmla="*/ 35 w 243"/>
                <a:gd name="T43" fmla="*/ 36 h 243"/>
                <a:gd name="T44" fmla="*/ 54 w 243"/>
                <a:gd name="T45" fmla="*/ 21 h 243"/>
                <a:gd name="T46" fmla="*/ 74 w 243"/>
                <a:gd name="T47" fmla="*/ 9 h 243"/>
                <a:gd name="T48" fmla="*/ 97 w 243"/>
                <a:gd name="T49" fmla="*/ 2 h 243"/>
                <a:gd name="T50" fmla="*/ 121 w 243"/>
                <a:gd name="T51" fmla="*/ 0 h 243"/>
                <a:gd name="T52" fmla="*/ 134 w 243"/>
                <a:gd name="T53" fmla="*/ 0 h 243"/>
                <a:gd name="T54" fmla="*/ 157 w 243"/>
                <a:gd name="T55" fmla="*/ 5 h 243"/>
                <a:gd name="T56" fmla="*/ 179 w 243"/>
                <a:gd name="T57" fmla="*/ 14 h 243"/>
                <a:gd name="T58" fmla="*/ 198 w 243"/>
                <a:gd name="T59" fmla="*/ 28 h 243"/>
                <a:gd name="T60" fmla="*/ 215 w 243"/>
                <a:gd name="T61" fmla="*/ 44 h 243"/>
                <a:gd name="T62" fmla="*/ 228 w 243"/>
                <a:gd name="T63" fmla="*/ 63 h 243"/>
                <a:gd name="T64" fmla="*/ 237 w 243"/>
                <a:gd name="T65" fmla="*/ 85 h 243"/>
                <a:gd name="T66" fmla="*/ 242 w 243"/>
                <a:gd name="T67" fmla="*/ 10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3" h="243">
                  <a:moveTo>
                    <a:pt x="243" y="122"/>
                  </a:moveTo>
                  <a:lnTo>
                    <a:pt x="243" y="122"/>
                  </a:lnTo>
                  <a:lnTo>
                    <a:pt x="242" y="134"/>
                  </a:lnTo>
                  <a:lnTo>
                    <a:pt x="240" y="146"/>
                  </a:lnTo>
                  <a:lnTo>
                    <a:pt x="237" y="157"/>
                  </a:lnTo>
                  <a:lnTo>
                    <a:pt x="234" y="169"/>
                  </a:lnTo>
                  <a:lnTo>
                    <a:pt x="228" y="179"/>
                  </a:lnTo>
                  <a:lnTo>
                    <a:pt x="222" y="189"/>
                  </a:lnTo>
                  <a:lnTo>
                    <a:pt x="215" y="198"/>
                  </a:lnTo>
                  <a:lnTo>
                    <a:pt x="207" y="208"/>
                  </a:lnTo>
                  <a:lnTo>
                    <a:pt x="198" y="216"/>
                  </a:lnTo>
                  <a:lnTo>
                    <a:pt x="189" y="223"/>
                  </a:lnTo>
                  <a:lnTo>
                    <a:pt x="179" y="228"/>
                  </a:lnTo>
                  <a:lnTo>
                    <a:pt x="168" y="233"/>
                  </a:lnTo>
                  <a:lnTo>
                    <a:pt x="157" y="237"/>
                  </a:lnTo>
                  <a:lnTo>
                    <a:pt x="145" y="241"/>
                  </a:lnTo>
                  <a:lnTo>
                    <a:pt x="134" y="242"/>
                  </a:lnTo>
                  <a:lnTo>
                    <a:pt x="121" y="243"/>
                  </a:lnTo>
                  <a:lnTo>
                    <a:pt x="121" y="243"/>
                  </a:lnTo>
                  <a:lnTo>
                    <a:pt x="109" y="242"/>
                  </a:lnTo>
                  <a:lnTo>
                    <a:pt x="97" y="241"/>
                  </a:lnTo>
                  <a:lnTo>
                    <a:pt x="85" y="237"/>
                  </a:lnTo>
                  <a:lnTo>
                    <a:pt x="74" y="233"/>
                  </a:lnTo>
                  <a:lnTo>
                    <a:pt x="63" y="228"/>
                  </a:lnTo>
                  <a:lnTo>
                    <a:pt x="54" y="223"/>
                  </a:lnTo>
                  <a:lnTo>
                    <a:pt x="45" y="216"/>
                  </a:lnTo>
                  <a:lnTo>
                    <a:pt x="35" y="208"/>
                  </a:lnTo>
                  <a:lnTo>
                    <a:pt x="27" y="198"/>
                  </a:lnTo>
                  <a:lnTo>
                    <a:pt x="21" y="189"/>
                  </a:lnTo>
                  <a:lnTo>
                    <a:pt x="15" y="179"/>
                  </a:lnTo>
                  <a:lnTo>
                    <a:pt x="9" y="169"/>
                  </a:lnTo>
                  <a:lnTo>
                    <a:pt x="6" y="157"/>
                  </a:lnTo>
                  <a:lnTo>
                    <a:pt x="2" y="146"/>
                  </a:lnTo>
                  <a:lnTo>
                    <a:pt x="0" y="134"/>
                  </a:lnTo>
                  <a:lnTo>
                    <a:pt x="0" y="122"/>
                  </a:lnTo>
                  <a:lnTo>
                    <a:pt x="0" y="122"/>
                  </a:lnTo>
                  <a:lnTo>
                    <a:pt x="0" y="109"/>
                  </a:lnTo>
                  <a:lnTo>
                    <a:pt x="2" y="96"/>
                  </a:lnTo>
                  <a:lnTo>
                    <a:pt x="6" y="85"/>
                  </a:lnTo>
                  <a:lnTo>
                    <a:pt x="9" y="74"/>
                  </a:lnTo>
                  <a:lnTo>
                    <a:pt x="15" y="63"/>
                  </a:lnTo>
                  <a:lnTo>
                    <a:pt x="21" y="53"/>
                  </a:lnTo>
                  <a:lnTo>
                    <a:pt x="27" y="44"/>
                  </a:lnTo>
                  <a:lnTo>
                    <a:pt x="35" y="36"/>
                  </a:lnTo>
                  <a:lnTo>
                    <a:pt x="45" y="28"/>
                  </a:lnTo>
                  <a:lnTo>
                    <a:pt x="54" y="21"/>
                  </a:lnTo>
                  <a:lnTo>
                    <a:pt x="63" y="14"/>
                  </a:lnTo>
                  <a:lnTo>
                    <a:pt x="74" y="9"/>
                  </a:lnTo>
                  <a:lnTo>
                    <a:pt x="85" y="5"/>
                  </a:lnTo>
                  <a:lnTo>
                    <a:pt x="97" y="2"/>
                  </a:lnTo>
                  <a:lnTo>
                    <a:pt x="109" y="0"/>
                  </a:lnTo>
                  <a:lnTo>
                    <a:pt x="121" y="0"/>
                  </a:lnTo>
                  <a:lnTo>
                    <a:pt x="121" y="0"/>
                  </a:lnTo>
                  <a:lnTo>
                    <a:pt x="134" y="0"/>
                  </a:lnTo>
                  <a:lnTo>
                    <a:pt x="145" y="2"/>
                  </a:lnTo>
                  <a:lnTo>
                    <a:pt x="157" y="5"/>
                  </a:lnTo>
                  <a:lnTo>
                    <a:pt x="168" y="9"/>
                  </a:lnTo>
                  <a:lnTo>
                    <a:pt x="179" y="14"/>
                  </a:lnTo>
                  <a:lnTo>
                    <a:pt x="189" y="21"/>
                  </a:lnTo>
                  <a:lnTo>
                    <a:pt x="198" y="28"/>
                  </a:lnTo>
                  <a:lnTo>
                    <a:pt x="207" y="36"/>
                  </a:lnTo>
                  <a:lnTo>
                    <a:pt x="215" y="44"/>
                  </a:lnTo>
                  <a:lnTo>
                    <a:pt x="222" y="53"/>
                  </a:lnTo>
                  <a:lnTo>
                    <a:pt x="228" y="63"/>
                  </a:lnTo>
                  <a:lnTo>
                    <a:pt x="234" y="74"/>
                  </a:lnTo>
                  <a:lnTo>
                    <a:pt x="237" y="85"/>
                  </a:lnTo>
                  <a:lnTo>
                    <a:pt x="240" y="96"/>
                  </a:lnTo>
                  <a:lnTo>
                    <a:pt x="242" y="109"/>
                  </a:lnTo>
                  <a:lnTo>
                    <a:pt x="243" y="12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9"/>
            <p:cNvSpPr>
              <a:spLocks noEditPoints="1"/>
            </p:cNvSpPr>
            <p:nvPr userDrawn="1"/>
          </p:nvSpPr>
          <p:spPr bwMode="auto">
            <a:xfrm>
              <a:off x="488" y="3758"/>
              <a:ext cx="42" cy="64"/>
            </a:xfrm>
            <a:custGeom>
              <a:avLst/>
              <a:gdLst>
                <a:gd name="T0" fmla="*/ 96 w 126"/>
                <a:gd name="T1" fmla="*/ 82 h 192"/>
                <a:gd name="T2" fmla="*/ 106 w 126"/>
                <a:gd name="T3" fmla="*/ 90 h 192"/>
                <a:gd name="T4" fmla="*/ 117 w 126"/>
                <a:gd name="T5" fmla="*/ 100 h 192"/>
                <a:gd name="T6" fmla="*/ 122 w 126"/>
                <a:gd name="T7" fmla="*/ 115 h 192"/>
                <a:gd name="T8" fmla="*/ 126 w 126"/>
                <a:gd name="T9" fmla="*/ 131 h 192"/>
                <a:gd name="T10" fmla="*/ 125 w 126"/>
                <a:gd name="T11" fmla="*/ 144 h 192"/>
                <a:gd name="T12" fmla="*/ 114 w 126"/>
                <a:gd name="T13" fmla="*/ 166 h 192"/>
                <a:gd name="T14" fmla="*/ 98 w 126"/>
                <a:gd name="T15" fmla="*/ 182 h 192"/>
                <a:gd name="T16" fmla="*/ 77 w 126"/>
                <a:gd name="T17" fmla="*/ 191 h 192"/>
                <a:gd name="T18" fmla="*/ 0 w 126"/>
                <a:gd name="T19" fmla="*/ 192 h 192"/>
                <a:gd name="T20" fmla="*/ 63 w 126"/>
                <a:gd name="T21" fmla="*/ 0 h 192"/>
                <a:gd name="T22" fmla="*/ 74 w 126"/>
                <a:gd name="T23" fmla="*/ 1 h 192"/>
                <a:gd name="T24" fmla="*/ 93 w 126"/>
                <a:gd name="T25" fmla="*/ 8 h 192"/>
                <a:gd name="T26" fmla="*/ 106 w 126"/>
                <a:gd name="T27" fmla="*/ 21 h 192"/>
                <a:gd name="T28" fmla="*/ 113 w 126"/>
                <a:gd name="T29" fmla="*/ 39 h 192"/>
                <a:gd name="T30" fmla="*/ 113 w 126"/>
                <a:gd name="T31" fmla="*/ 50 h 192"/>
                <a:gd name="T32" fmla="*/ 112 w 126"/>
                <a:gd name="T33" fmla="*/ 60 h 192"/>
                <a:gd name="T34" fmla="*/ 103 w 126"/>
                <a:gd name="T35" fmla="*/ 78 h 192"/>
                <a:gd name="T36" fmla="*/ 96 w 126"/>
                <a:gd name="T37" fmla="*/ 82 h 192"/>
                <a:gd name="T38" fmla="*/ 63 w 126"/>
                <a:gd name="T39" fmla="*/ 71 h 192"/>
                <a:gd name="T40" fmla="*/ 68 w 126"/>
                <a:gd name="T41" fmla="*/ 69 h 192"/>
                <a:gd name="T42" fmla="*/ 76 w 126"/>
                <a:gd name="T43" fmla="*/ 67 h 192"/>
                <a:gd name="T44" fmla="*/ 80 w 126"/>
                <a:gd name="T45" fmla="*/ 61 h 192"/>
                <a:gd name="T46" fmla="*/ 84 w 126"/>
                <a:gd name="T47" fmla="*/ 55 h 192"/>
                <a:gd name="T48" fmla="*/ 84 w 126"/>
                <a:gd name="T49" fmla="*/ 50 h 192"/>
                <a:gd name="T50" fmla="*/ 82 w 126"/>
                <a:gd name="T51" fmla="*/ 41 h 192"/>
                <a:gd name="T52" fmla="*/ 78 w 126"/>
                <a:gd name="T53" fmla="*/ 35 h 192"/>
                <a:gd name="T54" fmla="*/ 71 w 126"/>
                <a:gd name="T55" fmla="*/ 31 h 192"/>
                <a:gd name="T56" fmla="*/ 63 w 126"/>
                <a:gd name="T57" fmla="*/ 29 h 192"/>
                <a:gd name="T58" fmla="*/ 31 w 126"/>
                <a:gd name="T59" fmla="*/ 71 h 192"/>
                <a:gd name="T60" fmla="*/ 63 w 126"/>
                <a:gd name="T61" fmla="*/ 163 h 192"/>
                <a:gd name="T62" fmla="*/ 70 w 126"/>
                <a:gd name="T63" fmla="*/ 162 h 192"/>
                <a:gd name="T64" fmla="*/ 81 w 126"/>
                <a:gd name="T65" fmla="*/ 158 h 192"/>
                <a:gd name="T66" fmla="*/ 90 w 126"/>
                <a:gd name="T67" fmla="*/ 150 h 192"/>
                <a:gd name="T68" fmla="*/ 94 w 126"/>
                <a:gd name="T69" fmla="*/ 138 h 192"/>
                <a:gd name="T70" fmla="*/ 95 w 126"/>
                <a:gd name="T71" fmla="*/ 131 h 192"/>
                <a:gd name="T72" fmla="*/ 93 w 126"/>
                <a:gd name="T73" fmla="*/ 119 h 192"/>
                <a:gd name="T74" fmla="*/ 86 w 126"/>
                <a:gd name="T75" fmla="*/ 108 h 192"/>
                <a:gd name="T76" fmla="*/ 77 w 126"/>
                <a:gd name="T77" fmla="*/ 102 h 192"/>
                <a:gd name="T78" fmla="*/ 63 w 126"/>
                <a:gd name="T79" fmla="*/ 99 h 192"/>
                <a:gd name="T80" fmla="*/ 31 w 126"/>
                <a:gd name="T81" fmla="*/ 163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92">
                  <a:moveTo>
                    <a:pt x="96" y="82"/>
                  </a:moveTo>
                  <a:lnTo>
                    <a:pt x="96" y="82"/>
                  </a:lnTo>
                  <a:lnTo>
                    <a:pt x="102" y="86"/>
                  </a:lnTo>
                  <a:lnTo>
                    <a:pt x="106" y="90"/>
                  </a:lnTo>
                  <a:lnTo>
                    <a:pt x="112" y="95"/>
                  </a:lnTo>
                  <a:lnTo>
                    <a:pt x="117" y="100"/>
                  </a:lnTo>
                  <a:lnTo>
                    <a:pt x="120" y="107"/>
                  </a:lnTo>
                  <a:lnTo>
                    <a:pt x="122" y="115"/>
                  </a:lnTo>
                  <a:lnTo>
                    <a:pt x="125" y="122"/>
                  </a:lnTo>
                  <a:lnTo>
                    <a:pt x="126" y="131"/>
                  </a:lnTo>
                  <a:lnTo>
                    <a:pt x="126" y="131"/>
                  </a:lnTo>
                  <a:lnTo>
                    <a:pt x="125" y="144"/>
                  </a:lnTo>
                  <a:lnTo>
                    <a:pt x="120" y="155"/>
                  </a:lnTo>
                  <a:lnTo>
                    <a:pt x="114" y="166"/>
                  </a:lnTo>
                  <a:lnTo>
                    <a:pt x="108" y="175"/>
                  </a:lnTo>
                  <a:lnTo>
                    <a:pt x="98" y="182"/>
                  </a:lnTo>
                  <a:lnTo>
                    <a:pt x="88" y="188"/>
                  </a:lnTo>
                  <a:lnTo>
                    <a:pt x="77" y="191"/>
                  </a:lnTo>
                  <a:lnTo>
                    <a:pt x="64" y="192"/>
                  </a:lnTo>
                  <a:lnTo>
                    <a:pt x="0" y="192"/>
                  </a:lnTo>
                  <a:lnTo>
                    <a:pt x="0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74" y="1"/>
                  </a:lnTo>
                  <a:lnTo>
                    <a:pt x="84" y="3"/>
                  </a:lnTo>
                  <a:lnTo>
                    <a:pt x="93" y="8"/>
                  </a:lnTo>
                  <a:lnTo>
                    <a:pt x="100" y="13"/>
                  </a:lnTo>
                  <a:lnTo>
                    <a:pt x="106" y="21"/>
                  </a:lnTo>
                  <a:lnTo>
                    <a:pt x="110" y="29"/>
                  </a:lnTo>
                  <a:lnTo>
                    <a:pt x="113" y="39"/>
                  </a:lnTo>
                  <a:lnTo>
                    <a:pt x="113" y="50"/>
                  </a:lnTo>
                  <a:lnTo>
                    <a:pt x="113" y="50"/>
                  </a:lnTo>
                  <a:lnTo>
                    <a:pt x="113" y="56"/>
                  </a:lnTo>
                  <a:lnTo>
                    <a:pt x="112" y="60"/>
                  </a:lnTo>
                  <a:lnTo>
                    <a:pt x="109" y="69"/>
                  </a:lnTo>
                  <a:lnTo>
                    <a:pt x="103" y="78"/>
                  </a:lnTo>
                  <a:lnTo>
                    <a:pt x="96" y="82"/>
                  </a:lnTo>
                  <a:lnTo>
                    <a:pt x="96" y="82"/>
                  </a:lnTo>
                  <a:close/>
                  <a:moveTo>
                    <a:pt x="31" y="71"/>
                  </a:moveTo>
                  <a:lnTo>
                    <a:pt x="63" y="71"/>
                  </a:lnTo>
                  <a:lnTo>
                    <a:pt x="63" y="71"/>
                  </a:lnTo>
                  <a:lnTo>
                    <a:pt x="68" y="69"/>
                  </a:lnTo>
                  <a:lnTo>
                    <a:pt x="71" y="68"/>
                  </a:lnTo>
                  <a:lnTo>
                    <a:pt x="76" y="67"/>
                  </a:lnTo>
                  <a:lnTo>
                    <a:pt x="78" y="65"/>
                  </a:lnTo>
                  <a:lnTo>
                    <a:pt x="80" y="61"/>
                  </a:lnTo>
                  <a:lnTo>
                    <a:pt x="82" y="58"/>
                  </a:lnTo>
                  <a:lnTo>
                    <a:pt x="84" y="55"/>
                  </a:lnTo>
                  <a:lnTo>
                    <a:pt x="84" y="50"/>
                  </a:lnTo>
                  <a:lnTo>
                    <a:pt x="84" y="50"/>
                  </a:lnTo>
                  <a:lnTo>
                    <a:pt x="84" y="45"/>
                  </a:lnTo>
                  <a:lnTo>
                    <a:pt x="82" y="41"/>
                  </a:lnTo>
                  <a:lnTo>
                    <a:pt x="80" y="37"/>
                  </a:lnTo>
                  <a:lnTo>
                    <a:pt x="78" y="35"/>
                  </a:lnTo>
                  <a:lnTo>
                    <a:pt x="76" y="32"/>
                  </a:lnTo>
                  <a:lnTo>
                    <a:pt x="71" y="31"/>
                  </a:lnTo>
                  <a:lnTo>
                    <a:pt x="68" y="29"/>
                  </a:lnTo>
                  <a:lnTo>
                    <a:pt x="63" y="29"/>
                  </a:lnTo>
                  <a:lnTo>
                    <a:pt x="31" y="29"/>
                  </a:lnTo>
                  <a:lnTo>
                    <a:pt x="31" y="71"/>
                  </a:lnTo>
                  <a:close/>
                  <a:moveTo>
                    <a:pt x="31" y="163"/>
                  </a:moveTo>
                  <a:lnTo>
                    <a:pt x="63" y="163"/>
                  </a:lnTo>
                  <a:lnTo>
                    <a:pt x="63" y="163"/>
                  </a:lnTo>
                  <a:lnTo>
                    <a:pt x="70" y="162"/>
                  </a:lnTo>
                  <a:lnTo>
                    <a:pt x="77" y="161"/>
                  </a:lnTo>
                  <a:lnTo>
                    <a:pt x="81" y="158"/>
                  </a:lnTo>
                  <a:lnTo>
                    <a:pt x="86" y="154"/>
                  </a:lnTo>
                  <a:lnTo>
                    <a:pt x="90" y="150"/>
                  </a:lnTo>
                  <a:lnTo>
                    <a:pt x="93" y="144"/>
                  </a:lnTo>
                  <a:lnTo>
                    <a:pt x="94" y="138"/>
                  </a:lnTo>
                  <a:lnTo>
                    <a:pt x="95" y="131"/>
                  </a:lnTo>
                  <a:lnTo>
                    <a:pt x="95" y="131"/>
                  </a:lnTo>
                  <a:lnTo>
                    <a:pt x="94" y="124"/>
                  </a:lnTo>
                  <a:lnTo>
                    <a:pt x="93" y="119"/>
                  </a:lnTo>
                  <a:lnTo>
                    <a:pt x="90" y="113"/>
                  </a:lnTo>
                  <a:lnTo>
                    <a:pt x="86" y="108"/>
                  </a:lnTo>
                  <a:lnTo>
                    <a:pt x="81" y="104"/>
                  </a:lnTo>
                  <a:lnTo>
                    <a:pt x="77" y="102"/>
                  </a:lnTo>
                  <a:lnTo>
                    <a:pt x="70" y="100"/>
                  </a:lnTo>
                  <a:lnTo>
                    <a:pt x="63" y="99"/>
                  </a:lnTo>
                  <a:lnTo>
                    <a:pt x="31" y="99"/>
                  </a:lnTo>
                  <a:lnTo>
                    <a:pt x="31" y="16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538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2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82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"/>
            <p:cNvSpPr>
              <a:spLocks/>
            </p:cNvSpPr>
            <p:nvPr userDrawn="1"/>
          </p:nvSpPr>
          <p:spPr bwMode="auto">
            <a:xfrm>
              <a:off x="594" y="3756"/>
              <a:ext cx="10" cy="66"/>
            </a:xfrm>
            <a:custGeom>
              <a:avLst/>
              <a:gdLst>
                <a:gd name="T0" fmla="*/ 0 w 31"/>
                <a:gd name="T1" fmla="*/ 4 h 196"/>
                <a:gd name="T2" fmla="*/ 31 w 31"/>
                <a:gd name="T3" fmla="*/ 0 h 196"/>
                <a:gd name="T4" fmla="*/ 31 w 31"/>
                <a:gd name="T5" fmla="*/ 196 h 196"/>
                <a:gd name="T6" fmla="*/ 0 w 31"/>
                <a:gd name="T7" fmla="*/ 196 h 196"/>
                <a:gd name="T8" fmla="*/ 0 w 31"/>
                <a:gd name="T9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96">
                  <a:moveTo>
                    <a:pt x="0" y="4"/>
                  </a:moveTo>
                  <a:lnTo>
                    <a:pt x="31" y="0"/>
                  </a:lnTo>
                  <a:lnTo>
                    <a:pt x="31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"/>
            <p:cNvSpPr>
              <a:spLocks noEditPoints="1"/>
            </p:cNvSpPr>
            <p:nvPr userDrawn="1"/>
          </p:nvSpPr>
          <p:spPr bwMode="auto">
            <a:xfrm>
              <a:off x="612" y="3775"/>
              <a:ext cx="43" cy="70"/>
            </a:xfrm>
            <a:custGeom>
              <a:avLst/>
              <a:gdLst>
                <a:gd name="T0" fmla="*/ 70 w 129"/>
                <a:gd name="T1" fmla="*/ 0 h 209"/>
                <a:gd name="T2" fmla="*/ 91 w 129"/>
                <a:gd name="T3" fmla="*/ 8 h 209"/>
                <a:gd name="T4" fmla="*/ 121 w 129"/>
                <a:gd name="T5" fmla="*/ 55 h 209"/>
                <a:gd name="T6" fmla="*/ 116 w 129"/>
                <a:gd name="T7" fmla="*/ 78 h 209"/>
                <a:gd name="T8" fmla="*/ 102 w 129"/>
                <a:gd name="T9" fmla="*/ 96 h 209"/>
                <a:gd name="T10" fmla="*/ 117 w 129"/>
                <a:gd name="T11" fmla="*/ 112 h 209"/>
                <a:gd name="T12" fmla="*/ 126 w 129"/>
                <a:gd name="T13" fmla="*/ 131 h 209"/>
                <a:gd name="T14" fmla="*/ 129 w 129"/>
                <a:gd name="T15" fmla="*/ 146 h 209"/>
                <a:gd name="T16" fmla="*/ 117 w 129"/>
                <a:gd name="T17" fmla="*/ 183 h 209"/>
                <a:gd name="T18" fmla="*/ 90 w 129"/>
                <a:gd name="T19" fmla="*/ 204 h 209"/>
                <a:gd name="T20" fmla="*/ 65 w 129"/>
                <a:gd name="T21" fmla="*/ 209 h 209"/>
                <a:gd name="T22" fmla="*/ 30 w 129"/>
                <a:gd name="T23" fmla="*/ 201 h 209"/>
                <a:gd name="T24" fmla="*/ 8 w 129"/>
                <a:gd name="T25" fmla="*/ 178 h 209"/>
                <a:gd name="T26" fmla="*/ 31 w 129"/>
                <a:gd name="T27" fmla="*/ 157 h 209"/>
                <a:gd name="T28" fmla="*/ 36 w 129"/>
                <a:gd name="T29" fmla="*/ 167 h 209"/>
                <a:gd name="T30" fmla="*/ 46 w 129"/>
                <a:gd name="T31" fmla="*/ 177 h 209"/>
                <a:gd name="T32" fmla="*/ 65 w 129"/>
                <a:gd name="T33" fmla="*/ 180 h 209"/>
                <a:gd name="T34" fmla="*/ 78 w 129"/>
                <a:gd name="T35" fmla="*/ 178 h 209"/>
                <a:gd name="T36" fmla="*/ 92 w 129"/>
                <a:gd name="T37" fmla="*/ 167 h 209"/>
                <a:gd name="T38" fmla="*/ 98 w 129"/>
                <a:gd name="T39" fmla="*/ 146 h 209"/>
                <a:gd name="T40" fmla="*/ 95 w 129"/>
                <a:gd name="T41" fmla="*/ 132 h 209"/>
                <a:gd name="T42" fmla="*/ 84 w 129"/>
                <a:gd name="T43" fmla="*/ 117 h 209"/>
                <a:gd name="T44" fmla="*/ 65 w 129"/>
                <a:gd name="T45" fmla="*/ 112 h 209"/>
                <a:gd name="T46" fmla="*/ 54 w 129"/>
                <a:gd name="T47" fmla="*/ 113 h 209"/>
                <a:gd name="T48" fmla="*/ 34 w 129"/>
                <a:gd name="T49" fmla="*/ 130 h 209"/>
                <a:gd name="T50" fmla="*/ 18 w 129"/>
                <a:gd name="T51" fmla="*/ 101 h 209"/>
                <a:gd name="T52" fmla="*/ 18 w 129"/>
                <a:gd name="T53" fmla="*/ 88 h 209"/>
                <a:gd name="T54" fmla="*/ 7 w 129"/>
                <a:gd name="T55" fmla="*/ 55 h 209"/>
                <a:gd name="T56" fmla="*/ 11 w 129"/>
                <a:gd name="T57" fmla="*/ 34 h 209"/>
                <a:gd name="T58" fmla="*/ 30 w 129"/>
                <a:gd name="T59" fmla="*/ 10 h 209"/>
                <a:gd name="T60" fmla="*/ 62 w 129"/>
                <a:gd name="T61" fmla="*/ 0 h 209"/>
                <a:gd name="T62" fmla="*/ 65 w 129"/>
                <a:gd name="T63" fmla="*/ 83 h 209"/>
                <a:gd name="T64" fmla="*/ 79 w 129"/>
                <a:gd name="T65" fmla="*/ 78 h 209"/>
                <a:gd name="T66" fmla="*/ 89 w 129"/>
                <a:gd name="T67" fmla="*/ 67 h 209"/>
                <a:gd name="T68" fmla="*/ 91 w 129"/>
                <a:gd name="T69" fmla="*/ 55 h 209"/>
                <a:gd name="T70" fmla="*/ 86 w 129"/>
                <a:gd name="T71" fmla="*/ 41 h 209"/>
                <a:gd name="T72" fmla="*/ 75 w 129"/>
                <a:gd name="T73" fmla="*/ 30 h 209"/>
                <a:gd name="T74" fmla="*/ 65 w 129"/>
                <a:gd name="T75" fmla="*/ 29 h 209"/>
                <a:gd name="T76" fmla="*/ 49 w 129"/>
                <a:gd name="T77" fmla="*/ 33 h 209"/>
                <a:gd name="T78" fmla="*/ 39 w 129"/>
                <a:gd name="T79" fmla="*/ 45 h 209"/>
                <a:gd name="T80" fmla="*/ 37 w 129"/>
                <a:gd name="T81" fmla="*/ 55 h 209"/>
                <a:gd name="T82" fmla="*/ 42 w 129"/>
                <a:gd name="T83" fmla="*/ 71 h 209"/>
                <a:gd name="T84" fmla="*/ 53 w 129"/>
                <a:gd name="T85" fmla="*/ 81 h 209"/>
                <a:gd name="T86" fmla="*/ 65 w 129"/>
                <a:gd name="T87" fmla="*/ 83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9" h="209">
                  <a:moveTo>
                    <a:pt x="62" y="0"/>
                  </a:moveTo>
                  <a:lnTo>
                    <a:pt x="62" y="0"/>
                  </a:lnTo>
                  <a:lnTo>
                    <a:pt x="70" y="0"/>
                  </a:lnTo>
                  <a:lnTo>
                    <a:pt x="77" y="2"/>
                  </a:lnTo>
                  <a:lnTo>
                    <a:pt x="84" y="5"/>
                  </a:lnTo>
                  <a:lnTo>
                    <a:pt x="91" y="8"/>
                  </a:lnTo>
                  <a:lnTo>
                    <a:pt x="91" y="2"/>
                  </a:lnTo>
                  <a:lnTo>
                    <a:pt x="121" y="2"/>
                  </a:lnTo>
                  <a:lnTo>
                    <a:pt x="121" y="55"/>
                  </a:lnTo>
                  <a:lnTo>
                    <a:pt x="121" y="55"/>
                  </a:lnTo>
                  <a:lnTo>
                    <a:pt x="120" y="68"/>
                  </a:lnTo>
                  <a:lnTo>
                    <a:pt x="116" y="78"/>
                  </a:lnTo>
                  <a:lnTo>
                    <a:pt x="110" y="88"/>
                  </a:lnTo>
                  <a:lnTo>
                    <a:pt x="102" y="96"/>
                  </a:lnTo>
                  <a:lnTo>
                    <a:pt x="102" y="96"/>
                  </a:lnTo>
                  <a:lnTo>
                    <a:pt x="108" y="100"/>
                  </a:lnTo>
                  <a:lnTo>
                    <a:pt x="113" y="106"/>
                  </a:lnTo>
                  <a:lnTo>
                    <a:pt x="117" y="112"/>
                  </a:lnTo>
                  <a:lnTo>
                    <a:pt x="122" y="117"/>
                  </a:lnTo>
                  <a:lnTo>
                    <a:pt x="124" y="124"/>
                  </a:lnTo>
                  <a:lnTo>
                    <a:pt x="126" y="131"/>
                  </a:lnTo>
                  <a:lnTo>
                    <a:pt x="128" y="138"/>
                  </a:lnTo>
                  <a:lnTo>
                    <a:pt x="129" y="146"/>
                  </a:lnTo>
                  <a:lnTo>
                    <a:pt x="129" y="146"/>
                  </a:lnTo>
                  <a:lnTo>
                    <a:pt x="126" y="160"/>
                  </a:lnTo>
                  <a:lnTo>
                    <a:pt x="123" y="172"/>
                  </a:lnTo>
                  <a:lnTo>
                    <a:pt x="117" y="183"/>
                  </a:lnTo>
                  <a:lnTo>
                    <a:pt x="109" y="192"/>
                  </a:lnTo>
                  <a:lnTo>
                    <a:pt x="100" y="200"/>
                  </a:lnTo>
                  <a:lnTo>
                    <a:pt x="90" y="204"/>
                  </a:lnTo>
                  <a:lnTo>
                    <a:pt x="77" y="208"/>
                  </a:lnTo>
                  <a:lnTo>
                    <a:pt x="65" y="209"/>
                  </a:lnTo>
                  <a:lnTo>
                    <a:pt x="65" y="209"/>
                  </a:lnTo>
                  <a:lnTo>
                    <a:pt x="52" y="208"/>
                  </a:lnTo>
                  <a:lnTo>
                    <a:pt x="40" y="206"/>
                  </a:lnTo>
                  <a:lnTo>
                    <a:pt x="30" y="201"/>
                  </a:lnTo>
                  <a:lnTo>
                    <a:pt x="21" y="195"/>
                  </a:lnTo>
                  <a:lnTo>
                    <a:pt x="14" y="187"/>
                  </a:lnTo>
                  <a:lnTo>
                    <a:pt x="8" y="178"/>
                  </a:lnTo>
                  <a:lnTo>
                    <a:pt x="3" y="168"/>
                  </a:lnTo>
                  <a:lnTo>
                    <a:pt x="0" y="157"/>
                  </a:lnTo>
                  <a:lnTo>
                    <a:pt x="31" y="157"/>
                  </a:lnTo>
                  <a:lnTo>
                    <a:pt x="31" y="157"/>
                  </a:lnTo>
                  <a:lnTo>
                    <a:pt x="34" y="162"/>
                  </a:lnTo>
                  <a:lnTo>
                    <a:pt x="36" y="167"/>
                  </a:lnTo>
                  <a:lnTo>
                    <a:pt x="39" y="170"/>
                  </a:lnTo>
                  <a:lnTo>
                    <a:pt x="43" y="173"/>
                  </a:lnTo>
                  <a:lnTo>
                    <a:pt x="46" y="177"/>
                  </a:lnTo>
                  <a:lnTo>
                    <a:pt x="52" y="179"/>
                  </a:lnTo>
                  <a:lnTo>
                    <a:pt x="58" y="180"/>
                  </a:lnTo>
                  <a:lnTo>
                    <a:pt x="65" y="180"/>
                  </a:lnTo>
                  <a:lnTo>
                    <a:pt x="65" y="180"/>
                  </a:lnTo>
                  <a:lnTo>
                    <a:pt x="71" y="180"/>
                  </a:lnTo>
                  <a:lnTo>
                    <a:pt x="78" y="178"/>
                  </a:lnTo>
                  <a:lnTo>
                    <a:pt x="84" y="176"/>
                  </a:lnTo>
                  <a:lnTo>
                    <a:pt x="89" y="171"/>
                  </a:lnTo>
                  <a:lnTo>
                    <a:pt x="92" y="167"/>
                  </a:lnTo>
                  <a:lnTo>
                    <a:pt x="95" y="160"/>
                  </a:lnTo>
                  <a:lnTo>
                    <a:pt x="97" y="153"/>
                  </a:lnTo>
                  <a:lnTo>
                    <a:pt x="98" y="146"/>
                  </a:lnTo>
                  <a:lnTo>
                    <a:pt x="98" y="146"/>
                  </a:lnTo>
                  <a:lnTo>
                    <a:pt x="97" y="139"/>
                  </a:lnTo>
                  <a:lnTo>
                    <a:pt x="95" y="132"/>
                  </a:lnTo>
                  <a:lnTo>
                    <a:pt x="92" y="126"/>
                  </a:lnTo>
                  <a:lnTo>
                    <a:pt x="89" y="121"/>
                  </a:lnTo>
                  <a:lnTo>
                    <a:pt x="84" y="117"/>
                  </a:lnTo>
                  <a:lnTo>
                    <a:pt x="78" y="114"/>
                  </a:lnTo>
                  <a:lnTo>
                    <a:pt x="71" y="112"/>
                  </a:lnTo>
                  <a:lnTo>
                    <a:pt x="65" y="112"/>
                  </a:lnTo>
                  <a:lnTo>
                    <a:pt x="65" y="112"/>
                  </a:lnTo>
                  <a:lnTo>
                    <a:pt x="59" y="112"/>
                  </a:lnTo>
                  <a:lnTo>
                    <a:pt x="54" y="113"/>
                  </a:lnTo>
                  <a:lnTo>
                    <a:pt x="46" y="116"/>
                  </a:lnTo>
                  <a:lnTo>
                    <a:pt x="39" y="122"/>
                  </a:lnTo>
                  <a:lnTo>
                    <a:pt x="34" y="130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8" y="101"/>
                  </a:lnTo>
                  <a:lnTo>
                    <a:pt x="26" y="96"/>
                  </a:lnTo>
                  <a:lnTo>
                    <a:pt x="26" y="96"/>
                  </a:lnTo>
                  <a:lnTo>
                    <a:pt x="18" y="88"/>
                  </a:lnTo>
                  <a:lnTo>
                    <a:pt x="12" y="78"/>
                  </a:lnTo>
                  <a:lnTo>
                    <a:pt x="8" y="68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45"/>
                  </a:lnTo>
                  <a:lnTo>
                    <a:pt x="11" y="34"/>
                  </a:lnTo>
                  <a:lnTo>
                    <a:pt x="16" y="25"/>
                  </a:lnTo>
                  <a:lnTo>
                    <a:pt x="22" y="16"/>
                  </a:lnTo>
                  <a:lnTo>
                    <a:pt x="30" y="10"/>
                  </a:lnTo>
                  <a:lnTo>
                    <a:pt x="40" y="5"/>
                  </a:lnTo>
                  <a:lnTo>
                    <a:pt x="51" y="2"/>
                  </a:lnTo>
                  <a:lnTo>
                    <a:pt x="62" y="0"/>
                  </a:lnTo>
                  <a:lnTo>
                    <a:pt x="62" y="0"/>
                  </a:lnTo>
                  <a:close/>
                  <a:moveTo>
                    <a:pt x="65" y="83"/>
                  </a:moveTo>
                  <a:lnTo>
                    <a:pt x="65" y="83"/>
                  </a:lnTo>
                  <a:lnTo>
                    <a:pt x="69" y="82"/>
                  </a:lnTo>
                  <a:lnTo>
                    <a:pt x="75" y="81"/>
                  </a:lnTo>
                  <a:lnTo>
                    <a:pt x="79" y="78"/>
                  </a:lnTo>
                  <a:lnTo>
                    <a:pt x="83" y="75"/>
                  </a:lnTo>
                  <a:lnTo>
                    <a:pt x="86" y="71"/>
                  </a:lnTo>
                  <a:lnTo>
                    <a:pt x="89" y="67"/>
                  </a:lnTo>
                  <a:lnTo>
                    <a:pt x="90" y="62"/>
                  </a:lnTo>
                  <a:lnTo>
                    <a:pt x="91" y="55"/>
                  </a:lnTo>
                  <a:lnTo>
                    <a:pt x="91" y="55"/>
                  </a:lnTo>
                  <a:lnTo>
                    <a:pt x="90" y="50"/>
                  </a:lnTo>
                  <a:lnTo>
                    <a:pt x="89" y="45"/>
                  </a:lnTo>
                  <a:lnTo>
                    <a:pt x="86" y="41"/>
                  </a:lnTo>
                  <a:lnTo>
                    <a:pt x="83" y="36"/>
                  </a:lnTo>
                  <a:lnTo>
                    <a:pt x="79" y="33"/>
                  </a:lnTo>
                  <a:lnTo>
                    <a:pt x="75" y="30"/>
                  </a:lnTo>
                  <a:lnTo>
                    <a:pt x="69" y="29"/>
                  </a:lnTo>
                  <a:lnTo>
                    <a:pt x="65" y="29"/>
                  </a:lnTo>
                  <a:lnTo>
                    <a:pt x="65" y="29"/>
                  </a:lnTo>
                  <a:lnTo>
                    <a:pt x="59" y="29"/>
                  </a:lnTo>
                  <a:lnTo>
                    <a:pt x="53" y="30"/>
                  </a:lnTo>
                  <a:lnTo>
                    <a:pt x="49" y="33"/>
                  </a:lnTo>
                  <a:lnTo>
                    <a:pt x="45" y="36"/>
                  </a:lnTo>
                  <a:lnTo>
                    <a:pt x="42" y="41"/>
                  </a:lnTo>
                  <a:lnTo>
                    <a:pt x="39" y="45"/>
                  </a:lnTo>
                  <a:lnTo>
                    <a:pt x="38" y="50"/>
                  </a:lnTo>
                  <a:lnTo>
                    <a:pt x="37" y="55"/>
                  </a:lnTo>
                  <a:lnTo>
                    <a:pt x="37" y="55"/>
                  </a:lnTo>
                  <a:lnTo>
                    <a:pt x="38" y="62"/>
                  </a:lnTo>
                  <a:lnTo>
                    <a:pt x="39" y="67"/>
                  </a:lnTo>
                  <a:lnTo>
                    <a:pt x="42" y="71"/>
                  </a:lnTo>
                  <a:lnTo>
                    <a:pt x="45" y="75"/>
                  </a:lnTo>
                  <a:lnTo>
                    <a:pt x="49" y="78"/>
                  </a:lnTo>
                  <a:lnTo>
                    <a:pt x="53" y="81"/>
                  </a:lnTo>
                  <a:lnTo>
                    <a:pt x="59" y="82"/>
                  </a:lnTo>
                  <a:lnTo>
                    <a:pt x="65" y="83"/>
                  </a:lnTo>
                  <a:lnTo>
                    <a:pt x="65" y="8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3"/>
            <p:cNvSpPr>
              <a:spLocks noEditPoints="1"/>
            </p:cNvSpPr>
            <p:nvPr userDrawn="1"/>
          </p:nvSpPr>
          <p:spPr bwMode="auto">
            <a:xfrm>
              <a:off x="664" y="3757"/>
              <a:ext cx="13" cy="65"/>
            </a:xfrm>
            <a:custGeom>
              <a:avLst/>
              <a:gdLst>
                <a:gd name="T0" fmla="*/ 21 w 40"/>
                <a:gd name="T1" fmla="*/ 0 h 194"/>
                <a:gd name="T2" fmla="*/ 21 w 40"/>
                <a:gd name="T3" fmla="*/ 0 h 194"/>
                <a:gd name="T4" fmla="*/ 24 w 40"/>
                <a:gd name="T5" fmla="*/ 0 h 194"/>
                <a:gd name="T6" fmla="*/ 28 w 40"/>
                <a:gd name="T7" fmla="*/ 2 h 194"/>
                <a:gd name="T8" fmla="*/ 31 w 40"/>
                <a:gd name="T9" fmla="*/ 4 h 194"/>
                <a:gd name="T10" fmla="*/ 34 w 40"/>
                <a:gd name="T11" fmla="*/ 6 h 194"/>
                <a:gd name="T12" fmla="*/ 37 w 40"/>
                <a:gd name="T13" fmla="*/ 10 h 194"/>
                <a:gd name="T14" fmla="*/ 39 w 40"/>
                <a:gd name="T15" fmla="*/ 13 h 194"/>
                <a:gd name="T16" fmla="*/ 40 w 40"/>
                <a:gd name="T17" fmla="*/ 16 h 194"/>
                <a:gd name="T18" fmla="*/ 40 w 40"/>
                <a:gd name="T19" fmla="*/ 21 h 194"/>
                <a:gd name="T20" fmla="*/ 40 w 40"/>
                <a:gd name="T21" fmla="*/ 21 h 194"/>
                <a:gd name="T22" fmla="*/ 40 w 40"/>
                <a:gd name="T23" fmla="*/ 26 h 194"/>
                <a:gd name="T24" fmla="*/ 39 w 40"/>
                <a:gd name="T25" fmla="*/ 29 h 194"/>
                <a:gd name="T26" fmla="*/ 37 w 40"/>
                <a:gd name="T27" fmla="*/ 33 h 194"/>
                <a:gd name="T28" fmla="*/ 34 w 40"/>
                <a:gd name="T29" fmla="*/ 36 h 194"/>
                <a:gd name="T30" fmla="*/ 31 w 40"/>
                <a:gd name="T31" fmla="*/ 38 h 194"/>
                <a:gd name="T32" fmla="*/ 28 w 40"/>
                <a:gd name="T33" fmla="*/ 39 h 194"/>
                <a:gd name="T34" fmla="*/ 24 w 40"/>
                <a:gd name="T35" fmla="*/ 41 h 194"/>
                <a:gd name="T36" fmla="*/ 21 w 40"/>
                <a:gd name="T37" fmla="*/ 42 h 194"/>
                <a:gd name="T38" fmla="*/ 21 w 40"/>
                <a:gd name="T39" fmla="*/ 42 h 194"/>
                <a:gd name="T40" fmla="*/ 16 w 40"/>
                <a:gd name="T41" fmla="*/ 41 h 194"/>
                <a:gd name="T42" fmla="*/ 13 w 40"/>
                <a:gd name="T43" fmla="*/ 39 h 194"/>
                <a:gd name="T44" fmla="*/ 9 w 40"/>
                <a:gd name="T45" fmla="*/ 38 h 194"/>
                <a:gd name="T46" fmla="*/ 6 w 40"/>
                <a:gd name="T47" fmla="*/ 36 h 194"/>
                <a:gd name="T48" fmla="*/ 3 w 40"/>
                <a:gd name="T49" fmla="*/ 33 h 194"/>
                <a:gd name="T50" fmla="*/ 1 w 40"/>
                <a:gd name="T51" fmla="*/ 29 h 194"/>
                <a:gd name="T52" fmla="*/ 0 w 40"/>
                <a:gd name="T53" fmla="*/ 26 h 194"/>
                <a:gd name="T54" fmla="*/ 0 w 40"/>
                <a:gd name="T55" fmla="*/ 21 h 194"/>
                <a:gd name="T56" fmla="*/ 0 w 40"/>
                <a:gd name="T57" fmla="*/ 21 h 194"/>
                <a:gd name="T58" fmla="*/ 0 w 40"/>
                <a:gd name="T59" fmla="*/ 16 h 194"/>
                <a:gd name="T60" fmla="*/ 1 w 40"/>
                <a:gd name="T61" fmla="*/ 13 h 194"/>
                <a:gd name="T62" fmla="*/ 3 w 40"/>
                <a:gd name="T63" fmla="*/ 10 h 194"/>
                <a:gd name="T64" fmla="*/ 6 w 40"/>
                <a:gd name="T65" fmla="*/ 6 h 194"/>
                <a:gd name="T66" fmla="*/ 9 w 40"/>
                <a:gd name="T67" fmla="*/ 4 h 194"/>
                <a:gd name="T68" fmla="*/ 13 w 40"/>
                <a:gd name="T69" fmla="*/ 2 h 194"/>
                <a:gd name="T70" fmla="*/ 16 w 40"/>
                <a:gd name="T71" fmla="*/ 0 h 194"/>
                <a:gd name="T72" fmla="*/ 21 w 40"/>
                <a:gd name="T73" fmla="*/ 0 h 194"/>
                <a:gd name="T74" fmla="*/ 21 w 40"/>
                <a:gd name="T75" fmla="*/ 0 h 194"/>
                <a:gd name="T76" fmla="*/ 5 w 40"/>
                <a:gd name="T77" fmla="*/ 57 h 194"/>
                <a:gd name="T78" fmla="*/ 36 w 40"/>
                <a:gd name="T79" fmla="*/ 57 h 194"/>
                <a:gd name="T80" fmla="*/ 36 w 40"/>
                <a:gd name="T81" fmla="*/ 194 h 194"/>
                <a:gd name="T82" fmla="*/ 5 w 40"/>
                <a:gd name="T83" fmla="*/ 194 h 194"/>
                <a:gd name="T84" fmla="*/ 5 w 40"/>
                <a:gd name="T85" fmla="*/ 57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" h="194">
                  <a:moveTo>
                    <a:pt x="21" y="0"/>
                  </a:moveTo>
                  <a:lnTo>
                    <a:pt x="21" y="0"/>
                  </a:lnTo>
                  <a:lnTo>
                    <a:pt x="24" y="0"/>
                  </a:lnTo>
                  <a:lnTo>
                    <a:pt x="28" y="2"/>
                  </a:lnTo>
                  <a:lnTo>
                    <a:pt x="31" y="4"/>
                  </a:lnTo>
                  <a:lnTo>
                    <a:pt x="34" y="6"/>
                  </a:lnTo>
                  <a:lnTo>
                    <a:pt x="37" y="10"/>
                  </a:lnTo>
                  <a:lnTo>
                    <a:pt x="39" y="13"/>
                  </a:lnTo>
                  <a:lnTo>
                    <a:pt x="40" y="16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6"/>
                  </a:lnTo>
                  <a:lnTo>
                    <a:pt x="39" y="29"/>
                  </a:lnTo>
                  <a:lnTo>
                    <a:pt x="37" y="33"/>
                  </a:lnTo>
                  <a:lnTo>
                    <a:pt x="34" y="36"/>
                  </a:lnTo>
                  <a:lnTo>
                    <a:pt x="31" y="38"/>
                  </a:lnTo>
                  <a:lnTo>
                    <a:pt x="28" y="39"/>
                  </a:lnTo>
                  <a:lnTo>
                    <a:pt x="24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16" y="41"/>
                  </a:lnTo>
                  <a:lnTo>
                    <a:pt x="13" y="39"/>
                  </a:lnTo>
                  <a:lnTo>
                    <a:pt x="9" y="38"/>
                  </a:lnTo>
                  <a:lnTo>
                    <a:pt x="6" y="36"/>
                  </a:lnTo>
                  <a:lnTo>
                    <a:pt x="3" y="33"/>
                  </a:lnTo>
                  <a:lnTo>
                    <a:pt x="1" y="29"/>
                  </a:lnTo>
                  <a:lnTo>
                    <a:pt x="0" y="26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16"/>
                  </a:lnTo>
                  <a:lnTo>
                    <a:pt x="1" y="13"/>
                  </a:lnTo>
                  <a:lnTo>
                    <a:pt x="3" y="10"/>
                  </a:lnTo>
                  <a:lnTo>
                    <a:pt x="6" y="6"/>
                  </a:lnTo>
                  <a:lnTo>
                    <a:pt x="9" y="4"/>
                  </a:lnTo>
                  <a:lnTo>
                    <a:pt x="13" y="2"/>
                  </a:lnTo>
                  <a:lnTo>
                    <a:pt x="16" y="0"/>
                  </a:lnTo>
                  <a:lnTo>
                    <a:pt x="21" y="0"/>
                  </a:lnTo>
                  <a:lnTo>
                    <a:pt x="21" y="0"/>
                  </a:lnTo>
                  <a:close/>
                  <a:moveTo>
                    <a:pt x="5" y="57"/>
                  </a:moveTo>
                  <a:lnTo>
                    <a:pt x="36" y="57"/>
                  </a:lnTo>
                  <a:lnTo>
                    <a:pt x="36" y="194"/>
                  </a:lnTo>
                  <a:lnTo>
                    <a:pt x="5" y="194"/>
                  </a:lnTo>
                  <a:lnTo>
                    <a:pt x="5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"/>
            <p:cNvSpPr>
              <a:spLocks noEditPoints="1"/>
            </p:cNvSpPr>
            <p:nvPr userDrawn="1"/>
          </p:nvSpPr>
          <p:spPr bwMode="auto">
            <a:xfrm>
              <a:off x="684" y="3775"/>
              <a:ext cx="47" cy="47"/>
            </a:xfrm>
            <a:custGeom>
              <a:avLst/>
              <a:gdLst>
                <a:gd name="T0" fmla="*/ 139 w 139"/>
                <a:gd name="T1" fmla="*/ 139 h 140"/>
                <a:gd name="T2" fmla="*/ 109 w 139"/>
                <a:gd name="T3" fmla="*/ 125 h 140"/>
                <a:gd name="T4" fmla="*/ 102 w 139"/>
                <a:gd name="T5" fmla="*/ 130 h 140"/>
                <a:gd name="T6" fmla="*/ 82 w 139"/>
                <a:gd name="T7" fmla="*/ 139 h 140"/>
                <a:gd name="T8" fmla="*/ 69 w 139"/>
                <a:gd name="T9" fmla="*/ 140 h 140"/>
                <a:gd name="T10" fmla="*/ 55 w 139"/>
                <a:gd name="T11" fmla="*/ 139 h 140"/>
                <a:gd name="T12" fmla="*/ 30 w 139"/>
                <a:gd name="T13" fmla="*/ 130 h 140"/>
                <a:gd name="T14" fmla="*/ 11 w 139"/>
                <a:gd name="T15" fmla="*/ 110 h 140"/>
                <a:gd name="T16" fmla="*/ 3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6 w 139"/>
                <a:gd name="T25" fmla="*/ 42 h 140"/>
                <a:gd name="T26" fmla="*/ 19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9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3 w 139"/>
                <a:gd name="T47" fmla="*/ 54 h 140"/>
                <a:gd name="T48" fmla="*/ 30 w 139"/>
                <a:gd name="T49" fmla="*/ 70 h 140"/>
                <a:gd name="T50" fmla="*/ 31 w 139"/>
                <a:gd name="T51" fmla="*/ 78 h 140"/>
                <a:gd name="T52" fmla="*/ 37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6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10 w 139"/>
                <a:gd name="T67" fmla="*/ 70 h 140"/>
                <a:gd name="T68" fmla="*/ 109 w 139"/>
                <a:gd name="T69" fmla="*/ 62 h 140"/>
                <a:gd name="T70" fmla="*/ 103 w 139"/>
                <a:gd name="T71" fmla="*/ 47 h 140"/>
                <a:gd name="T72" fmla="*/ 93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9" y="139"/>
                  </a:lnTo>
                  <a:lnTo>
                    <a:pt x="109" y="125"/>
                  </a:lnTo>
                  <a:lnTo>
                    <a:pt x="109" y="125"/>
                  </a:lnTo>
                  <a:lnTo>
                    <a:pt x="102" y="130"/>
                  </a:lnTo>
                  <a:lnTo>
                    <a:pt x="94" y="136"/>
                  </a:lnTo>
                  <a:lnTo>
                    <a:pt x="82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5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19" y="121"/>
                  </a:lnTo>
                  <a:lnTo>
                    <a:pt x="11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3" y="49"/>
                  </a:lnTo>
                  <a:lnTo>
                    <a:pt x="6" y="42"/>
                  </a:lnTo>
                  <a:lnTo>
                    <a:pt x="11" y="30"/>
                  </a:lnTo>
                  <a:lnTo>
                    <a:pt x="19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2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9" y="16"/>
                  </a:lnTo>
                  <a:lnTo>
                    <a:pt x="109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7" y="47"/>
                  </a:lnTo>
                  <a:lnTo>
                    <a:pt x="33" y="54"/>
                  </a:lnTo>
                  <a:lnTo>
                    <a:pt x="31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8"/>
                  </a:lnTo>
                  <a:lnTo>
                    <a:pt x="33" y="86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6" y="108"/>
                  </a:lnTo>
                  <a:lnTo>
                    <a:pt x="93" y="105"/>
                  </a:lnTo>
                  <a:lnTo>
                    <a:pt x="98" y="99"/>
                  </a:lnTo>
                  <a:lnTo>
                    <a:pt x="103" y="93"/>
                  </a:lnTo>
                  <a:lnTo>
                    <a:pt x="106" y="86"/>
                  </a:lnTo>
                  <a:lnTo>
                    <a:pt x="109" y="78"/>
                  </a:lnTo>
                  <a:lnTo>
                    <a:pt x="110" y="70"/>
                  </a:lnTo>
                  <a:lnTo>
                    <a:pt x="110" y="70"/>
                  </a:lnTo>
                  <a:lnTo>
                    <a:pt x="109" y="62"/>
                  </a:lnTo>
                  <a:lnTo>
                    <a:pt x="106" y="54"/>
                  </a:lnTo>
                  <a:lnTo>
                    <a:pt x="103" y="47"/>
                  </a:lnTo>
                  <a:lnTo>
                    <a:pt x="98" y="42"/>
                  </a:lnTo>
                  <a:lnTo>
                    <a:pt x="93" y="36"/>
                  </a:lnTo>
                  <a:lnTo>
                    <a:pt x="86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5"/>
            <p:cNvSpPr>
              <a:spLocks/>
            </p:cNvSpPr>
            <p:nvPr userDrawn="1"/>
          </p:nvSpPr>
          <p:spPr bwMode="auto">
            <a:xfrm>
              <a:off x="742" y="3775"/>
              <a:ext cx="40" cy="47"/>
            </a:xfrm>
            <a:custGeom>
              <a:avLst/>
              <a:gdLst>
                <a:gd name="T0" fmla="*/ 0 w 120"/>
                <a:gd name="T1" fmla="*/ 2 h 139"/>
                <a:gd name="T2" fmla="*/ 30 w 120"/>
                <a:gd name="T3" fmla="*/ 2 h 139"/>
                <a:gd name="T4" fmla="*/ 30 w 120"/>
                <a:gd name="T5" fmla="*/ 18 h 139"/>
                <a:gd name="T6" fmla="*/ 30 w 120"/>
                <a:gd name="T7" fmla="*/ 18 h 139"/>
                <a:gd name="T8" fmla="*/ 36 w 120"/>
                <a:gd name="T9" fmla="*/ 12 h 139"/>
                <a:gd name="T10" fmla="*/ 44 w 120"/>
                <a:gd name="T11" fmla="*/ 6 h 139"/>
                <a:gd name="T12" fmla="*/ 49 w 120"/>
                <a:gd name="T13" fmla="*/ 4 h 139"/>
                <a:gd name="T14" fmla="*/ 55 w 120"/>
                <a:gd name="T15" fmla="*/ 2 h 139"/>
                <a:gd name="T16" fmla="*/ 61 w 120"/>
                <a:gd name="T17" fmla="*/ 0 h 139"/>
                <a:gd name="T18" fmla="*/ 68 w 120"/>
                <a:gd name="T19" fmla="*/ 0 h 139"/>
                <a:gd name="T20" fmla="*/ 68 w 120"/>
                <a:gd name="T21" fmla="*/ 0 h 139"/>
                <a:gd name="T22" fmla="*/ 80 w 120"/>
                <a:gd name="T23" fmla="*/ 2 h 139"/>
                <a:gd name="T24" fmla="*/ 91 w 120"/>
                <a:gd name="T25" fmla="*/ 4 h 139"/>
                <a:gd name="T26" fmla="*/ 100 w 120"/>
                <a:gd name="T27" fmla="*/ 8 h 139"/>
                <a:gd name="T28" fmla="*/ 107 w 120"/>
                <a:gd name="T29" fmla="*/ 15 h 139"/>
                <a:gd name="T30" fmla="*/ 112 w 120"/>
                <a:gd name="T31" fmla="*/ 23 h 139"/>
                <a:gd name="T32" fmla="*/ 117 w 120"/>
                <a:gd name="T33" fmla="*/ 33 h 139"/>
                <a:gd name="T34" fmla="*/ 119 w 120"/>
                <a:gd name="T35" fmla="*/ 44 h 139"/>
                <a:gd name="T36" fmla="*/ 120 w 120"/>
                <a:gd name="T37" fmla="*/ 57 h 139"/>
                <a:gd name="T38" fmla="*/ 120 w 120"/>
                <a:gd name="T39" fmla="*/ 139 h 139"/>
                <a:gd name="T40" fmla="*/ 91 w 120"/>
                <a:gd name="T41" fmla="*/ 139 h 139"/>
                <a:gd name="T42" fmla="*/ 91 w 120"/>
                <a:gd name="T43" fmla="*/ 63 h 139"/>
                <a:gd name="T44" fmla="*/ 91 w 120"/>
                <a:gd name="T45" fmla="*/ 63 h 139"/>
                <a:gd name="T46" fmla="*/ 89 w 120"/>
                <a:gd name="T47" fmla="*/ 55 h 139"/>
                <a:gd name="T48" fmla="*/ 88 w 120"/>
                <a:gd name="T49" fmla="*/ 47 h 139"/>
                <a:gd name="T50" fmla="*/ 86 w 120"/>
                <a:gd name="T51" fmla="*/ 42 h 139"/>
                <a:gd name="T52" fmla="*/ 83 w 120"/>
                <a:gd name="T53" fmla="*/ 37 h 139"/>
                <a:gd name="T54" fmla="*/ 78 w 120"/>
                <a:gd name="T55" fmla="*/ 34 h 139"/>
                <a:gd name="T56" fmla="*/ 73 w 120"/>
                <a:gd name="T57" fmla="*/ 30 h 139"/>
                <a:gd name="T58" fmla="*/ 68 w 120"/>
                <a:gd name="T59" fmla="*/ 29 h 139"/>
                <a:gd name="T60" fmla="*/ 61 w 120"/>
                <a:gd name="T61" fmla="*/ 29 h 139"/>
                <a:gd name="T62" fmla="*/ 61 w 120"/>
                <a:gd name="T63" fmla="*/ 29 h 139"/>
                <a:gd name="T64" fmla="*/ 53 w 120"/>
                <a:gd name="T65" fmla="*/ 29 h 139"/>
                <a:gd name="T66" fmla="*/ 47 w 120"/>
                <a:gd name="T67" fmla="*/ 31 h 139"/>
                <a:gd name="T68" fmla="*/ 42 w 120"/>
                <a:gd name="T69" fmla="*/ 35 h 139"/>
                <a:gd name="T70" fmla="*/ 38 w 120"/>
                <a:gd name="T71" fmla="*/ 38 h 139"/>
                <a:gd name="T72" fmla="*/ 34 w 120"/>
                <a:gd name="T73" fmla="*/ 44 h 139"/>
                <a:gd name="T74" fmla="*/ 32 w 120"/>
                <a:gd name="T75" fmla="*/ 50 h 139"/>
                <a:gd name="T76" fmla="*/ 31 w 120"/>
                <a:gd name="T77" fmla="*/ 57 h 139"/>
                <a:gd name="T78" fmla="*/ 30 w 120"/>
                <a:gd name="T79" fmla="*/ 63 h 139"/>
                <a:gd name="T80" fmla="*/ 30 w 120"/>
                <a:gd name="T81" fmla="*/ 139 h 139"/>
                <a:gd name="T82" fmla="*/ 0 w 120"/>
                <a:gd name="T83" fmla="*/ 139 h 139"/>
                <a:gd name="T84" fmla="*/ 0 w 120"/>
                <a:gd name="T85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0" h="139">
                  <a:moveTo>
                    <a:pt x="0" y="2"/>
                  </a:moveTo>
                  <a:lnTo>
                    <a:pt x="30" y="2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1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80" y="2"/>
                  </a:lnTo>
                  <a:lnTo>
                    <a:pt x="91" y="4"/>
                  </a:lnTo>
                  <a:lnTo>
                    <a:pt x="100" y="8"/>
                  </a:lnTo>
                  <a:lnTo>
                    <a:pt x="107" y="15"/>
                  </a:lnTo>
                  <a:lnTo>
                    <a:pt x="112" y="23"/>
                  </a:lnTo>
                  <a:lnTo>
                    <a:pt x="117" y="33"/>
                  </a:lnTo>
                  <a:lnTo>
                    <a:pt x="119" y="44"/>
                  </a:lnTo>
                  <a:lnTo>
                    <a:pt x="120" y="57"/>
                  </a:lnTo>
                  <a:lnTo>
                    <a:pt x="120" y="139"/>
                  </a:lnTo>
                  <a:lnTo>
                    <a:pt x="91" y="139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89" y="55"/>
                  </a:lnTo>
                  <a:lnTo>
                    <a:pt x="88" y="47"/>
                  </a:lnTo>
                  <a:lnTo>
                    <a:pt x="86" y="42"/>
                  </a:lnTo>
                  <a:lnTo>
                    <a:pt x="83" y="37"/>
                  </a:lnTo>
                  <a:lnTo>
                    <a:pt x="78" y="34"/>
                  </a:lnTo>
                  <a:lnTo>
                    <a:pt x="73" y="30"/>
                  </a:lnTo>
                  <a:lnTo>
                    <a:pt x="68" y="29"/>
                  </a:lnTo>
                  <a:lnTo>
                    <a:pt x="61" y="29"/>
                  </a:lnTo>
                  <a:lnTo>
                    <a:pt x="61" y="29"/>
                  </a:lnTo>
                  <a:lnTo>
                    <a:pt x="53" y="29"/>
                  </a:lnTo>
                  <a:lnTo>
                    <a:pt x="47" y="31"/>
                  </a:lnTo>
                  <a:lnTo>
                    <a:pt x="42" y="35"/>
                  </a:lnTo>
                  <a:lnTo>
                    <a:pt x="38" y="38"/>
                  </a:lnTo>
                  <a:lnTo>
                    <a:pt x="34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6"/>
            <p:cNvSpPr>
              <a:spLocks/>
            </p:cNvSpPr>
            <p:nvPr userDrawn="1"/>
          </p:nvSpPr>
          <p:spPr bwMode="auto">
            <a:xfrm>
              <a:off x="822" y="3758"/>
              <a:ext cx="42" cy="64"/>
            </a:xfrm>
            <a:custGeom>
              <a:avLst/>
              <a:gdLst>
                <a:gd name="T0" fmla="*/ 0 w 126"/>
                <a:gd name="T1" fmla="*/ 0 h 192"/>
                <a:gd name="T2" fmla="*/ 35 w 126"/>
                <a:gd name="T3" fmla="*/ 0 h 192"/>
                <a:gd name="T4" fmla="*/ 97 w 126"/>
                <a:gd name="T5" fmla="*/ 133 h 192"/>
                <a:gd name="T6" fmla="*/ 97 w 126"/>
                <a:gd name="T7" fmla="*/ 0 h 192"/>
                <a:gd name="T8" fmla="*/ 126 w 126"/>
                <a:gd name="T9" fmla="*/ 0 h 192"/>
                <a:gd name="T10" fmla="*/ 126 w 126"/>
                <a:gd name="T11" fmla="*/ 192 h 192"/>
                <a:gd name="T12" fmla="*/ 93 w 126"/>
                <a:gd name="T13" fmla="*/ 192 h 192"/>
                <a:gd name="T14" fmla="*/ 31 w 126"/>
                <a:gd name="T15" fmla="*/ 60 h 192"/>
                <a:gd name="T16" fmla="*/ 31 w 126"/>
                <a:gd name="T17" fmla="*/ 192 h 192"/>
                <a:gd name="T18" fmla="*/ 0 w 126"/>
                <a:gd name="T19" fmla="*/ 192 h 192"/>
                <a:gd name="T20" fmla="*/ 0 w 126"/>
                <a:gd name="T21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6" h="192">
                  <a:moveTo>
                    <a:pt x="0" y="0"/>
                  </a:moveTo>
                  <a:lnTo>
                    <a:pt x="35" y="0"/>
                  </a:lnTo>
                  <a:lnTo>
                    <a:pt x="97" y="133"/>
                  </a:lnTo>
                  <a:lnTo>
                    <a:pt x="97" y="0"/>
                  </a:lnTo>
                  <a:lnTo>
                    <a:pt x="126" y="0"/>
                  </a:lnTo>
                  <a:lnTo>
                    <a:pt x="126" y="192"/>
                  </a:lnTo>
                  <a:lnTo>
                    <a:pt x="93" y="192"/>
                  </a:lnTo>
                  <a:lnTo>
                    <a:pt x="31" y="60"/>
                  </a:lnTo>
                  <a:lnTo>
                    <a:pt x="31" y="192"/>
                  </a:lnTo>
                  <a:lnTo>
                    <a:pt x="0" y="1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auto">
            <a:xfrm>
              <a:off x="877" y="3776"/>
              <a:ext cx="40" cy="46"/>
            </a:xfrm>
            <a:custGeom>
              <a:avLst/>
              <a:gdLst>
                <a:gd name="T0" fmla="*/ 121 w 121"/>
                <a:gd name="T1" fmla="*/ 137 h 138"/>
                <a:gd name="T2" fmla="*/ 91 w 121"/>
                <a:gd name="T3" fmla="*/ 137 h 138"/>
                <a:gd name="T4" fmla="*/ 91 w 121"/>
                <a:gd name="T5" fmla="*/ 121 h 138"/>
                <a:gd name="T6" fmla="*/ 91 w 121"/>
                <a:gd name="T7" fmla="*/ 121 h 138"/>
                <a:gd name="T8" fmla="*/ 84 w 121"/>
                <a:gd name="T9" fmla="*/ 128 h 138"/>
                <a:gd name="T10" fmla="*/ 76 w 121"/>
                <a:gd name="T11" fmla="*/ 134 h 138"/>
                <a:gd name="T12" fmla="*/ 71 w 121"/>
                <a:gd name="T13" fmla="*/ 136 h 138"/>
                <a:gd name="T14" fmla="*/ 66 w 121"/>
                <a:gd name="T15" fmla="*/ 137 h 138"/>
                <a:gd name="T16" fmla="*/ 60 w 121"/>
                <a:gd name="T17" fmla="*/ 138 h 138"/>
                <a:gd name="T18" fmla="*/ 53 w 121"/>
                <a:gd name="T19" fmla="*/ 138 h 138"/>
                <a:gd name="T20" fmla="*/ 53 w 121"/>
                <a:gd name="T21" fmla="*/ 138 h 138"/>
                <a:gd name="T22" fmla="*/ 40 w 121"/>
                <a:gd name="T23" fmla="*/ 138 h 138"/>
                <a:gd name="T24" fmla="*/ 30 w 121"/>
                <a:gd name="T25" fmla="*/ 135 h 138"/>
                <a:gd name="T26" fmla="*/ 21 w 121"/>
                <a:gd name="T27" fmla="*/ 130 h 138"/>
                <a:gd name="T28" fmla="*/ 14 w 121"/>
                <a:gd name="T29" fmla="*/ 124 h 138"/>
                <a:gd name="T30" fmla="*/ 7 w 121"/>
                <a:gd name="T31" fmla="*/ 116 h 138"/>
                <a:gd name="T32" fmla="*/ 4 w 121"/>
                <a:gd name="T33" fmla="*/ 106 h 138"/>
                <a:gd name="T34" fmla="*/ 0 w 121"/>
                <a:gd name="T35" fmla="*/ 95 h 138"/>
                <a:gd name="T36" fmla="*/ 0 w 121"/>
                <a:gd name="T37" fmla="*/ 82 h 138"/>
                <a:gd name="T38" fmla="*/ 0 w 121"/>
                <a:gd name="T39" fmla="*/ 0 h 138"/>
                <a:gd name="T40" fmla="*/ 30 w 121"/>
                <a:gd name="T41" fmla="*/ 0 h 138"/>
                <a:gd name="T42" fmla="*/ 30 w 121"/>
                <a:gd name="T43" fmla="*/ 75 h 138"/>
                <a:gd name="T44" fmla="*/ 30 w 121"/>
                <a:gd name="T45" fmla="*/ 75 h 138"/>
                <a:gd name="T46" fmla="*/ 30 w 121"/>
                <a:gd name="T47" fmla="*/ 84 h 138"/>
                <a:gd name="T48" fmla="*/ 32 w 121"/>
                <a:gd name="T49" fmla="*/ 91 h 138"/>
                <a:gd name="T50" fmla="*/ 35 w 121"/>
                <a:gd name="T51" fmla="*/ 97 h 138"/>
                <a:gd name="T52" fmla="*/ 38 w 121"/>
                <a:gd name="T53" fmla="*/ 102 h 138"/>
                <a:gd name="T54" fmla="*/ 42 w 121"/>
                <a:gd name="T55" fmla="*/ 106 h 138"/>
                <a:gd name="T56" fmla="*/ 47 w 121"/>
                <a:gd name="T57" fmla="*/ 108 h 138"/>
                <a:gd name="T58" fmla="*/ 53 w 121"/>
                <a:gd name="T59" fmla="*/ 110 h 138"/>
                <a:gd name="T60" fmla="*/ 60 w 121"/>
                <a:gd name="T61" fmla="*/ 111 h 138"/>
                <a:gd name="T62" fmla="*/ 60 w 121"/>
                <a:gd name="T63" fmla="*/ 111 h 138"/>
                <a:gd name="T64" fmla="*/ 67 w 121"/>
                <a:gd name="T65" fmla="*/ 110 h 138"/>
                <a:gd name="T66" fmla="*/ 74 w 121"/>
                <a:gd name="T67" fmla="*/ 107 h 138"/>
                <a:gd name="T68" fmla="*/ 78 w 121"/>
                <a:gd name="T69" fmla="*/ 105 h 138"/>
                <a:gd name="T70" fmla="*/ 83 w 121"/>
                <a:gd name="T71" fmla="*/ 100 h 138"/>
                <a:gd name="T72" fmla="*/ 86 w 121"/>
                <a:gd name="T73" fmla="*/ 96 h 138"/>
                <a:gd name="T74" fmla="*/ 89 w 121"/>
                <a:gd name="T75" fmla="*/ 90 h 138"/>
                <a:gd name="T76" fmla="*/ 90 w 121"/>
                <a:gd name="T77" fmla="*/ 83 h 138"/>
                <a:gd name="T78" fmla="*/ 91 w 121"/>
                <a:gd name="T79" fmla="*/ 75 h 138"/>
                <a:gd name="T80" fmla="*/ 91 w 121"/>
                <a:gd name="T81" fmla="*/ 0 h 138"/>
                <a:gd name="T82" fmla="*/ 121 w 121"/>
                <a:gd name="T83" fmla="*/ 0 h 138"/>
                <a:gd name="T84" fmla="*/ 121 w 121"/>
                <a:gd name="T85" fmla="*/ 13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38">
                  <a:moveTo>
                    <a:pt x="121" y="137"/>
                  </a:moveTo>
                  <a:lnTo>
                    <a:pt x="91" y="137"/>
                  </a:lnTo>
                  <a:lnTo>
                    <a:pt x="91" y="121"/>
                  </a:lnTo>
                  <a:lnTo>
                    <a:pt x="91" y="121"/>
                  </a:lnTo>
                  <a:lnTo>
                    <a:pt x="84" y="128"/>
                  </a:lnTo>
                  <a:lnTo>
                    <a:pt x="76" y="134"/>
                  </a:lnTo>
                  <a:lnTo>
                    <a:pt x="71" y="136"/>
                  </a:lnTo>
                  <a:lnTo>
                    <a:pt x="66" y="137"/>
                  </a:lnTo>
                  <a:lnTo>
                    <a:pt x="60" y="138"/>
                  </a:lnTo>
                  <a:lnTo>
                    <a:pt x="53" y="138"/>
                  </a:lnTo>
                  <a:lnTo>
                    <a:pt x="53" y="138"/>
                  </a:lnTo>
                  <a:lnTo>
                    <a:pt x="40" y="138"/>
                  </a:lnTo>
                  <a:lnTo>
                    <a:pt x="30" y="135"/>
                  </a:lnTo>
                  <a:lnTo>
                    <a:pt x="21" y="130"/>
                  </a:lnTo>
                  <a:lnTo>
                    <a:pt x="14" y="124"/>
                  </a:lnTo>
                  <a:lnTo>
                    <a:pt x="7" y="116"/>
                  </a:lnTo>
                  <a:lnTo>
                    <a:pt x="4" y="106"/>
                  </a:lnTo>
                  <a:lnTo>
                    <a:pt x="0" y="95"/>
                  </a:lnTo>
                  <a:lnTo>
                    <a:pt x="0" y="82"/>
                  </a:lnTo>
                  <a:lnTo>
                    <a:pt x="0" y="0"/>
                  </a:lnTo>
                  <a:lnTo>
                    <a:pt x="30" y="0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84"/>
                  </a:lnTo>
                  <a:lnTo>
                    <a:pt x="32" y="91"/>
                  </a:lnTo>
                  <a:lnTo>
                    <a:pt x="35" y="97"/>
                  </a:lnTo>
                  <a:lnTo>
                    <a:pt x="38" y="102"/>
                  </a:lnTo>
                  <a:lnTo>
                    <a:pt x="42" y="106"/>
                  </a:lnTo>
                  <a:lnTo>
                    <a:pt x="47" y="108"/>
                  </a:lnTo>
                  <a:lnTo>
                    <a:pt x="53" y="110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67" y="110"/>
                  </a:lnTo>
                  <a:lnTo>
                    <a:pt x="74" y="107"/>
                  </a:lnTo>
                  <a:lnTo>
                    <a:pt x="78" y="105"/>
                  </a:lnTo>
                  <a:lnTo>
                    <a:pt x="83" y="100"/>
                  </a:lnTo>
                  <a:lnTo>
                    <a:pt x="86" y="96"/>
                  </a:lnTo>
                  <a:lnTo>
                    <a:pt x="89" y="90"/>
                  </a:lnTo>
                  <a:lnTo>
                    <a:pt x="90" y="83"/>
                  </a:lnTo>
                  <a:lnTo>
                    <a:pt x="91" y="75"/>
                  </a:lnTo>
                  <a:lnTo>
                    <a:pt x="91" y="0"/>
                  </a:lnTo>
                  <a:lnTo>
                    <a:pt x="121" y="0"/>
                  </a:lnTo>
                  <a:lnTo>
                    <a:pt x="121" y="1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auto">
            <a:xfrm>
              <a:off x="927" y="3775"/>
              <a:ext cx="47" cy="47"/>
            </a:xfrm>
            <a:custGeom>
              <a:avLst/>
              <a:gdLst>
                <a:gd name="T0" fmla="*/ 71 w 141"/>
                <a:gd name="T1" fmla="*/ 113 h 140"/>
                <a:gd name="T2" fmla="*/ 87 w 141"/>
                <a:gd name="T3" fmla="*/ 109 h 140"/>
                <a:gd name="T4" fmla="*/ 100 w 141"/>
                <a:gd name="T5" fmla="*/ 100 h 140"/>
                <a:gd name="T6" fmla="*/ 108 w 141"/>
                <a:gd name="T7" fmla="*/ 88 h 140"/>
                <a:gd name="T8" fmla="*/ 110 w 141"/>
                <a:gd name="T9" fmla="*/ 70 h 140"/>
                <a:gd name="T10" fmla="*/ 141 w 141"/>
                <a:gd name="T11" fmla="*/ 70 h 140"/>
                <a:gd name="T12" fmla="*/ 139 w 141"/>
                <a:gd name="T13" fmla="*/ 85 h 140"/>
                <a:gd name="T14" fmla="*/ 136 w 141"/>
                <a:gd name="T15" fmla="*/ 98 h 140"/>
                <a:gd name="T16" fmla="*/ 121 w 141"/>
                <a:gd name="T17" fmla="*/ 121 h 140"/>
                <a:gd name="T18" fmla="*/ 99 w 141"/>
                <a:gd name="T19" fmla="*/ 136 h 140"/>
                <a:gd name="T20" fmla="*/ 85 w 141"/>
                <a:gd name="T21" fmla="*/ 139 h 140"/>
                <a:gd name="T22" fmla="*/ 71 w 141"/>
                <a:gd name="T23" fmla="*/ 140 h 140"/>
                <a:gd name="T24" fmla="*/ 63 w 141"/>
                <a:gd name="T25" fmla="*/ 140 h 140"/>
                <a:gd name="T26" fmla="*/ 50 w 141"/>
                <a:gd name="T27" fmla="*/ 138 h 140"/>
                <a:gd name="T28" fmla="*/ 31 w 141"/>
                <a:gd name="T29" fmla="*/ 129 h 140"/>
                <a:gd name="T30" fmla="*/ 12 w 141"/>
                <a:gd name="T31" fmla="*/ 110 h 140"/>
                <a:gd name="T32" fmla="*/ 4 w 141"/>
                <a:gd name="T33" fmla="*/ 92 h 140"/>
                <a:gd name="T34" fmla="*/ 2 w 141"/>
                <a:gd name="T35" fmla="*/ 78 h 140"/>
                <a:gd name="T36" fmla="*/ 0 w 141"/>
                <a:gd name="T37" fmla="*/ 70 h 140"/>
                <a:gd name="T38" fmla="*/ 2 w 141"/>
                <a:gd name="T39" fmla="*/ 55 h 140"/>
                <a:gd name="T40" fmla="*/ 6 w 141"/>
                <a:gd name="T41" fmla="*/ 43 h 140"/>
                <a:gd name="T42" fmla="*/ 21 w 141"/>
                <a:gd name="T43" fmla="*/ 20 h 140"/>
                <a:gd name="T44" fmla="*/ 43 w 141"/>
                <a:gd name="T45" fmla="*/ 5 h 140"/>
                <a:gd name="T46" fmla="*/ 57 w 141"/>
                <a:gd name="T47" fmla="*/ 2 h 140"/>
                <a:gd name="T48" fmla="*/ 71 w 141"/>
                <a:gd name="T49" fmla="*/ 0 h 140"/>
                <a:gd name="T50" fmla="*/ 78 w 141"/>
                <a:gd name="T51" fmla="*/ 0 h 140"/>
                <a:gd name="T52" fmla="*/ 93 w 141"/>
                <a:gd name="T53" fmla="*/ 4 h 140"/>
                <a:gd name="T54" fmla="*/ 106 w 141"/>
                <a:gd name="T55" fmla="*/ 8 h 140"/>
                <a:gd name="T56" fmla="*/ 121 w 141"/>
                <a:gd name="T57" fmla="*/ 21 h 140"/>
                <a:gd name="T58" fmla="*/ 99 w 141"/>
                <a:gd name="T59" fmla="*/ 41 h 140"/>
                <a:gd name="T60" fmla="*/ 86 w 141"/>
                <a:gd name="T61" fmla="*/ 33 h 140"/>
                <a:gd name="T62" fmla="*/ 71 w 141"/>
                <a:gd name="T63" fmla="*/ 29 h 140"/>
                <a:gd name="T64" fmla="*/ 62 w 141"/>
                <a:gd name="T65" fmla="*/ 29 h 140"/>
                <a:gd name="T66" fmla="*/ 48 w 141"/>
                <a:gd name="T67" fmla="*/ 36 h 140"/>
                <a:gd name="T68" fmla="*/ 38 w 141"/>
                <a:gd name="T69" fmla="*/ 46 h 140"/>
                <a:gd name="T70" fmla="*/ 32 w 141"/>
                <a:gd name="T71" fmla="*/ 61 h 140"/>
                <a:gd name="T72" fmla="*/ 31 w 141"/>
                <a:gd name="T73" fmla="*/ 70 h 140"/>
                <a:gd name="T74" fmla="*/ 35 w 141"/>
                <a:gd name="T75" fmla="*/ 88 h 140"/>
                <a:gd name="T76" fmla="*/ 43 w 141"/>
                <a:gd name="T77" fmla="*/ 100 h 140"/>
                <a:gd name="T78" fmla="*/ 54 w 141"/>
                <a:gd name="T79" fmla="*/ 109 h 140"/>
                <a:gd name="T80" fmla="*/ 71 w 141"/>
                <a:gd name="T81" fmla="*/ 11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0">
                  <a:moveTo>
                    <a:pt x="71" y="113"/>
                  </a:moveTo>
                  <a:lnTo>
                    <a:pt x="71" y="113"/>
                  </a:lnTo>
                  <a:lnTo>
                    <a:pt x="79" y="112"/>
                  </a:lnTo>
                  <a:lnTo>
                    <a:pt x="87" y="109"/>
                  </a:lnTo>
                  <a:lnTo>
                    <a:pt x="94" y="106"/>
                  </a:lnTo>
                  <a:lnTo>
                    <a:pt x="100" y="100"/>
                  </a:lnTo>
                  <a:lnTo>
                    <a:pt x="105" y="94"/>
                  </a:lnTo>
                  <a:lnTo>
                    <a:pt x="108" y="88"/>
                  </a:lnTo>
                  <a:lnTo>
                    <a:pt x="110" y="80"/>
                  </a:lnTo>
                  <a:lnTo>
                    <a:pt x="110" y="70"/>
                  </a:lnTo>
                  <a:lnTo>
                    <a:pt x="141" y="70"/>
                  </a:lnTo>
                  <a:lnTo>
                    <a:pt x="141" y="70"/>
                  </a:lnTo>
                  <a:lnTo>
                    <a:pt x="140" y="78"/>
                  </a:lnTo>
                  <a:lnTo>
                    <a:pt x="139" y="85"/>
                  </a:lnTo>
                  <a:lnTo>
                    <a:pt x="138" y="92"/>
                  </a:lnTo>
                  <a:lnTo>
                    <a:pt x="136" y="98"/>
                  </a:lnTo>
                  <a:lnTo>
                    <a:pt x="129" y="110"/>
                  </a:lnTo>
                  <a:lnTo>
                    <a:pt x="121" y="121"/>
                  </a:lnTo>
                  <a:lnTo>
                    <a:pt x="110" y="129"/>
                  </a:lnTo>
                  <a:lnTo>
                    <a:pt x="99" y="136"/>
                  </a:lnTo>
                  <a:lnTo>
                    <a:pt x="92" y="138"/>
                  </a:lnTo>
                  <a:lnTo>
                    <a:pt x="85" y="139"/>
                  </a:lnTo>
                  <a:lnTo>
                    <a:pt x="78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7" y="139"/>
                  </a:lnTo>
                  <a:lnTo>
                    <a:pt x="50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2" y="110"/>
                  </a:lnTo>
                  <a:lnTo>
                    <a:pt x="6" y="99"/>
                  </a:lnTo>
                  <a:lnTo>
                    <a:pt x="4" y="92"/>
                  </a:lnTo>
                  <a:lnTo>
                    <a:pt x="2" y="85"/>
                  </a:lnTo>
                  <a:lnTo>
                    <a:pt x="2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2" y="63"/>
                  </a:lnTo>
                  <a:lnTo>
                    <a:pt x="2" y="55"/>
                  </a:lnTo>
                  <a:lnTo>
                    <a:pt x="4" y="49"/>
                  </a:lnTo>
                  <a:lnTo>
                    <a:pt x="6" y="43"/>
                  </a:lnTo>
                  <a:lnTo>
                    <a:pt x="12" y="30"/>
                  </a:lnTo>
                  <a:lnTo>
                    <a:pt x="21" y="20"/>
                  </a:lnTo>
                  <a:lnTo>
                    <a:pt x="31" y="12"/>
                  </a:lnTo>
                  <a:lnTo>
                    <a:pt x="43" y="5"/>
                  </a:lnTo>
                  <a:lnTo>
                    <a:pt x="50" y="3"/>
                  </a:lnTo>
                  <a:lnTo>
                    <a:pt x="57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8" y="0"/>
                  </a:lnTo>
                  <a:lnTo>
                    <a:pt x="86" y="2"/>
                  </a:lnTo>
                  <a:lnTo>
                    <a:pt x="93" y="4"/>
                  </a:lnTo>
                  <a:lnTo>
                    <a:pt x="99" y="6"/>
                  </a:lnTo>
                  <a:lnTo>
                    <a:pt x="106" y="8"/>
                  </a:lnTo>
                  <a:lnTo>
                    <a:pt x="112" y="12"/>
                  </a:lnTo>
                  <a:lnTo>
                    <a:pt x="121" y="21"/>
                  </a:lnTo>
                  <a:lnTo>
                    <a:pt x="99" y="41"/>
                  </a:lnTo>
                  <a:lnTo>
                    <a:pt x="99" y="41"/>
                  </a:lnTo>
                  <a:lnTo>
                    <a:pt x="93" y="36"/>
                  </a:lnTo>
                  <a:lnTo>
                    <a:pt x="86" y="33"/>
                  </a:lnTo>
                  <a:lnTo>
                    <a:pt x="79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62" y="29"/>
                  </a:lnTo>
                  <a:lnTo>
                    <a:pt x="54" y="31"/>
                  </a:lnTo>
                  <a:lnTo>
                    <a:pt x="48" y="36"/>
                  </a:lnTo>
                  <a:lnTo>
                    <a:pt x="43" y="41"/>
                  </a:lnTo>
                  <a:lnTo>
                    <a:pt x="38" y="46"/>
                  </a:lnTo>
                  <a:lnTo>
                    <a:pt x="35" y="53"/>
                  </a:lnTo>
                  <a:lnTo>
                    <a:pt x="32" y="61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2" y="80"/>
                  </a:lnTo>
                  <a:lnTo>
                    <a:pt x="35" y="88"/>
                  </a:lnTo>
                  <a:lnTo>
                    <a:pt x="38" y="94"/>
                  </a:lnTo>
                  <a:lnTo>
                    <a:pt x="43" y="100"/>
                  </a:lnTo>
                  <a:lnTo>
                    <a:pt x="48" y="106"/>
                  </a:lnTo>
                  <a:lnTo>
                    <a:pt x="54" y="109"/>
                  </a:lnTo>
                  <a:lnTo>
                    <a:pt x="62" y="112"/>
                  </a:lnTo>
                  <a:lnTo>
                    <a:pt x="71" y="113"/>
                  </a:lnTo>
                  <a:lnTo>
                    <a:pt x="71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9"/>
            <p:cNvSpPr>
              <a:spLocks/>
            </p:cNvSpPr>
            <p:nvPr userDrawn="1"/>
          </p:nvSpPr>
          <p:spPr bwMode="auto">
            <a:xfrm>
              <a:off x="982" y="3756"/>
              <a:ext cx="10" cy="66"/>
            </a:xfrm>
            <a:custGeom>
              <a:avLst/>
              <a:gdLst>
                <a:gd name="T0" fmla="*/ 0 w 30"/>
                <a:gd name="T1" fmla="*/ 4 h 196"/>
                <a:gd name="T2" fmla="*/ 30 w 30"/>
                <a:gd name="T3" fmla="*/ 0 h 196"/>
                <a:gd name="T4" fmla="*/ 30 w 30"/>
                <a:gd name="T5" fmla="*/ 196 h 196"/>
                <a:gd name="T6" fmla="*/ 0 w 30"/>
                <a:gd name="T7" fmla="*/ 196 h 196"/>
                <a:gd name="T8" fmla="*/ 0 w 30"/>
                <a:gd name="T9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196">
                  <a:moveTo>
                    <a:pt x="0" y="4"/>
                  </a:moveTo>
                  <a:lnTo>
                    <a:pt x="30" y="0"/>
                  </a:lnTo>
                  <a:lnTo>
                    <a:pt x="30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6" name="Freeform 30"/>
            <p:cNvSpPr>
              <a:spLocks noEditPoints="1"/>
            </p:cNvSpPr>
            <p:nvPr userDrawn="1"/>
          </p:nvSpPr>
          <p:spPr bwMode="auto">
            <a:xfrm>
              <a:off x="1002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6 w 140"/>
                <a:gd name="T5" fmla="*/ 104 h 140"/>
                <a:gd name="T6" fmla="*/ 57 w 140"/>
                <a:gd name="T7" fmla="*/ 109 h 140"/>
                <a:gd name="T8" fmla="*/ 71 w 140"/>
                <a:gd name="T9" fmla="*/ 113 h 140"/>
                <a:gd name="T10" fmla="*/ 81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4 w 140"/>
                <a:gd name="T17" fmla="*/ 108 h 140"/>
                <a:gd name="T18" fmla="*/ 121 w 140"/>
                <a:gd name="T19" fmla="*/ 123 h 140"/>
                <a:gd name="T20" fmla="*/ 103 w 140"/>
                <a:gd name="T21" fmla="*/ 135 h 140"/>
                <a:gd name="T22" fmla="*/ 82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3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2 w 140"/>
                <a:gd name="T35" fmla="*/ 85 h 140"/>
                <a:gd name="T36" fmla="*/ 0 w 140"/>
                <a:gd name="T37" fmla="*/ 70 h 140"/>
                <a:gd name="T38" fmla="*/ 1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6 w 140"/>
                <a:gd name="T47" fmla="*/ 2 h 140"/>
                <a:gd name="T48" fmla="*/ 70 w 140"/>
                <a:gd name="T49" fmla="*/ 0 h 140"/>
                <a:gd name="T50" fmla="*/ 78 w 140"/>
                <a:gd name="T51" fmla="*/ 0 h 140"/>
                <a:gd name="T52" fmla="*/ 92 w 140"/>
                <a:gd name="T53" fmla="*/ 4 h 140"/>
                <a:gd name="T54" fmla="*/ 109 w 140"/>
                <a:gd name="T55" fmla="*/ 12 h 140"/>
                <a:gd name="T56" fmla="*/ 128 w 140"/>
                <a:gd name="T57" fmla="*/ 31 h 140"/>
                <a:gd name="T58" fmla="*/ 139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2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4 w 140"/>
                <a:gd name="T77" fmla="*/ 29 h 140"/>
                <a:gd name="T78" fmla="*/ 53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4" y="88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6" y="104"/>
                  </a:lnTo>
                  <a:lnTo>
                    <a:pt x="50" y="107"/>
                  </a:lnTo>
                  <a:lnTo>
                    <a:pt x="57" y="109"/>
                  </a:lnTo>
                  <a:lnTo>
                    <a:pt x="64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1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4" y="108"/>
                  </a:lnTo>
                  <a:lnTo>
                    <a:pt x="128" y="116"/>
                  </a:lnTo>
                  <a:lnTo>
                    <a:pt x="121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2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4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3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2" y="85"/>
                  </a:lnTo>
                  <a:lnTo>
                    <a:pt x="1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63"/>
                  </a:lnTo>
                  <a:lnTo>
                    <a:pt x="2" y="57"/>
                  </a:lnTo>
                  <a:lnTo>
                    <a:pt x="6" y="43"/>
                  </a:lnTo>
                  <a:lnTo>
                    <a:pt x="13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8" y="0"/>
                  </a:lnTo>
                  <a:lnTo>
                    <a:pt x="85" y="2"/>
                  </a:lnTo>
                  <a:lnTo>
                    <a:pt x="92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8" y="31"/>
                  </a:lnTo>
                  <a:lnTo>
                    <a:pt x="134" y="43"/>
                  </a:lnTo>
                  <a:lnTo>
                    <a:pt x="139" y="57"/>
                  </a:lnTo>
                  <a:lnTo>
                    <a:pt x="140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2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7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4" y="29"/>
                  </a:lnTo>
                  <a:lnTo>
                    <a:pt x="57" y="30"/>
                  </a:lnTo>
                  <a:lnTo>
                    <a:pt x="53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9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7" name="Freeform 31"/>
            <p:cNvSpPr>
              <a:spLocks noEditPoints="1"/>
            </p:cNvSpPr>
            <p:nvPr userDrawn="1"/>
          </p:nvSpPr>
          <p:spPr bwMode="auto">
            <a:xfrm>
              <a:off x="1055" y="3775"/>
              <a:ext cx="46" cy="47"/>
            </a:xfrm>
            <a:custGeom>
              <a:avLst/>
              <a:gdLst>
                <a:gd name="T0" fmla="*/ 139 w 139"/>
                <a:gd name="T1" fmla="*/ 139 h 140"/>
                <a:gd name="T2" fmla="*/ 108 w 139"/>
                <a:gd name="T3" fmla="*/ 125 h 140"/>
                <a:gd name="T4" fmla="*/ 102 w 139"/>
                <a:gd name="T5" fmla="*/ 130 h 140"/>
                <a:gd name="T6" fmla="*/ 81 w 139"/>
                <a:gd name="T7" fmla="*/ 139 h 140"/>
                <a:gd name="T8" fmla="*/ 69 w 139"/>
                <a:gd name="T9" fmla="*/ 140 h 140"/>
                <a:gd name="T10" fmla="*/ 54 w 139"/>
                <a:gd name="T11" fmla="*/ 139 h 140"/>
                <a:gd name="T12" fmla="*/ 30 w 139"/>
                <a:gd name="T13" fmla="*/ 130 h 140"/>
                <a:gd name="T14" fmla="*/ 12 w 139"/>
                <a:gd name="T15" fmla="*/ 110 h 140"/>
                <a:gd name="T16" fmla="*/ 2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5 w 139"/>
                <a:gd name="T25" fmla="*/ 42 h 140"/>
                <a:gd name="T26" fmla="*/ 20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8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2 w 139"/>
                <a:gd name="T47" fmla="*/ 54 h 140"/>
                <a:gd name="T48" fmla="*/ 30 w 139"/>
                <a:gd name="T49" fmla="*/ 70 h 140"/>
                <a:gd name="T50" fmla="*/ 30 w 139"/>
                <a:gd name="T51" fmla="*/ 78 h 140"/>
                <a:gd name="T52" fmla="*/ 36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5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09 w 139"/>
                <a:gd name="T67" fmla="*/ 70 h 140"/>
                <a:gd name="T68" fmla="*/ 108 w 139"/>
                <a:gd name="T69" fmla="*/ 62 h 140"/>
                <a:gd name="T70" fmla="*/ 102 w 139"/>
                <a:gd name="T71" fmla="*/ 47 h 140"/>
                <a:gd name="T72" fmla="*/ 92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8" y="139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2" y="130"/>
                  </a:lnTo>
                  <a:lnTo>
                    <a:pt x="93" y="136"/>
                  </a:lnTo>
                  <a:lnTo>
                    <a:pt x="81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4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20" y="121"/>
                  </a:lnTo>
                  <a:lnTo>
                    <a:pt x="12" y="110"/>
                  </a:lnTo>
                  <a:lnTo>
                    <a:pt x="5" y="99"/>
                  </a:lnTo>
                  <a:lnTo>
                    <a:pt x="2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2" y="49"/>
                  </a:lnTo>
                  <a:lnTo>
                    <a:pt x="5" y="42"/>
                  </a:lnTo>
                  <a:lnTo>
                    <a:pt x="12" y="30"/>
                  </a:lnTo>
                  <a:lnTo>
                    <a:pt x="20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4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1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8" y="16"/>
                  </a:lnTo>
                  <a:lnTo>
                    <a:pt x="108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6" y="47"/>
                  </a:lnTo>
                  <a:lnTo>
                    <a:pt x="32" y="54"/>
                  </a:lnTo>
                  <a:lnTo>
                    <a:pt x="30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8"/>
                  </a:lnTo>
                  <a:lnTo>
                    <a:pt x="32" y="86"/>
                  </a:lnTo>
                  <a:lnTo>
                    <a:pt x="36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5" y="108"/>
                  </a:lnTo>
                  <a:lnTo>
                    <a:pt x="92" y="105"/>
                  </a:lnTo>
                  <a:lnTo>
                    <a:pt x="98" y="99"/>
                  </a:lnTo>
                  <a:lnTo>
                    <a:pt x="102" y="93"/>
                  </a:lnTo>
                  <a:lnTo>
                    <a:pt x="106" y="86"/>
                  </a:lnTo>
                  <a:lnTo>
                    <a:pt x="108" y="78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8" y="62"/>
                  </a:lnTo>
                  <a:lnTo>
                    <a:pt x="106" y="54"/>
                  </a:lnTo>
                  <a:lnTo>
                    <a:pt x="102" y="47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5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8" name="Freeform 32"/>
            <p:cNvSpPr>
              <a:spLocks/>
            </p:cNvSpPr>
            <p:nvPr userDrawn="1"/>
          </p:nvSpPr>
          <p:spPr bwMode="auto">
            <a:xfrm>
              <a:off x="1112" y="3775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30 w 65"/>
                <a:gd name="T3" fmla="*/ 2 h 139"/>
                <a:gd name="T4" fmla="*/ 30 w 65"/>
                <a:gd name="T5" fmla="*/ 16 h 139"/>
                <a:gd name="T6" fmla="*/ 30 w 65"/>
                <a:gd name="T7" fmla="*/ 16 h 139"/>
                <a:gd name="T8" fmla="*/ 36 w 65"/>
                <a:gd name="T9" fmla="*/ 10 h 139"/>
                <a:gd name="T10" fmla="*/ 44 w 65"/>
                <a:gd name="T11" fmla="*/ 5 h 139"/>
                <a:gd name="T12" fmla="*/ 47 w 65"/>
                <a:gd name="T13" fmla="*/ 3 h 139"/>
                <a:gd name="T14" fmla="*/ 53 w 65"/>
                <a:gd name="T15" fmla="*/ 2 h 139"/>
                <a:gd name="T16" fmla="*/ 58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49 w 65"/>
                <a:gd name="T29" fmla="*/ 31 h 139"/>
                <a:gd name="T30" fmla="*/ 44 w 65"/>
                <a:gd name="T31" fmla="*/ 35 h 139"/>
                <a:gd name="T32" fmla="*/ 39 w 65"/>
                <a:gd name="T33" fmla="*/ 38 h 139"/>
                <a:gd name="T34" fmla="*/ 36 w 65"/>
                <a:gd name="T35" fmla="*/ 44 h 139"/>
                <a:gd name="T36" fmla="*/ 32 w 65"/>
                <a:gd name="T37" fmla="*/ 50 h 139"/>
                <a:gd name="T38" fmla="*/ 31 w 65"/>
                <a:gd name="T39" fmla="*/ 57 h 139"/>
                <a:gd name="T40" fmla="*/ 30 w 65"/>
                <a:gd name="T41" fmla="*/ 63 h 139"/>
                <a:gd name="T42" fmla="*/ 30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30" y="2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6" y="10"/>
                  </a:lnTo>
                  <a:lnTo>
                    <a:pt x="44" y="5"/>
                  </a:lnTo>
                  <a:lnTo>
                    <a:pt x="47" y="3"/>
                  </a:lnTo>
                  <a:lnTo>
                    <a:pt x="53" y="2"/>
                  </a:lnTo>
                  <a:lnTo>
                    <a:pt x="58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49" y="31"/>
                  </a:lnTo>
                  <a:lnTo>
                    <a:pt x="44" y="35"/>
                  </a:lnTo>
                  <a:lnTo>
                    <a:pt x="39" y="38"/>
                  </a:lnTo>
                  <a:lnTo>
                    <a:pt x="36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9" name="Freeform 33"/>
            <p:cNvSpPr>
              <a:spLocks noEditPoints="1"/>
            </p:cNvSpPr>
            <p:nvPr userDrawn="1"/>
          </p:nvSpPr>
          <p:spPr bwMode="auto">
            <a:xfrm>
              <a:off x="1170" y="3758"/>
              <a:ext cx="37" cy="64"/>
            </a:xfrm>
            <a:custGeom>
              <a:avLst/>
              <a:gdLst>
                <a:gd name="T0" fmla="*/ 56 w 111"/>
                <a:gd name="T1" fmla="*/ 0 h 192"/>
                <a:gd name="T2" fmla="*/ 56 w 111"/>
                <a:gd name="T3" fmla="*/ 0 h 192"/>
                <a:gd name="T4" fmla="*/ 68 w 111"/>
                <a:gd name="T5" fmla="*/ 1 h 192"/>
                <a:gd name="T6" fmla="*/ 78 w 111"/>
                <a:gd name="T7" fmla="*/ 3 h 192"/>
                <a:gd name="T8" fmla="*/ 87 w 111"/>
                <a:gd name="T9" fmla="*/ 8 h 192"/>
                <a:gd name="T10" fmla="*/ 95 w 111"/>
                <a:gd name="T11" fmla="*/ 14 h 192"/>
                <a:gd name="T12" fmla="*/ 102 w 111"/>
                <a:gd name="T13" fmla="*/ 23 h 192"/>
                <a:gd name="T14" fmla="*/ 107 w 111"/>
                <a:gd name="T15" fmla="*/ 32 h 192"/>
                <a:gd name="T16" fmla="*/ 110 w 111"/>
                <a:gd name="T17" fmla="*/ 42 h 192"/>
                <a:gd name="T18" fmla="*/ 111 w 111"/>
                <a:gd name="T19" fmla="*/ 55 h 192"/>
                <a:gd name="T20" fmla="*/ 111 w 111"/>
                <a:gd name="T21" fmla="*/ 55 h 192"/>
                <a:gd name="T22" fmla="*/ 110 w 111"/>
                <a:gd name="T23" fmla="*/ 66 h 192"/>
                <a:gd name="T24" fmla="*/ 108 w 111"/>
                <a:gd name="T25" fmla="*/ 75 h 192"/>
                <a:gd name="T26" fmla="*/ 103 w 111"/>
                <a:gd name="T27" fmla="*/ 84 h 192"/>
                <a:gd name="T28" fmla="*/ 99 w 111"/>
                <a:gd name="T29" fmla="*/ 91 h 192"/>
                <a:gd name="T30" fmla="*/ 92 w 111"/>
                <a:gd name="T31" fmla="*/ 98 h 192"/>
                <a:gd name="T32" fmla="*/ 85 w 111"/>
                <a:gd name="T33" fmla="*/ 103 h 192"/>
                <a:gd name="T34" fmla="*/ 76 w 111"/>
                <a:gd name="T35" fmla="*/ 106 h 192"/>
                <a:gd name="T36" fmla="*/ 68 w 111"/>
                <a:gd name="T37" fmla="*/ 108 h 192"/>
                <a:gd name="T38" fmla="*/ 111 w 111"/>
                <a:gd name="T39" fmla="*/ 192 h 192"/>
                <a:gd name="T40" fmla="*/ 76 w 111"/>
                <a:gd name="T41" fmla="*/ 192 h 192"/>
                <a:gd name="T42" fmla="*/ 35 w 111"/>
                <a:gd name="T43" fmla="*/ 110 h 192"/>
                <a:gd name="T44" fmla="*/ 31 w 111"/>
                <a:gd name="T45" fmla="*/ 110 h 192"/>
                <a:gd name="T46" fmla="*/ 31 w 111"/>
                <a:gd name="T47" fmla="*/ 192 h 192"/>
                <a:gd name="T48" fmla="*/ 0 w 111"/>
                <a:gd name="T49" fmla="*/ 192 h 192"/>
                <a:gd name="T50" fmla="*/ 0 w 111"/>
                <a:gd name="T51" fmla="*/ 0 h 192"/>
                <a:gd name="T52" fmla="*/ 56 w 111"/>
                <a:gd name="T53" fmla="*/ 0 h 192"/>
                <a:gd name="T54" fmla="*/ 31 w 111"/>
                <a:gd name="T55" fmla="*/ 81 h 192"/>
                <a:gd name="T56" fmla="*/ 56 w 111"/>
                <a:gd name="T57" fmla="*/ 81 h 192"/>
                <a:gd name="T58" fmla="*/ 56 w 111"/>
                <a:gd name="T59" fmla="*/ 81 h 192"/>
                <a:gd name="T60" fmla="*/ 62 w 111"/>
                <a:gd name="T61" fmla="*/ 80 h 192"/>
                <a:gd name="T62" fmla="*/ 68 w 111"/>
                <a:gd name="T63" fmla="*/ 79 h 192"/>
                <a:gd name="T64" fmla="*/ 71 w 111"/>
                <a:gd name="T65" fmla="*/ 76 h 192"/>
                <a:gd name="T66" fmla="*/ 75 w 111"/>
                <a:gd name="T67" fmla="*/ 73 h 192"/>
                <a:gd name="T68" fmla="*/ 78 w 111"/>
                <a:gd name="T69" fmla="*/ 69 h 192"/>
                <a:gd name="T70" fmla="*/ 79 w 111"/>
                <a:gd name="T71" fmla="*/ 65 h 192"/>
                <a:gd name="T72" fmla="*/ 80 w 111"/>
                <a:gd name="T73" fmla="*/ 60 h 192"/>
                <a:gd name="T74" fmla="*/ 81 w 111"/>
                <a:gd name="T75" fmla="*/ 55 h 192"/>
                <a:gd name="T76" fmla="*/ 81 w 111"/>
                <a:gd name="T77" fmla="*/ 55 h 192"/>
                <a:gd name="T78" fmla="*/ 80 w 111"/>
                <a:gd name="T79" fmla="*/ 50 h 192"/>
                <a:gd name="T80" fmla="*/ 79 w 111"/>
                <a:gd name="T81" fmla="*/ 44 h 192"/>
                <a:gd name="T82" fmla="*/ 78 w 111"/>
                <a:gd name="T83" fmla="*/ 40 h 192"/>
                <a:gd name="T84" fmla="*/ 75 w 111"/>
                <a:gd name="T85" fmla="*/ 36 h 192"/>
                <a:gd name="T86" fmla="*/ 71 w 111"/>
                <a:gd name="T87" fmla="*/ 33 h 192"/>
                <a:gd name="T88" fmla="*/ 68 w 111"/>
                <a:gd name="T89" fmla="*/ 31 h 192"/>
                <a:gd name="T90" fmla="*/ 62 w 111"/>
                <a:gd name="T91" fmla="*/ 29 h 192"/>
                <a:gd name="T92" fmla="*/ 56 w 111"/>
                <a:gd name="T93" fmla="*/ 29 h 192"/>
                <a:gd name="T94" fmla="*/ 31 w 111"/>
                <a:gd name="T95" fmla="*/ 29 h 192"/>
                <a:gd name="T96" fmla="*/ 31 w 111"/>
                <a:gd name="T97" fmla="*/ 81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1" h="192">
                  <a:moveTo>
                    <a:pt x="56" y="0"/>
                  </a:moveTo>
                  <a:lnTo>
                    <a:pt x="56" y="0"/>
                  </a:lnTo>
                  <a:lnTo>
                    <a:pt x="68" y="1"/>
                  </a:lnTo>
                  <a:lnTo>
                    <a:pt x="78" y="3"/>
                  </a:lnTo>
                  <a:lnTo>
                    <a:pt x="87" y="8"/>
                  </a:lnTo>
                  <a:lnTo>
                    <a:pt x="95" y="14"/>
                  </a:lnTo>
                  <a:lnTo>
                    <a:pt x="102" y="23"/>
                  </a:lnTo>
                  <a:lnTo>
                    <a:pt x="107" y="32"/>
                  </a:lnTo>
                  <a:lnTo>
                    <a:pt x="110" y="42"/>
                  </a:lnTo>
                  <a:lnTo>
                    <a:pt x="111" y="55"/>
                  </a:lnTo>
                  <a:lnTo>
                    <a:pt x="111" y="55"/>
                  </a:lnTo>
                  <a:lnTo>
                    <a:pt x="110" y="66"/>
                  </a:lnTo>
                  <a:lnTo>
                    <a:pt x="108" y="75"/>
                  </a:lnTo>
                  <a:lnTo>
                    <a:pt x="103" y="84"/>
                  </a:lnTo>
                  <a:lnTo>
                    <a:pt x="99" y="91"/>
                  </a:lnTo>
                  <a:lnTo>
                    <a:pt x="92" y="98"/>
                  </a:lnTo>
                  <a:lnTo>
                    <a:pt x="85" y="103"/>
                  </a:lnTo>
                  <a:lnTo>
                    <a:pt x="76" y="106"/>
                  </a:lnTo>
                  <a:lnTo>
                    <a:pt x="68" y="108"/>
                  </a:lnTo>
                  <a:lnTo>
                    <a:pt x="111" y="192"/>
                  </a:lnTo>
                  <a:lnTo>
                    <a:pt x="76" y="192"/>
                  </a:lnTo>
                  <a:lnTo>
                    <a:pt x="35" y="110"/>
                  </a:lnTo>
                  <a:lnTo>
                    <a:pt x="31" y="110"/>
                  </a:lnTo>
                  <a:lnTo>
                    <a:pt x="31" y="192"/>
                  </a:lnTo>
                  <a:lnTo>
                    <a:pt x="0" y="192"/>
                  </a:lnTo>
                  <a:lnTo>
                    <a:pt x="0" y="0"/>
                  </a:lnTo>
                  <a:lnTo>
                    <a:pt x="56" y="0"/>
                  </a:lnTo>
                  <a:close/>
                  <a:moveTo>
                    <a:pt x="31" y="81"/>
                  </a:moveTo>
                  <a:lnTo>
                    <a:pt x="56" y="81"/>
                  </a:lnTo>
                  <a:lnTo>
                    <a:pt x="56" y="81"/>
                  </a:lnTo>
                  <a:lnTo>
                    <a:pt x="62" y="80"/>
                  </a:lnTo>
                  <a:lnTo>
                    <a:pt x="68" y="79"/>
                  </a:lnTo>
                  <a:lnTo>
                    <a:pt x="71" y="76"/>
                  </a:lnTo>
                  <a:lnTo>
                    <a:pt x="75" y="73"/>
                  </a:lnTo>
                  <a:lnTo>
                    <a:pt x="78" y="69"/>
                  </a:lnTo>
                  <a:lnTo>
                    <a:pt x="79" y="65"/>
                  </a:lnTo>
                  <a:lnTo>
                    <a:pt x="80" y="60"/>
                  </a:lnTo>
                  <a:lnTo>
                    <a:pt x="81" y="55"/>
                  </a:lnTo>
                  <a:lnTo>
                    <a:pt x="81" y="55"/>
                  </a:lnTo>
                  <a:lnTo>
                    <a:pt x="80" y="50"/>
                  </a:lnTo>
                  <a:lnTo>
                    <a:pt x="79" y="44"/>
                  </a:lnTo>
                  <a:lnTo>
                    <a:pt x="78" y="40"/>
                  </a:lnTo>
                  <a:lnTo>
                    <a:pt x="75" y="36"/>
                  </a:lnTo>
                  <a:lnTo>
                    <a:pt x="71" y="33"/>
                  </a:lnTo>
                  <a:lnTo>
                    <a:pt x="68" y="31"/>
                  </a:lnTo>
                  <a:lnTo>
                    <a:pt x="62" y="29"/>
                  </a:lnTo>
                  <a:lnTo>
                    <a:pt x="56" y="29"/>
                  </a:lnTo>
                  <a:lnTo>
                    <a:pt x="31" y="29"/>
                  </a:lnTo>
                  <a:lnTo>
                    <a:pt x="31" y="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0" name="Freeform 34"/>
            <p:cNvSpPr>
              <a:spLocks noEditPoints="1"/>
            </p:cNvSpPr>
            <p:nvPr userDrawn="1"/>
          </p:nvSpPr>
          <p:spPr bwMode="auto">
            <a:xfrm>
              <a:off x="1212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1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2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1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1" name="Freeform 35"/>
            <p:cNvSpPr>
              <a:spLocks/>
            </p:cNvSpPr>
            <p:nvPr userDrawn="1"/>
          </p:nvSpPr>
          <p:spPr bwMode="auto">
            <a:xfrm>
              <a:off x="1264" y="3775"/>
              <a:ext cx="32" cy="47"/>
            </a:xfrm>
            <a:custGeom>
              <a:avLst/>
              <a:gdLst>
                <a:gd name="T0" fmla="*/ 29 w 95"/>
                <a:gd name="T1" fmla="*/ 93 h 140"/>
                <a:gd name="T2" fmla="*/ 31 w 95"/>
                <a:gd name="T3" fmla="*/ 101 h 140"/>
                <a:gd name="T4" fmla="*/ 34 w 95"/>
                <a:gd name="T5" fmla="*/ 107 h 140"/>
                <a:gd name="T6" fmla="*/ 47 w 95"/>
                <a:gd name="T7" fmla="*/ 113 h 140"/>
                <a:gd name="T8" fmla="*/ 54 w 95"/>
                <a:gd name="T9" fmla="*/ 112 h 140"/>
                <a:gd name="T10" fmla="*/ 62 w 95"/>
                <a:gd name="T11" fmla="*/ 106 h 140"/>
                <a:gd name="T12" fmla="*/ 64 w 95"/>
                <a:gd name="T13" fmla="*/ 99 h 140"/>
                <a:gd name="T14" fmla="*/ 64 w 95"/>
                <a:gd name="T15" fmla="*/ 96 h 140"/>
                <a:gd name="T16" fmla="*/ 62 w 95"/>
                <a:gd name="T17" fmla="*/ 86 h 140"/>
                <a:gd name="T18" fmla="*/ 56 w 95"/>
                <a:gd name="T19" fmla="*/ 81 h 140"/>
                <a:gd name="T20" fmla="*/ 38 w 95"/>
                <a:gd name="T21" fmla="*/ 75 h 140"/>
                <a:gd name="T22" fmla="*/ 33 w 95"/>
                <a:gd name="T23" fmla="*/ 73 h 140"/>
                <a:gd name="T24" fmla="*/ 23 w 95"/>
                <a:gd name="T25" fmla="*/ 67 h 140"/>
                <a:gd name="T26" fmla="*/ 15 w 95"/>
                <a:gd name="T27" fmla="*/ 59 h 140"/>
                <a:gd name="T28" fmla="*/ 10 w 95"/>
                <a:gd name="T29" fmla="*/ 46 h 140"/>
                <a:gd name="T30" fmla="*/ 9 w 95"/>
                <a:gd name="T31" fmla="*/ 38 h 140"/>
                <a:gd name="T32" fmla="*/ 13 w 95"/>
                <a:gd name="T33" fmla="*/ 23 h 140"/>
                <a:gd name="T34" fmla="*/ 21 w 95"/>
                <a:gd name="T35" fmla="*/ 11 h 140"/>
                <a:gd name="T36" fmla="*/ 32 w 95"/>
                <a:gd name="T37" fmla="*/ 3 h 140"/>
                <a:gd name="T38" fmla="*/ 47 w 95"/>
                <a:gd name="T39" fmla="*/ 0 h 140"/>
                <a:gd name="T40" fmla="*/ 57 w 95"/>
                <a:gd name="T41" fmla="*/ 2 h 140"/>
                <a:gd name="T42" fmla="*/ 73 w 95"/>
                <a:gd name="T43" fmla="*/ 11 h 140"/>
                <a:gd name="T44" fmla="*/ 61 w 95"/>
                <a:gd name="T45" fmla="*/ 36 h 140"/>
                <a:gd name="T46" fmla="*/ 60 w 95"/>
                <a:gd name="T47" fmla="*/ 33 h 140"/>
                <a:gd name="T48" fmla="*/ 53 w 95"/>
                <a:gd name="T49" fmla="*/ 28 h 140"/>
                <a:gd name="T50" fmla="*/ 49 w 95"/>
                <a:gd name="T51" fmla="*/ 27 h 140"/>
                <a:gd name="T52" fmla="*/ 41 w 95"/>
                <a:gd name="T53" fmla="*/ 30 h 140"/>
                <a:gd name="T54" fmla="*/ 38 w 95"/>
                <a:gd name="T55" fmla="*/ 38 h 140"/>
                <a:gd name="T56" fmla="*/ 39 w 95"/>
                <a:gd name="T57" fmla="*/ 42 h 140"/>
                <a:gd name="T58" fmla="*/ 44 w 95"/>
                <a:gd name="T59" fmla="*/ 47 h 140"/>
                <a:gd name="T60" fmla="*/ 57 w 95"/>
                <a:gd name="T61" fmla="*/ 52 h 140"/>
                <a:gd name="T62" fmla="*/ 69 w 95"/>
                <a:gd name="T63" fmla="*/ 55 h 140"/>
                <a:gd name="T64" fmla="*/ 78 w 95"/>
                <a:gd name="T65" fmla="*/ 60 h 140"/>
                <a:gd name="T66" fmla="*/ 87 w 95"/>
                <a:gd name="T67" fmla="*/ 68 h 140"/>
                <a:gd name="T68" fmla="*/ 93 w 95"/>
                <a:gd name="T69" fmla="*/ 80 h 140"/>
                <a:gd name="T70" fmla="*/ 95 w 95"/>
                <a:gd name="T71" fmla="*/ 94 h 140"/>
                <a:gd name="T72" fmla="*/ 94 w 95"/>
                <a:gd name="T73" fmla="*/ 105 h 140"/>
                <a:gd name="T74" fmla="*/ 87 w 95"/>
                <a:gd name="T75" fmla="*/ 121 h 140"/>
                <a:gd name="T76" fmla="*/ 75 w 95"/>
                <a:gd name="T77" fmla="*/ 133 h 140"/>
                <a:gd name="T78" fmla="*/ 57 w 95"/>
                <a:gd name="T79" fmla="*/ 140 h 140"/>
                <a:gd name="T80" fmla="*/ 47 w 95"/>
                <a:gd name="T81" fmla="*/ 140 h 140"/>
                <a:gd name="T82" fmla="*/ 28 w 95"/>
                <a:gd name="T83" fmla="*/ 137 h 140"/>
                <a:gd name="T84" fmla="*/ 13 w 95"/>
                <a:gd name="T85" fmla="*/ 128 h 140"/>
                <a:gd name="T86" fmla="*/ 4 w 95"/>
                <a:gd name="T87" fmla="*/ 112 h 140"/>
                <a:gd name="T88" fmla="*/ 0 w 95"/>
                <a:gd name="T89" fmla="*/ 9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5" h="140">
                  <a:moveTo>
                    <a:pt x="29" y="93"/>
                  </a:moveTo>
                  <a:lnTo>
                    <a:pt x="29" y="93"/>
                  </a:lnTo>
                  <a:lnTo>
                    <a:pt x="30" y="98"/>
                  </a:lnTo>
                  <a:lnTo>
                    <a:pt x="31" y="101"/>
                  </a:lnTo>
                  <a:lnTo>
                    <a:pt x="32" y="105"/>
                  </a:lnTo>
                  <a:lnTo>
                    <a:pt x="34" y="107"/>
                  </a:lnTo>
                  <a:lnTo>
                    <a:pt x="40" y="110"/>
                  </a:lnTo>
                  <a:lnTo>
                    <a:pt x="47" y="113"/>
                  </a:lnTo>
                  <a:lnTo>
                    <a:pt x="47" y="113"/>
                  </a:lnTo>
                  <a:lnTo>
                    <a:pt x="54" y="112"/>
                  </a:lnTo>
                  <a:lnTo>
                    <a:pt x="60" y="108"/>
                  </a:lnTo>
                  <a:lnTo>
                    <a:pt x="62" y="106"/>
                  </a:lnTo>
                  <a:lnTo>
                    <a:pt x="63" y="102"/>
                  </a:lnTo>
                  <a:lnTo>
                    <a:pt x="64" y="99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0"/>
                  </a:lnTo>
                  <a:lnTo>
                    <a:pt x="62" y="86"/>
                  </a:lnTo>
                  <a:lnTo>
                    <a:pt x="60" y="83"/>
                  </a:lnTo>
                  <a:lnTo>
                    <a:pt x="56" y="81"/>
                  </a:lnTo>
                  <a:lnTo>
                    <a:pt x="48" y="77"/>
                  </a:lnTo>
                  <a:lnTo>
                    <a:pt x="38" y="75"/>
                  </a:lnTo>
                  <a:lnTo>
                    <a:pt x="38" y="75"/>
                  </a:lnTo>
                  <a:lnTo>
                    <a:pt x="33" y="73"/>
                  </a:lnTo>
                  <a:lnTo>
                    <a:pt x="28" y="70"/>
                  </a:lnTo>
                  <a:lnTo>
                    <a:pt x="23" y="67"/>
                  </a:lnTo>
                  <a:lnTo>
                    <a:pt x="18" y="63"/>
                  </a:lnTo>
                  <a:lnTo>
                    <a:pt x="15" y="59"/>
                  </a:lnTo>
                  <a:lnTo>
                    <a:pt x="12" y="53"/>
                  </a:lnTo>
                  <a:lnTo>
                    <a:pt x="10" y="46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0"/>
                  </a:lnTo>
                  <a:lnTo>
                    <a:pt x="13" y="23"/>
                  </a:lnTo>
                  <a:lnTo>
                    <a:pt x="16" y="16"/>
                  </a:lnTo>
                  <a:lnTo>
                    <a:pt x="21" y="11"/>
                  </a:lnTo>
                  <a:lnTo>
                    <a:pt x="26" y="6"/>
                  </a:lnTo>
                  <a:lnTo>
                    <a:pt x="32" y="3"/>
                  </a:lnTo>
                  <a:lnTo>
                    <a:pt x="40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57" y="2"/>
                  </a:lnTo>
                  <a:lnTo>
                    <a:pt x="67" y="5"/>
                  </a:lnTo>
                  <a:lnTo>
                    <a:pt x="73" y="11"/>
                  </a:lnTo>
                  <a:lnTo>
                    <a:pt x="80" y="18"/>
                  </a:lnTo>
                  <a:lnTo>
                    <a:pt x="61" y="36"/>
                  </a:lnTo>
                  <a:lnTo>
                    <a:pt x="61" y="36"/>
                  </a:lnTo>
                  <a:lnTo>
                    <a:pt x="60" y="33"/>
                  </a:lnTo>
                  <a:lnTo>
                    <a:pt x="56" y="29"/>
                  </a:lnTo>
                  <a:lnTo>
                    <a:pt x="53" y="28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5" y="28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9" y="42"/>
                  </a:lnTo>
                  <a:lnTo>
                    <a:pt x="41" y="45"/>
                  </a:lnTo>
                  <a:lnTo>
                    <a:pt x="44" y="47"/>
                  </a:lnTo>
                  <a:lnTo>
                    <a:pt x="48" y="50"/>
                  </a:lnTo>
                  <a:lnTo>
                    <a:pt x="57" y="52"/>
                  </a:lnTo>
                  <a:lnTo>
                    <a:pt x="69" y="55"/>
                  </a:lnTo>
                  <a:lnTo>
                    <a:pt x="69" y="55"/>
                  </a:lnTo>
                  <a:lnTo>
                    <a:pt x="73" y="58"/>
                  </a:lnTo>
                  <a:lnTo>
                    <a:pt x="78" y="60"/>
                  </a:lnTo>
                  <a:lnTo>
                    <a:pt x="83" y="63"/>
                  </a:lnTo>
                  <a:lnTo>
                    <a:pt x="87" y="68"/>
                  </a:lnTo>
                  <a:lnTo>
                    <a:pt x="91" y="74"/>
                  </a:lnTo>
                  <a:lnTo>
                    <a:pt x="93" y="80"/>
                  </a:lnTo>
                  <a:lnTo>
                    <a:pt x="94" y="86"/>
                  </a:lnTo>
                  <a:lnTo>
                    <a:pt x="95" y="94"/>
                  </a:lnTo>
                  <a:lnTo>
                    <a:pt x="95" y="94"/>
                  </a:lnTo>
                  <a:lnTo>
                    <a:pt x="94" y="105"/>
                  </a:lnTo>
                  <a:lnTo>
                    <a:pt x="92" y="114"/>
                  </a:lnTo>
                  <a:lnTo>
                    <a:pt x="87" y="121"/>
                  </a:lnTo>
                  <a:lnTo>
                    <a:pt x="81" y="128"/>
                  </a:lnTo>
                  <a:lnTo>
                    <a:pt x="75" y="133"/>
                  </a:lnTo>
                  <a:lnTo>
                    <a:pt x="67" y="138"/>
                  </a:lnTo>
                  <a:lnTo>
                    <a:pt x="57" y="140"/>
                  </a:lnTo>
                  <a:lnTo>
                    <a:pt x="47" y="140"/>
                  </a:lnTo>
                  <a:lnTo>
                    <a:pt x="47" y="140"/>
                  </a:lnTo>
                  <a:lnTo>
                    <a:pt x="37" y="140"/>
                  </a:lnTo>
                  <a:lnTo>
                    <a:pt x="28" y="137"/>
                  </a:lnTo>
                  <a:lnTo>
                    <a:pt x="20" y="132"/>
                  </a:lnTo>
                  <a:lnTo>
                    <a:pt x="13" y="128"/>
                  </a:lnTo>
                  <a:lnTo>
                    <a:pt x="8" y="120"/>
                  </a:lnTo>
                  <a:lnTo>
                    <a:pt x="4" y="112"/>
                  </a:lnTo>
                  <a:lnTo>
                    <a:pt x="1" y="104"/>
                  </a:lnTo>
                  <a:lnTo>
                    <a:pt x="0" y="93"/>
                  </a:lnTo>
                  <a:lnTo>
                    <a:pt x="29" y="9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2" name="Freeform 36"/>
            <p:cNvSpPr>
              <a:spLocks noEditPoints="1"/>
            </p:cNvSpPr>
            <p:nvPr userDrawn="1"/>
          </p:nvSpPr>
          <p:spPr bwMode="auto">
            <a:xfrm>
              <a:off x="1303" y="3775"/>
              <a:ext cx="47" cy="47"/>
            </a:xfrm>
            <a:custGeom>
              <a:avLst/>
              <a:gdLst>
                <a:gd name="T0" fmla="*/ 32 w 140"/>
                <a:gd name="T1" fmla="*/ 81 h 140"/>
                <a:gd name="T2" fmla="*/ 36 w 140"/>
                <a:gd name="T3" fmla="*/ 93 h 140"/>
                <a:gd name="T4" fmla="*/ 44 w 140"/>
                <a:gd name="T5" fmla="*/ 104 h 140"/>
                <a:gd name="T6" fmla="*/ 56 w 140"/>
                <a:gd name="T7" fmla="*/ 109 h 140"/>
                <a:gd name="T8" fmla="*/ 70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0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0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19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8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1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1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6" y="93"/>
                  </a:lnTo>
                  <a:lnTo>
                    <a:pt x="40" y="99"/>
                  </a:lnTo>
                  <a:lnTo>
                    <a:pt x="44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1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0" y="140"/>
                  </a:lnTo>
                  <a:lnTo>
                    <a:pt x="70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0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19" y="21"/>
                  </a:lnTo>
                  <a:lnTo>
                    <a:pt x="30" y="12"/>
                  </a:lnTo>
                  <a:lnTo>
                    <a:pt x="42" y="6"/>
                  </a:lnTo>
                  <a:lnTo>
                    <a:pt x="48" y="4"/>
                  </a:lnTo>
                  <a:lnTo>
                    <a:pt x="55" y="2"/>
                  </a:lnTo>
                  <a:lnTo>
                    <a:pt x="62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3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8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81" y="30"/>
                  </a:lnTo>
                  <a:lnTo>
                    <a:pt x="75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1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3" name="Freeform 37"/>
            <p:cNvSpPr>
              <a:spLocks noEditPoints="1"/>
            </p:cNvSpPr>
            <p:nvPr userDrawn="1"/>
          </p:nvSpPr>
          <p:spPr bwMode="auto">
            <a:xfrm>
              <a:off x="1356" y="3775"/>
              <a:ext cx="46" cy="47"/>
            </a:xfrm>
            <a:custGeom>
              <a:avLst/>
              <a:gdLst>
                <a:gd name="T0" fmla="*/ 139 w 139"/>
                <a:gd name="T1" fmla="*/ 139 h 140"/>
                <a:gd name="T2" fmla="*/ 108 w 139"/>
                <a:gd name="T3" fmla="*/ 125 h 140"/>
                <a:gd name="T4" fmla="*/ 102 w 139"/>
                <a:gd name="T5" fmla="*/ 130 h 140"/>
                <a:gd name="T6" fmla="*/ 82 w 139"/>
                <a:gd name="T7" fmla="*/ 139 h 140"/>
                <a:gd name="T8" fmla="*/ 69 w 139"/>
                <a:gd name="T9" fmla="*/ 140 h 140"/>
                <a:gd name="T10" fmla="*/ 55 w 139"/>
                <a:gd name="T11" fmla="*/ 139 h 140"/>
                <a:gd name="T12" fmla="*/ 30 w 139"/>
                <a:gd name="T13" fmla="*/ 130 h 140"/>
                <a:gd name="T14" fmla="*/ 11 w 139"/>
                <a:gd name="T15" fmla="*/ 110 h 140"/>
                <a:gd name="T16" fmla="*/ 3 w 139"/>
                <a:gd name="T17" fmla="*/ 92 h 140"/>
                <a:gd name="T18" fmla="*/ 0 w 139"/>
                <a:gd name="T19" fmla="*/ 78 h 140"/>
                <a:gd name="T20" fmla="*/ 0 w 139"/>
                <a:gd name="T21" fmla="*/ 70 h 140"/>
                <a:gd name="T22" fmla="*/ 1 w 139"/>
                <a:gd name="T23" fmla="*/ 55 h 140"/>
                <a:gd name="T24" fmla="*/ 6 w 139"/>
                <a:gd name="T25" fmla="*/ 42 h 140"/>
                <a:gd name="T26" fmla="*/ 19 w 139"/>
                <a:gd name="T27" fmla="*/ 20 h 140"/>
                <a:gd name="T28" fmla="*/ 41 w 139"/>
                <a:gd name="T29" fmla="*/ 5 h 140"/>
                <a:gd name="T30" fmla="*/ 69 w 139"/>
                <a:gd name="T31" fmla="*/ 0 h 140"/>
                <a:gd name="T32" fmla="*/ 76 w 139"/>
                <a:gd name="T33" fmla="*/ 0 h 140"/>
                <a:gd name="T34" fmla="*/ 93 w 139"/>
                <a:gd name="T35" fmla="*/ 5 h 140"/>
                <a:gd name="T36" fmla="*/ 108 w 139"/>
                <a:gd name="T37" fmla="*/ 16 h 140"/>
                <a:gd name="T38" fmla="*/ 139 w 139"/>
                <a:gd name="T39" fmla="*/ 2 h 140"/>
                <a:gd name="T40" fmla="*/ 70 w 139"/>
                <a:gd name="T41" fmla="*/ 29 h 140"/>
                <a:gd name="T42" fmla="*/ 54 w 139"/>
                <a:gd name="T43" fmla="*/ 33 h 140"/>
                <a:gd name="T44" fmla="*/ 41 w 139"/>
                <a:gd name="T45" fmla="*/ 42 h 140"/>
                <a:gd name="T46" fmla="*/ 33 w 139"/>
                <a:gd name="T47" fmla="*/ 54 h 140"/>
                <a:gd name="T48" fmla="*/ 30 w 139"/>
                <a:gd name="T49" fmla="*/ 70 h 140"/>
                <a:gd name="T50" fmla="*/ 31 w 139"/>
                <a:gd name="T51" fmla="*/ 78 h 140"/>
                <a:gd name="T52" fmla="*/ 37 w 139"/>
                <a:gd name="T53" fmla="*/ 93 h 140"/>
                <a:gd name="T54" fmla="*/ 47 w 139"/>
                <a:gd name="T55" fmla="*/ 105 h 140"/>
                <a:gd name="T56" fmla="*/ 62 w 139"/>
                <a:gd name="T57" fmla="*/ 110 h 140"/>
                <a:gd name="T58" fmla="*/ 70 w 139"/>
                <a:gd name="T59" fmla="*/ 112 h 140"/>
                <a:gd name="T60" fmla="*/ 86 w 139"/>
                <a:gd name="T61" fmla="*/ 108 h 140"/>
                <a:gd name="T62" fmla="*/ 98 w 139"/>
                <a:gd name="T63" fmla="*/ 99 h 140"/>
                <a:gd name="T64" fmla="*/ 106 w 139"/>
                <a:gd name="T65" fmla="*/ 86 h 140"/>
                <a:gd name="T66" fmla="*/ 109 w 139"/>
                <a:gd name="T67" fmla="*/ 70 h 140"/>
                <a:gd name="T68" fmla="*/ 109 w 139"/>
                <a:gd name="T69" fmla="*/ 62 h 140"/>
                <a:gd name="T70" fmla="*/ 103 w 139"/>
                <a:gd name="T71" fmla="*/ 47 h 140"/>
                <a:gd name="T72" fmla="*/ 92 w 139"/>
                <a:gd name="T73" fmla="*/ 36 h 140"/>
                <a:gd name="T74" fmla="*/ 78 w 139"/>
                <a:gd name="T75" fmla="*/ 30 h 140"/>
                <a:gd name="T76" fmla="*/ 70 w 139"/>
                <a:gd name="T77" fmla="*/ 2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39" h="140">
                  <a:moveTo>
                    <a:pt x="139" y="2"/>
                  </a:moveTo>
                  <a:lnTo>
                    <a:pt x="139" y="139"/>
                  </a:lnTo>
                  <a:lnTo>
                    <a:pt x="108" y="139"/>
                  </a:lnTo>
                  <a:lnTo>
                    <a:pt x="108" y="125"/>
                  </a:lnTo>
                  <a:lnTo>
                    <a:pt x="108" y="125"/>
                  </a:lnTo>
                  <a:lnTo>
                    <a:pt x="102" y="130"/>
                  </a:lnTo>
                  <a:lnTo>
                    <a:pt x="93" y="136"/>
                  </a:lnTo>
                  <a:lnTo>
                    <a:pt x="82" y="139"/>
                  </a:lnTo>
                  <a:lnTo>
                    <a:pt x="76" y="140"/>
                  </a:lnTo>
                  <a:lnTo>
                    <a:pt x="69" y="140"/>
                  </a:lnTo>
                  <a:lnTo>
                    <a:pt x="69" y="140"/>
                  </a:lnTo>
                  <a:lnTo>
                    <a:pt x="55" y="139"/>
                  </a:lnTo>
                  <a:lnTo>
                    <a:pt x="41" y="136"/>
                  </a:lnTo>
                  <a:lnTo>
                    <a:pt x="30" y="130"/>
                  </a:lnTo>
                  <a:lnTo>
                    <a:pt x="19" y="121"/>
                  </a:lnTo>
                  <a:lnTo>
                    <a:pt x="11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1" y="85"/>
                  </a:lnTo>
                  <a:lnTo>
                    <a:pt x="0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5"/>
                  </a:lnTo>
                  <a:lnTo>
                    <a:pt x="3" y="49"/>
                  </a:lnTo>
                  <a:lnTo>
                    <a:pt x="6" y="42"/>
                  </a:lnTo>
                  <a:lnTo>
                    <a:pt x="11" y="30"/>
                  </a:lnTo>
                  <a:lnTo>
                    <a:pt x="19" y="20"/>
                  </a:lnTo>
                  <a:lnTo>
                    <a:pt x="30" y="12"/>
                  </a:lnTo>
                  <a:lnTo>
                    <a:pt x="41" y="5"/>
                  </a:lnTo>
                  <a:lnTo>
                    <a:pt x="55" y="2"/>
                  </a:lnTo>
                  <a:lnTo>
                    <a:pt x="69" y="0"/>
                  </a:lnTo>
                  <a:lnTo>
                    <a:pt x="69" y="0"/>
                  </a:lnTo>
                  <a:lnTo>
                    <a:pt x="76" y="0"/>
                  </a:lnTo>
                  <a:lnTo>
                    <a:pt x="81" y="2"/>
                  </a:lnTo>
                  <a:lnTo>
                    <a:pt x="93" y="5"/>
                  </a:lnTo>
                  <a:lnTo>
                    <a:pt x="102" y="11"/>
                  </a:lnTo>
                  <a:lnTo>
                    <a:pt x="108" y="16"/>
                  </a:lnTo>
                  <a:lnTo>
                    <a:pt x="108" y="2"/>
                  </a:lnTo>
                  <a:lnTo>
                    <a:pt x="139" y="2"/>
                  </a:lnTo>
                  <a:close/>
                  <a:moveTo>
                    <a:pt x="70" y="29"/>
                  </a:moveTo>
                  <a:lnTo>
                    <a:pt x="70" y="29"/>
                  </a:lnTo>
                  <a:lnTo>
                    <a:pt x="62" y="30"/>
                  </a:lnTo>
                  <a:lnTo>
                    <a:pt x="54" y="33"/>
                  </a:lnTo>
                  <a:lnTo>
                    <a:pt x="47" y="36"/>
                  </a:lnTo>
                  <a:lnTo>
                    <a:pt x="41" y="42"/>
                  </a:lnTo>
                  <a:lnTo>
                    <a:pt x="37" y="47"/>
                  </a:lnTo>
                  <a:lnTo>
                    <a:pt x="33" y="54"/>
                  </a:lnTo>
                  <a:lnTo>
                    <a:pt x="31" y="6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8"/>
                  </a:lnTo>
                  <a:lnTo>
                    <a:pt x="33" y="86"/>
                  </a:lnTo>
                  <a:lnTo>
                    <a:pt x="37" y="93"/>
                  </a:lnTo>
                  <a:lnTo>
                    <a:pt x="41" y="99"/>
                  </a:lnTo>
                  <a:lnTo>
                    <a:pt x="47" y="105"/>
                  </a:lnTo>
                  <a:lnTo>
                    <a:pt x="54" y="108"/>
                  </a:lnTo>
                  <a:lnTo>
                    <a:pt x="62" y="110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8" y="110"/>
                  </a:lnTo>
                  <a:lnTo>
                    <a:pt x="86" y="108"/>
                  </a:lnTo>
                  <a:lnTo>
                    <a:pt x="92" y="105"/>
                  </a:lnTo>
                  <a:lnTo>
                    <a:pt x="98" y="99"/>
                  </a:lnTo>
                  <a:lnTo>
                    <a:pt x="103" y="93"/>
                  </a:lnTo>
                  <a:lnTo>
                    <a:pt x="106" y="86"/>
                  </a:lnTo>
                  <a:lnTo>
                    <a:pt x="109" y="78"/>
                  </a:lnTo>
                  <a:lnTo>
                    <a:pt x="109" y="70"/>
                  </a:lnTo>
                  <a:lnTo>
                    <a:pt x="109" y="70"/>
                  </a:lnTo>
                  <a:lnTo>
                    <a:pt x="109" y="62"/>
                  </a:lnTo>
                  <a:lnTo>
                    <a:pt x="106" y="54"/>
                  </a:lnTo>
                  <a:lnTo>
                    <a:pt x="103" y="47"/>
                  </a:lnTo>
                  <a:lnTo>
                    <a:pt x="98" y="42"/>
                  </a:lnTo>
                  <a:lnTo>
                    <a:pt x="92" y="36"/>
                  </a:lnTo>
                  <a:lnTo>
                    <a:pt x="86" y="33"/>
                  </a:lnTo>
                  <a:lnTo>
                    <a:pt x="78" y="30"/>
                  </a:lnTo>
                  <a:lnTo>
                    <a:pt x="70" y="29"/>
                  </a:lnTo>
                  <a:lnTo>
                    <a:pt x="70" y="2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4" name="Freeform 38"/>
            <p:cNvSpPr>
              <a:spLocks/>
            </p:cNvSpPr>
            <p:nvPr userDrawn="1"/>
          </p:nvSpPr>
          <p:spPr bwMode="auto">
            <a:xfrm>
              <a:off x="1413" y="3775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31 w 65"/>
                <a:gd name="T3" fmla="*/ 2 h 139"/>
                <a:gd name="T4" fmla="*/ 31 w 65"/>
                <a:gd name="T5" fmla="*/ 16 h 139"/>
                <a:gd name="T6" fmla="*/ 31 w 65"/>
                <a:gd name="T7" fmla="*/ 16 h 139"/>
                <a:gd name="T8" fmla="*/ 35 w 65"/>
                <a:gd name="T9" fmla="*/ 10 h 139"/>
                <a:gd name="T10" fmla="*/ 43 w 65"/>
                <a:gd name="T11" fmla="*/ 5 h 139"/>
                <a:gd name="T12" fmla="*/ 48 w 65"/>
                <a:gd name="T13" fmla="*/ 3 h 139"/>
                <a:gd name="T14" fmla="*/ 52 w 65"/>
                <a:gd name="T15" fmla="*/ 2 h 139"/>
                <a:gd name="T16" fmla="*/ 59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50 w 65"/>
                <a:gd name="T29" fmla="*/ 31 h 139"/>
                <a:gd name="T30" fmla="*/ 44 w 65"/>
                <a:gd name="T31" fmla="*/ 35 h 139"/>
                <a:gd name="T32" fmla="*/ 40 w 65"/>
                <a:gd name="T33" fmla="*/ 38 h 139"/>
                <a:gd name="T34" fmla="*/ 35 w 65"/>
                <a:gd name="T35" fmla="*/ 44 h 139"/>
                <a:gd name="T36" fmla="*/ 33 w 65"/>
                <a:gd name="T37" fmla="*/ 50 h 139"/>
                <a:gd name="T38" fmla="*/ 31 w 65"/>
                <a:gd name="T39" fmla="*/ 57 h 139"/>
                <a:gd name="T40" fmla="*/ 31 w 65"/>
                <a:gd name="T41" fmla="*/ 63 h 139"/>
                <a:gd name="T42" fmla="*/ 31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31" y="2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0"/>
                  </a:lnTo>
                  <a:lnTo>
                    <a:pt x="43" y="5"/>
                  </a:lnTo>
                  <a:lnTo>
                    <a:pt x="48" y="3"/>
                  </a:lnTo>
                  <a:lnTo>
                    <a:pt x="52" y="2"/>
                  </a:lnTo>
                  <a:lnTo>
                    <a:pt x="59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50" y="31"/>
                  </a:lnTo>
                  <a:lnTo>
                    <a:pt x="44" y="35"/>
                  </a:lnTo>
                  <a:lnTo>
                    <a:pt x="40" y="38"/>
                  </a:lnTo>
                  <a:lnTo>
                    <a:pt x="35" y="44"/>
                  </a:lnTo>
                  <a:lnTo>
                    <a:pt x="33" y="50"/>
                  </a:lnTo>
                  <a:lnTo>
                    <a:pt x="31" y="57"/>
                  </a:lnTo>
                  <a:lnTo>
                    <a:pt x="31" y="63"/>
                  </a:lnTo>
                  <a:lnTo>
                    <a:pt x="31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5" name="Freeform 39"/>
            <p:cNvSpPr>
              <a:spLocks/>
            </p:cNvSpPr>
            <p:nvPr userDrawn="1"/>
          </p:nvSpPr>
          <p:spPr bwMode="auto">
            <a:xfrm>
              <a:off x="1440" y="3775"/>
              <a:ext cx="47" cy="47"/>
            </a:xfrm>
            <a:custGeom>
              <a:avLst/>
              <a:gdLst>
                <a:gd name="T0" fmla="*/ 71 w 141"/>
                <a:gd name="T1" fmla="*/ 113 h 140"/>
                <a:gd name="T2" fmla="*/ 87 w 141"/>
                <a:gd name="T3" fmla="*/ 109 h 140"/>
                <a:gd name="T4" fmla="*/ 100 w 141"/>
                <a:gd name="T5" fmla="*/ 100 h 140"/>
                <a:gd name="T6" fmla="*/ 108 w 141"/>
                <a:gd name="T7" fmla="*/ 88 h 140"/>
                <a:gd name="T8" fmla="*/ 110 w 141"/>
                <a:gd name="T9" fmla="*/ 70 h 140"/>
                <a:gd name="T10" fmla="*/ 141 w 141"/>
                <a:gd name="T11" fmla="*/ 70 h 140"/>
                <a:gd name="T12" fmla="*/ 140 w 141"/>
                <a:gd name="T13" fmla="*/ 85 h 140"/>
                <a:gd name="T14" fmla="*/ 135 w 141"/>
                <a:gd name="T15" fmla="*/ 98 h 140"/>
                <a:gd name="T16" fmla="*/ 120 w 141"/>
                <a:gd name="T17" fmla="*/ 121 h 140"/>
                <a:gd name="T18" fmla="*/ 98 w 141"/>
                <a:gd name="T19" fmla="*/ 136 h 140"/>
                <a:gd name="T20" fmla="*/ 85 w 141"/>
                <a:gd name="T21" fmla="*/ 139 h 140"/>
                <a:gd name="T22" fmla="*/ 71 w 141"/>
                <a:gd name="T23" fmla="*/ 140 h 140"/>
                <a:gd name="T24" fmla="*/ 63 w 141"/>
                <a:gd name="T25" fmla="*/ 140 h 140"/>
                <a:gd name="T26" fmla="*/ 49 w 141"/>
                <a:gd name="T27" fmla="*/ 138 h 140"/>
                <a:gd name="T28" fmla="*/ 31 w 141"/>
                <a:gd name="T29" fmla="*/ 129 h 140"/>
                <a:gd name="T30" fmla="*/ 13 w 141"/>
                <a:gd name="T31" fmla="*/ 110 h 140"/>
                <a:gd name="T32" fmla="*/ 3 w 141"/>
                <a:gd name="T33" fmla="*/ 92 h 140"/>
                <a:gd name="T34" fmla="*/ 1 w 141"/>
                <a:gd name="T35" fmla="*/ 78 h 140"/>
                <a:gd name="T36" fmla="*/ 0 w 141"/>
                <a:gd name="T37" fmla="*/ 70 h 140"/>
                <a:gd name="T38" fmla="*/ 2 w 141"/>
                <a:gd name="T39" fmla="*/ 55 h 140"/>
                <a:gd name="T40" fmla="*/ 6 w 141"/>
                <a:gd name="T41" fmla="*/ 43 h 140"/>
                <a:gd name="T42" fmla="*/ 21 w 141"/>
                <a:gd name="T43" fmla="*/ 20 h 140"/>
                <a:gd name="T44" fmla="*/ 42 w 141"/>
                <a:gd name="T45" fmla="*/ 5 h 140"/>
                <a:gd name="T46" fmla="*/ 56 w 141"/>
                <a:gd name="T47" fmla="*/ 2 h 140"/>
                <a:gd name="T48" fmla="*/ 71 w 141"/>
                <a:gd name="T49" fmla="*/ 0 h 140"/>
                <a:gd name="T50" fmla="*/ 79 w 141"/>
                <a:gd name="T51" fmla="*/ 0 h 140"/>
                <a:gd name="T52" fmla="*/ 93 w 141"/>
                <a:gd name="T53" fmla="*/ 4 h 140"/>
                <a:gd name="T54" fmla="*/ 105 w 141"/>
                <a:gd name="T55" fmla="*/ 8 h 140"/>
                <a:gd name="T56" fmla="*/ 121 w 141"/>
                <a:gd name="T57" fmla="*/ 21 h 140"/>
                <a:gd name="T58" fmla="*/ 98 w 141"/>
                <a:gd name="T59" fmla="*/ 41 h 140"/>
                <a:gd name="T60" fmla="*/ 87 w 141"/>
                <a:gd name="T61" fmla="*/ 33 h 140"/>
                <a:gd name="T62" fmla="*/ 71 w 141"/>
                <a:gd name="T63" fmla="*/ 29 h 140"/>
                <a:gd name="T64" fmla="*/ 62 w 141"/>
                <a:gd name="T65" fmla="*/ 29 h 140"/>
                <a:gd name="T66" fmla="*/ 48 w 141"/>
                <a:gd name="T67" fmla="*/ 36 h 140"/>
                <a:gd name="T68" fmla="*/ 38 w 141"/>
                <a:gd name="T69" fmla="*/ 46 h 140"/>
                <a:gd name="T70" fmla="*/ 32 w 141"/>
                <a:gd name="T71" fmla="*/ 61 h 140"/>
                <a:gd name="T72" fmla="*/ 31 w 141"/>
                <a:gd name="T73" fmla="*/ 70 h 140"/>
                <a:gd name="T74" fmla="*/ 34 w 141"/>
                <a:gd name="T75" fmla="*/ 88 h 140"/>
                <a:gd name="T76" fmla="*/ 42 w 141"/>
                <a:gd name="T77" fmla="*/ 100 h 140"/>
                <a:gd name="T78" fmla="*/ 55 w 141"/>
                <a:gd name="T79" fmla="*/ 109 h 140"/>
                <a:gd name="T80" fmla="*/ 71 w 141"/>
                <a:gd name="T81" fmla="*/ 11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1" h="140">
                  <a:moveTo>
                    <a:pt x="71" y="113"/>
                  </a:moveTo>
                  <a:lnTo>
                    <a:pt x="71" y="113"/>
                  </a:lnTo>
                  <a:lnTo>
                    <a:pt x="79" y="112"/>
                  </a:lnTo>
                  <a:lnTo>
                    <a:pt x="87" y="109"/>
                  </a:lnTo>
                  <a:lnTo>
                    <a:pt x="94" y="106"/>
                  </a:lnTo>
                  <a:lnTo>
                    <a:pt x="100" y="100"/>
                  </a:lnTo>
                  <a:lnTo>
                    <a:pt x="104" y="94"/>
                  </a:lnTo>
                  <a:lnTo>
                    <a:pt x="108" y="88"/>
                  </a:lnTo>
                  <a:lnTo>
                    <a:pt x="110" y="80"/>
                  </a:lnTo>
                  <a:lnTo>
                    <a:pt x="110" y="70"/>
                  </a:lnTo>
                  <a:lnTo>
                    <a:pt x="141" y="70"/>
                  </a:lnTo>
                  <a:lnTo>
                    <a:pt x="141" y="70"/>
                  </a:lnTo>
                  <a:lnTo>
                    <a:pt x="141" y="78"/>
                  </a:lnTo>
                  <a:lnTo>
                    <a:pt x="140" y="85"/>
                  </a:lnTo>
                  <a:lnTo>
                    <a:pt x="137" y="92"/>
                  </a:lnTo>
                  <a:lnTo>
                    <a:pt x="135" y="98"/>
                  </a:lnTo>
                  <a:lnTo>
                    <a:pt x="129" y="110"/>
                  </a:lnTo>
                  <a:lnTo>
                    <a:pt x="120" y="121"/>
                  </a:lnTo>
                  <a:lnTo>
                    <a:pt x="110" y="129"/>
                  </a:lnTo>
                  <a:lnTo>
                    <a:pt x="98" y="136"/>
                  </a:lnTo>
                  <a:lnTo>
                    <a:pt x="92" y="138"/>
                  </a:lnTo>
                  <a:lnTo>
                    <a:pt x="85" y="139"/>
                  </a:lnTo>
                  <a:lnTo>
                    <a:pt x="78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3" y="110"/>
                  </a:lnTo>
                  <a:lnTo>
                    <a:pt x="6" y="99"/>
                  </a:lnTo>
                  <a:lnTo>
                    <a:pt x="3" y="92"/>
                  </a:lnTo>
                  <a:lnTo>
                    <a:pt x="2" y="85"/>
                  </a:lnTo>
                  <a:lnTo>
                    <a:pt x="1" y="78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1" y="63"/>
                  </a:lnTo>
                  <a:lnTo>
                    <a:pt x="2" y="55"/>
                  </a:lnTo>
                  <a:lnTo>
                    <a:pt x="3" y="49"/>
                  </a:lnTo>
                  <a:lnTo>
                    <a:pt x="6" y="43"/>
                  </a:lnTo>
                  <a:lnTo>
                    <a:pt x="13" y="30"/>
                  </a:lnTo>
                  <a:lnTo>
                    <a:pt x="21" y="20"/>
                  </a:lnTo>
                  <a:lnTo>
                    <a:pt x="31" y="12"/>
                  </a:lnTo>
                  <a:lnTo>
                    <a:pt x="42" y="5"/>
                  </a:lnTo>
                  <a:lnTo>
                    <a:pt x="49" y="3"/>
                  </a:lnTo>
                  <a:lnTo>
                    <a:pt x="56" y="2"/>
                  </a:lnTo>
                  <a:lnTo>
                    <a:pt x="63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79" y="0"/>
                  </a:lnTo>
                  <a:lnTo>
                    <a:pt x="86" y="2"/>
                  </a:lnTo>
                  <a:lnTo>
                    <a:pt x="93" y="4"/>
                  </a:lnTo>
                  <a:lnTo>
                    <a:pt x="100" y="6"/>
                  </a:lnTo>
                  <a:lnTo>
                    <a:pt x="105" y="8"/>
                  </a:lnTo>
                  <a:lnTo>
                    <a:pt x="111" y="12"/>
                  </a:lnTo>
                  <a:lnTo>
                    <a:pt x="121" y="21"/>
                  </a:lnTo>
                  <a:lnTo>
                    <a:pt x="98" y="41"/>
                  </a:lnTo>
                  <a:lnTo>
                    <a:pt x="98" y="41"/>
                  </a:lnTo>
                  <a:lnTo>
                    <a:pt x="93" y="36"/>
                  </a:lnTo>
                  <a:lnTo>
                    <a:pt x="87" y="33"/>
                  </a:lnTo>
                  <a:lnTo>
                    <a:pt x="79" y="29"/>
                  </a:lnTo>
                  <a:lnTo>
                    <a:pt x="71" y="29"/>
                  </a:lnTo>
                  <a:lnTo>
                    <a:pt x="71" y="29"/>
                  </a:lnTo>
                  <a:lnTo>
                    <a:pt x="62" y="29"/>
                  </a:lnTo>
                  <a:lnTo>
                    <a:pt x="55" y="31"/>
                  </a:lnTo>
                  <a:lnTo>
                    <a:pt x="48" y="36"/>
                  </a:lnTo>
                  <a:lnTo>
                    <a:pt x="42" y="41"/>
                  </a:lnTo>
                  <a:lnTo>
                    <a:pt x="38" y="46"/>
                  </a:lnTo>
                  <a:lnTo>
                    <a:pt x="34" y="53"/>
                  </a:lnTo>
                  <a:lnTo>
                    <a:pt x="32" y="61"/>
                  </a:lnTo>
                  <a:lnTo>
                    <a:pt x="31" y="70"/>
                  </a:lnTo>
                  <a:lnTo>
                    <a:pt x="31" y="70"/>
                  </a:lnTo>
                  <a:lnTo>
                    <a:pt x="32" y="80"/>
                  </a:lnTo>
                  <a:lnTo>
                    <a:pt x="34" y="88"/>
                  </a:lnTo>
                  <a:lnTo>
                    <a:pt x="38" y="94"/>
                  </a:lnTo>
                  <a:lnTo>
                    <a:pt x="42" y="100"/>
                  </a:lnTo>
                  <a:lnTo>
                    <a:pt x="48" y="106"/>
                  </a:lnTo>
                  <a:lnTo>
                    <a:pt x="55" y="109"/>
                  </a:lnTo>
                  <a:lnTo>
                    <a:pt x="62" y="112"/>
                  </a:lnTo>
                  <a:lnTo>
                    <a:pt x="71" y="113"/>
                  </a:lnTo>
                  <a:lnTo>
                    <a:pt x="71" y="11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6" name="Freeform 40"/>
            <p:cNvSpPr>
              <a:spLocks/>
            </p:cNvSpPr>
            <p:nvPr userDrawn="1"/>
          </p:nvSpPr>
          <p:spPr bwMode="auto">
            <a:xfrm>
              <a:off x="1495" y="3756"/>
              <a:ext cx="40" cy="66"/>
            </a:xfrm>
            <a:custGeom>
              <a:avLst/>
              <a:gdLst>
                <a:gd name="T0" fmla="*/ 0 w 122"/>
                <a:gd name="T1" fmla="*/ 4 h 196"/>
                <a:gd name="T2" fmla="*/ 30 w 122"/>
                <a:gd name="T3" fmla="*/ 0 h 196"/>
                <a:gd name="T4" fmla="*/ 30 w 122"/>
                <a:gd name="T5" fmla="*/ 75 h 196"/>
                <a:gd name="T6" fmla="*/ 30 w 122"/>
                <a:gd name="T7" fmla="*/ 75 h 196"/>
                <a:gd name="T8" fmla="*/ 37 w 122"/>
                <a:gd name="T9" fmla="*/ 68 h 196"/>
                <a:gd name="T10" fmla="*/ 46 w 122"/>
                <a:gd name="T11" fmla="*/ 62 h 196"/>
                <a:gd name="T12" fmla="*/ 57 w 122"/>
                <a:gd name="T13" fmla="*/ 59 h 196"/>
                <a:gd name="T14" fmla="*/ 63 w 122"/>
                <a:gd name="T15" fmla="*/ 57 h 196"/>
                <a:gd name="T16" fmla="*/ 70 w 122"/>
                <a:gd name="T17" fmla="*/ 57 h 196"/>
                <a:gd name="T18" fmla="*/ 70 w 122"/>
                <a:gd name="T19" fmla="*/ 57 h 196"/>
                <a:gd name="T20" fmla="*/ 81 w 122"/>
                <a:gd name="T21" fmla="*/ 59 h 196"/>
                <a:gd name="T22" fmla="*/ 92 w 122"/>
                <a:gd name="T23" fmla="*/ 61 h 196"/>
                <a:gd name="T24" fmla="*/ 101 w 122"/>
                <a:gd name="T25" fmla="*/ 65 h 196"/>
                <a:gd name="T26" fmla="*/ 108 w 122"/>
                <a:gd name="T27" fmla="*/ 72 h 196"/>
                <a:gd name="T28" fmla="*/ 113 w 122"/>
                <a:gd name="T29" fmla="*/ 80 h 196"/>
                <a:gd name="T30" fmla="*/ 118 w 122"/>
                <a:gd name="T31" fmla="*/ 90 h 196"/>
                <a:gd name="T32" fmla="*/ 121 w 122"/>
                <a:gd name="T33" fmla="*/ 101 h 196"/>
                <a:gd name="T34" fmla="*/ 122 w 122"/>
                <a:gd name="T35" fmla="*/ 114 h 196"/>
                <a:gd name="T36" fmla="*/ 122 w 122"/>
                <a:gd name="T37" fmla="*/ 196 h 196"/>
                <a:gd name="T38" fmla="*/ 92 w 122"/>
                <a:gd name="T39" fmla="*/ 196 h 196"/>
                <a:gd name="T40" fmla="*/ 92 w 122"/>
                <a:gd name="T41" fmla="*/ 120 h 196"/>
                <a:gd name="T42" fmla="*/ 92 w 122"/>
                <a:gd name="T43" fmla="*/ 120 h 196"/>
                <a:gd name="T44" fmla="*/ 92 w 122"/>
                <a:gd name="T45" fmla="*/ 112 h 196"/>
                <a:gd name="T46" fmla="*/ 90 w 122"/>
                <a:gd name="T47" fmla="*/ 106 h 196"/>
                <a:gd name="T48" fmla="*/ 88 w 122"/>
                <a:gd name="T49" fmla="*/ 100 h 196"/>
                <a:gd name="T50" fmla="*/ 85 w 122"/>
                <a:gd name="T51" fmla="*/ 95 h 196"/>
                <a:gd name="T52" fmla="*/ 80 w 122"/>
                <a:gd name="T53" fmla="*/ 91 h 196"/>
                <a:gd name="T54" fmla="*/ 76 w 122"/>
                <a:gd name="T55" fmla="*/ 88 h 196"/>
                <a:gd name="T56" fmla="*/ 69 w 122"/>
                <a:gd name="T57" fmla="*/ 86 h 196"/>
                <a:gd name="T58" fmla="*/ 62 w 122"/>
                <a:gd name="T59" fmla="*/ 86 h 196"/>
                <a:gd name="T60" fmla="*/ 62 w 122"/>
                <a:gd name="T61" fmla="*/ 86 h 196"/>
                <a:gd name="T62" fmla="*/ 55 w 122"/>
                <a:gd name="T63" fmla="*/ 86 h 196"/>
                <a:gd name="T64" fmla="*/ 49 w 122"/>
                <a:gd name="T65" fmla="*/ 88 h 196"/>
                <a:gd name="T66" fmla="*/ 43 w 122"/>
                <a:gd name="T67" fmla="*/ 92 h 196"/>
                <a:gd name="T68" fmla="*/ 39 w 122"/>
                <a:gd name="T69" fmla="*/ 95 h 196"/>
                <a:gd name="T70" fmla="*/ 35 w 122"/>
                <a:gd name="T71" fmla="*/ 101 h 196"/>
                <a:gd name="T72" fmla="*/ 32 w 122"/>
                <a:gd name="T73" fmla="*/ 107 h 196"/>
                <a:gd name="T74" fmla="*/ 31 w 122"/>
                <a:gd name="T75" fmla="*/ 114 h 196"/>
                <a:gd name="T76" fmla="*/ 30 w 122"/>
                <a:gd name="T77" fmla="*/ 120 h 196"/>
                <a:gd name="T78" fmla="*/ 30 w 122"/>
                <a:gd name="T79" fmla="*/ 196 h 196"/>
                <a:gd name="T80" fmla="*/ 0 w 122"/>
                <a:gd name="T81" fmla="*/ 196 h 196"/>
                <a:gd name="T82" fmla="*/ 0 w 122"/>
                <a:gd name="T83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22" h="196">
                  <a:moveTo>
                    <a:pt x="0" y="4"/>
                  </a:moveTo>
                  <a:lnTo>
                    <a:pt x="30" y="0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7" y="68"/>
                  </a:lnTo>
                  <a:lnTo>
                    <a:pt x="46" y="62"/>
                  </a:lnTo>
                  <a:lnTo>
                    <a:pt x="57" y="59"/>
                  </a:lnTo>
                  <a:lnTo>
                    <a:pt x="63" y="57"/>
                  </a:lnTo>
                  <a:lnTo>
                    <a:pt x="70" y="57"/>
                  </a:lnTo>
                  <a:lnTo>
                    <a:pt x="70" y="57"/>
                  </a:lnTo>
                  <a:lnTo>
                    <a:pt x="81" y="59"/>
                  </a:lnTo>
                  <a:lnTo>
                    <a:pt x="92" y="61"/>
                  </a:lnTo>
                  <a:lnTo>
                    <a:pt x="101" y="65"/>
                  </a:lnTo>
                  <a:lnTo>
                    <a:pt x="108" y="72"/>
                  </a:lnTo>
                  <a:lnTo>
                    <a:pt x="113" y="80"/>
                  </a:lnTo>
                  <a:lnTo>
                    <a:pt x="118" y="90"/>
                  </a:lnTo>
                  <a:lnTo>
                    <a:pt x="121" y="101"/>
                  </a:lnTo>
                  <a:lnTo>
                    <a:pt x="122" y="114"/>
                  </a:lnTo>
                  <a:lnTo>
                    <a:pt x="122" y="196"/>
                  </a:lnTo>
                  <a:lnTo>
                    <a:pt x="92" y="196"/>
                  </a:lnTo>
                  <a:lnTo>
                    <a:pt x="92" y="120"/>
                  </a:lnTo>
                  <a:lnTo>
                    <a:pt x="92" y="120"/>
                  </a:lnTo>
                  <a:lnTo>
                    <a:pt x="92" y="112"/>
                  </a:lnTo>
                  <a:lnTo>
                    <a:pt x="90" y="106"/>
                  </a:lnTo>
                  <a:lnTo>
                    <a:pt x="88" y="100"/>
                  </a:lnTo>
                  <a:lnTo>
                    <a:pt x="85" y="95"/>
                  </a:lnTo>
                  <a:lnTo>
                    <a:pt x="80" y="91"/>
                  </a:lnTo>
                  <a:lnTo>
                    <a:pt x="76" y="88"/>
                  </a:lnTo>
                  <a:lnTo>
                    <a:pt x="69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55" y="86"/>
                  </a:lnTo>
                  <a:lnTo>
                    <a:pt x="49" y="88"/>
                  </a:lnTo>
                  <a:lnTo>
                    <a:pt x="43" y="92"/>
                  </a:lnTo>
                  <a:lnTo>
                    <a:pt x="39" y="95"/>
                  </a:lnTo>
                  <a:lnTo>
                    <a:pt x="35" y="101"/>
                  </a:lnTo>
                  <a:lnTo>
                    <a:pt x="32" y="107"/>
                  </a:lnTo>
                  <a:lnTo>
                    <a:pt x="31" y="114"/>
                  </a:lnTo>
                  <a:lnTo>
                    <a:pt x="30" y="120"/>
                  </a:lnTo>
                  <a:lnTo>
                    <a:pt x="30" y="196"/>
                  </a:lnTo>
                  <a:lnTo>
                    <a:pt x="0" y="196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7" name="Freeform 41"/>
            <p:cNvSpPr>
              <a:spLocks/>
            </p:cNvSpPr>
            <p:nvPr userDrawn="1"/>
          </p:nvSpPr>
          <p:spPr bwMode="auto">
            <a:xfrm>
              <a:off x="1571" y="3757"/>
              <a:ext cx="64" cy="65"/>
            </a:xfrm>
            <a:custGeom>
              <a:avLst/>
              <a:gdLst>
                <a:gd name="T0" fmla="*/ 95 w 190"/>
                <a:gd name="T1" fmla="*/ 167 h 195"/>
                <a:gd name="T2" fmla="*/ 122 w 190"/>
                <a:gd name="T3" fmla="*/ 162 h 195"/>
                <a:gd name="T4" fmla="*/ 141 w 190"/>
                <a:gd name="T5" fmla="*/ 147 h 195"/>
                <a:gd name="T6" fmla="*/ 155 w 190"/>
                <a:gd name="T7" fmla="*/ 125 h 195"/>
                <a:gd name="T8" fmla="*/ 159 w 190"/>
                <a:gd name="T9" fmla="*/ 98 h 195"/>
                <a:gd name="T10" fmla="*/ 190 w 190"/>
                <a:gd name="T11" fmla="*/ 98 h 195"/>
                <a:gd name="T12" fmla="*/ 189 w 190"/>
                <a:gd name="T13" fmla="*/ 117 h 195"/>
                <a:gd name="T14" fmla="*/ 183 w 190"/>
                <a:gd name="T15" fmla="*/ 136 h 195"/>
                <a:gd name="T16" fmla="*/ 174 w 190"/>
                <a:gd name="T17" fmla="*/ 153 h 195"/>
                <a:gd name="T18" fmla="*/ 163 w 190"/>
                <a:gd name="T19" fmla="*/ 168 h 195"/>
                <a:gd name="T20" fmla="*/ 149 w 190"/>
                <a:gd name="T21" fmla="*/ 179 h 195"/>
                <a:gd name="T22" fmla="*/ 133 w 190"/>
                <a:gd name="T23" fmla="*/ 188 h 195"/>
                <a:gd name="T24" fmla="*/ 115 w 190"/>
                <a:gd name="T25" fmla="*/ 194 h 195"/>
                <a:gd name="T26" fmla="*/ 95 w 190"/>
                <a:gd name="T27" fmla="*/ 195 h 195"/>
                <a:gd name="T28" fmla="*/ 86 w 190"/>
                <a:gd name="T29" fmla="*/ 195 h 195"/>
                <a:gd name="T30" fmla="*/ 67 w 190"/>
                <a:gd name="T31" fmla="*/ 192 h 195"/>
                <a:gd name="T32" fmla="*/ 49 w 190"/>
                <a:gd name="T33" fmla="*/ 184 h 195"/>
                <a:gd name="T34" fmla="*/ 35 w 190"/>
                <a:gd name="T35" fmla="*/ 173 h 195"/>
                <a:gd name="T36" fmla="*/ 22 w 190"/>
                <a:gd name="T37" fmla="*/ 160 h 195"/>
                <a:gd name="T38" fmla="*/ 12 w 190"/>
                <a:gd name="T39" fmla="*/ 145 h 195"/>
                <a:gd name="T40" fmla="*/ 5 w 190"/>
                <a:gd name="T41" fmla="*/ 128 h 195"/>
                <a:gd name="T42" fmla="*/ 1 w 190"/>
                <a:gd name="T43" fmla="*/ 108 h 195"/>
                <a:gd name="T44" fmla="*/ 0 w 190"/>
                <a:gd name="T45" fmla="*/ 98 h 195"/>
                <a:gd name="T46" fmla="*/ 2 w 190"/>
                <a:gd name="T47" fmla="*/ 78 h 195"/>
                <a:gd name="T48" fmla="*/ 8 w 190"/>
                <a:gd name="T49" fmla="*/ 60 h 195"/>
                <a:gd name="T50" fmla="*/ 16 w 190"/>
                <a:gd name="T51" fmla="*/ 43 h 195"/>
                <a:gd name="T52" fmla="*/ 28 w 190"/>
                <a:gd name="T53" fmla="*/ 29 h 195"/>
                <a:gd name="T54" fmla="*/ 41 w 190"/>
                <a:gd name="T55" fmla="*/ 16 h 195"/>
                <a:gd name="T56" fmla="*/ 57 w 190"/>
                <a:gd name="T57" fmla="*/ 8 h 195"/>
                <a:gd name="T58" fmla="*/ 76 w 190"/>
                <a:gd name="T59" fmla="*/ 3 h 195"/>
                <a:gd name="T60" fmla="*/ 95 w 190"/>
                <a:gd name="T61" fmla="*/ 0 h 195"/>
                <a:gd name="T62" fmla="*/ 107 w 190"/>
                <a:gd name="T63" fmla="*/ 0 h 195"/>
                <a:gd name="T64" fmla="*/ 127 w 190"/>
                <a:gd name="T65" fmla="*/ 6 h 195"/>
                <a:gd name="T66" fmla="*/ 146 w 190"/>
                <a:gd name="T67" fmla="*/ 15 h 195"/>
                <a:gd name="T68" fmla="*/ 162 w 190"/>
                <a:gd name="T69" fmla="*/ 28 h 195"/>
                <a:gd name="T70" fmla="*/ 147 w 190"/>
                <a:gd name="T71" fmla="*/ 57 h 195"/>
                <a:gd name="T72" fmla="*/ 142 w 190"/>
                <a:gd name="T73" fmla="*/ 51 h 195"/>
                <a:gd name="T74" fmla="*/ 132 w 190"/>
                <a:gd name="T75" fmla="*/ 41 h 195"/>
                <a:gd name="T76" fmla="*/ 119 w 190"/>
                <a:gd name="T77" fmla="*/ 34 h 195"/>
                <a:gd name="T78" fmla="*/ 104 w 190"/>
                <a:gd name="T79" fmla="*/ 30 h 195"/>
                <a:gd name="T80" fmla="*/ 95 w 190"/>
                <a:gd name="T81" fmla="*/ 29 h 195"/>
                <a:gd name="T82" fmla="*/ 83 w 190"/>
                <a:gd name="T83" fmla="*/ 30 h 195"/>
                <a:gd name="T84" fmla="*/ 70 w 190"/>
                <a:gd name="T85" fmla="*/ 35 h 195"/>
                <a:gd name="T86" fmla="*/ 49 w 190"/>
                <a:gd name="T87" fmla="*/ 50 h 195"/>
                <a:gd name="T88" fmla="*/ 37 w 190"/>
                <a:gd name="T89" fmla="*/ 71 h 195"/>
                <a:gd name="T90" fmla="*/ 32 w 190"/>
                <a:gd name="T91" fmla="*/ 98 h 195"/>
                <a:gd name="T92" fmla="*/ 33 w 190"/>
                <a:gd name="T93" fmla="*/ 112 h 195"/>
                <a:gd name="T94" fmla="*/ 43 w 190"/>
                <a:gd name="T95" fmla="*/ 137 h 195"/>
                <a:gd name="T96" fmla="*/ 59 w 190"/>
                <a:gd name="T97" fmla="*/ 155 h 195"/>
                <a:gd name="T98" fmla="*/ 76 w 190"/>
                <a:gd name="T99" fmla="*/ 163 h 195"/>
                <a:gd name="T100" fmla="*/ 88 w 190"/>
                <a:gd name="T101" fmla="*/ 167 h 195"/>
                <a:gd name="T102" fmla="*/ 95 w 190"/>
                <a:gd name="T103" fmla="*/ 167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0" h="195">
                  <a:moveTo>
                    <a:pt x="95" y="167"/>
                  </a:moveTo>
                  <a:lnTo>
                    <a:pt x="95" y="167"/>
                  </a:lnTo>
                  <a:lnTo>
                    <a:pt x="109" y="165"/>
                  </a:lnTo>
                  <a:lnTo>
                    <a:pt x="122" y="162"/>
                  </a:lnTo>
                  <a:lnTo>
                    <a:pt x="132" y="155"/>
                  </a:lnTo>
                  <a:lnTo>
                    <a:pt x="141" y="147"/>
                  </a:lnTo>
                  <a:lnTo>
                    <a:pt x="149" y="137"/>
                  </a:lnTo>
                  <a:lnTo>
                    <a:pt x="155" y="125"/>
                  </a:lnTo>
                  <a:lnTo>
                    <a:pt x="158" y="113"/>
                  </a:lnTo>
                  <a:lnTo>
                    <a:pt x="159" y="98"/>
                  </a:lnTo>
                  <a:lnTo>
                    <a:pt x="190" y="98"/>
                  </a:lnTo>
                  <a:lnTo>
                    <a:pt x="190" y="98"/>
                  </a:lnTo>
                  <a:lnTo>
                    <a:pt x="190" y="108"/>
                  </a:lnTo>
                  <a:lnTo>
                    <a:pt x="189" y="117"/>
                  </a:lnTo>
                  <a:lnTo>
                    <a:pt x="187" y="128"/>
                  </a:lnTo>
                  <a:lnTo>
                    <a:pt x="183" y="136"/>
                  </a:lnTo>
                  <a:lnTo>
                    <a:pt x="179" y="145"/>
                  </a:lnTo>
                  <a:lnTo>
                    <a:pt x="174" y="153"/>
                  </a:lnTo>
                  <a:lnTo>
                    <a:pt x="170" y="160"/>
                  </a:lnTo>
                  <a:lnTo>
                    <a:pt x="163" y="168"/>
                  </a:lnTo>
                  <a:lnTo>
                    <a:pt x="157" y="173"/>
                  </a:lnTo>
                  <a:lnTo>
                    <a:pt x="149" y="179"/>
                  </a:lnTo>
                  <a:lnTo>
                    <a:pt x="142" y="184"/>
                  </a:lnTo>
                  <a:lnTo>
                    <a:pt x="133" y="188"/>
                  </a:lnTo>
                  <a:lnTo>
                    <a:pt x="125" y="192"/>
                  </a:lnTo>
                  <a:lnTo>
                    <a:pt x="115" y="194"/>
                  </a:lnTo>
                  <a:lnTo>
                    <a:pt x="106" y="195"/>
                  </a:lnTo>
                  <a:lnTo>
                    <a:pt x="95" y="195"/>
                  </a:lnTo>
                  <a:lnTo>
                    <a:pt x="95" y="195"/>
                  </a:lnTo>
                  <a:lnTo>
                    <a:pt x="86" y="195"/>
                  </a:lnTo>
                  <a:lnTo>
                    <a:pt x="76" y="194"/>
                  </a:lnTo>
                  <a:lnTo>
                    <a:pt x="67" y="192"/>
                  </a:lnTo>
                  <a:lnTo>
                    <a:pt x="57" y="188"/>
                  </a:lnTo>
                  <a:lnTo>
                    <a:pt x="49" y="184"/>
                  </a:lnTo>
                  <a:lnTo>
                    <a:pt x="41" y="179"/>
                  </a:lnTo>
                  <a:lnTo>
                    <a:pt x="35" y="173"/>
                  </a:lnTo>
                  <a:lnTo>
                    <a:pt x="28" y="168"/>
                  </a:lnTo>
                  <a:lnTo>
                    <a:pt x="22" y="160"/>
                  </a:lnTo>
                  <a:lnTo>
                    <a:pt x="16" y="153"/>
                  </a:lnTo>
                  <a:lnTo>
                    <a:pt x="12" y="145"/>
                  </a:lnTo>
                  <a:lnTo>
                    <a:pt x="8" y="136"/>
                  </a:lnTo>
                  <a:lnTo>
                    <a:pt x="5" y="128"/>
                  </a:lnTo>
                  <a:lnTo>
                    <a:pt x="2" y="117"/>
                  </a:lnTo>
                  <a:lnTo>
                    <a:pt x="1" y="108"/>
                  </a:lnTo>
                  <a:lnTo>
                    <a:pt x="0" y="98"/>
                  </a:lnTo>
                  <a:lnTo>
                    <a:pt x="0" y="98"/>
                  </a:lnTo>
                  <a:lnTo>
                    <a:pt x="1" y="88"/>
                  </a:lnTo>
                  <a:lnTo>
                    <a:pt x="2" y="78"/>
                  </a:lnTo>
                  <a:lnTo>
                    <a:pt x="5" y="69"/>
                  </a:lnTo>
                  <a:lnTo>
                    <a:pt x="8" y="60"/>
                  </a:lnTo>
                  <a:lnTo>
                    <a:pt x="12" y="51"/>
                  </a:lnTo>
                  <a:lnTo>
                    <a:pt x="16" y="43"/>
                  </a:lnTo>
                  <a:lnTo>
                    <a:pt x="22" y="36"/>
                  </a:lnTo>
                  <a:lnTo>
                    <a:pt x="28" y="29"/>
                  </a:lnTo>
                  <a:lnTo>
                    <a:pt x="35" y="22"/>
                  </a:lnTo>
                  <a:lnTo>
                    <a:pt x="41" y="16"/>
                  </a:lnTo>
                  <a:lnTo>
                    <a:pt x="49" y="12"/>
                  </a:lnTo>
                  <a:lnTo>
                    <a:pt x="57" y="8"/>
                  </a:lnTo>
                  <a:lnTo>
                    <a:pt x="67" y="5"/>
                  </a:lnTo>
                  <a:lnTo>
                    <a:pt x="76" y="3"/>
                  </a:lnTo>
                  <a:lnTo>
                    <a:pt x="86" y="0"/>
                  </a:lnTo>
                  <a:lnTo>
                    <a:pt x="95" y="0"/>
                  </a:lnTo>
                  <a:lnTo>
                    <a:pt x="95" y="0"/>
                  </a:lnTo>
                  <a:lnTo>
                    <a:pt x="107" y="0"/>
                  </a:lnTo>
                  <a:lnTo>
                    <a:pt x="118" y="3"/>
                  </a:lnTo>
                  <a:lnTo>
                    <a:pt x="127" y="6"/>
                  </a:lnTo>
                  <a:lnTo>
                    <a:pt x="138" y="10"/>
                  </a:lnTo>
                  <a:lnTo>
                    <a:pt x="146" y="15"/>
                  </a:lnTo>
                  <a:lnTo>
                    <a:pt x="154" y="21"/>
                  </a:lnTo>
                  <a:lnTo>
                    <a:pt x="162" y="28"/>
                  </a:lnTo>
                  <a:lnTo>
                    <a:pt x="169" y="36"/>
                  </a:lnTo>
                  <a:lnTo>
                    <a:pt x="147" y="57"/>
                  </a:lnTo>
                  <a:lnTo>
                    <a:pt x="147" y="57"/>
                  </a:lnTo>
                  <a:lnTo>
                    <a:pt x="142" y="51"/>
                  </a:lnTo>
                  <a:lnTo>
                    <a:pt x="138" y="45"/>
                  </a:lnTo>
                  <a:lnTo>
                    <a:pt x="132" y="41"/>
                  </a:lnTo>
                  <a:lnTo>
                    <a:pt x="126" y="37"/>
                  </a:lnTo>
                  <a:lnTo>
                    <a:pt x="119" y="34"/>
                  </a:lnTo>
                  <a:lnTo>
                    <a:pt x="111" y="31"/>
                  </a:lnTo>
                  <a:lnTo>
                    <a:pt x="104" y="30"/>
                  </a:lnTo>
                  <a:lnTo>
                    <a:pt x="95" y="29"/>
                  </a:lnTo>
                  <a:lnTo>
                    <a:pt x="95" y="29"/>
                  </a:lnTo>
                  <a:lnTo>
                    <a:pt x="88" y="30"/>
                  </a:lnTo>
                  <a:lnTo>
                    <a:pt x="83" y="30"/>
                  </a:lnTo>
                  <a:lnTo>
                    <a:pt x="76" y="33"/>
                  </a:lnTo>
                  <a:lnTo>
                    <a:pt x="70" y="35"/>
                  </a:lnTo>
                  <a:lnTo>
                    <a:pt x="59" y="41"/>
                  </a:lnTo>
                  <a:lnTo>
                    <a:pt x="49" y="50"/>
                  </a:lnTo>
                  <a:lnTo>
                    <a:pt x="43" y="59"/>
                  </a:lnTo>
                  <a:lnTo>
                    <a:pt x="37" y="71"/>
                  </a:lnTo>
                  <a:lnTo>
                    <a:pt x="33" y="84"/>
                  </a:lnTo>
                  <a:lnTo>
                    <a:pt x="32" y="98"/>
                  </a:lnTo>
                  <a:lnTo>
                    <a:pt x="32" y="98"/>
                  </a:lnTo>
                  <a:lnTo>
                    <a:pt x="33" y="112"/>
                  </a:lnTo>
                  <a:lnTo>
                    <a:pt x="37" y="125"/>
                  </a:lnTo>
                  <a:lnTo>
                    <a:pt x="43" y="137"/>
                  </a:lnTo>
                  <a:lnTo>
                    <a:pt x="49" y="147"/>
                  </a:lnTo>
                  <a:lnTo>
                    <a:pt x="59" y="155"/>
                  </a:lnTo>
                  <a:lnTo>
                    <a:pt x="70" y="161"/>
                  </a:lnTo>
                  <a:lnTo>
                    <a:pt x="76" y="163"/>
                  </a:lnTo>
                  <a:lnTo>
                    <a:pt x="83" y="165"/>
                  </a:lnTo>
                  <a:lnTo>
                    <a:pt x="88" y="167"/>
                  </a:lnTo>
                  <a:lnTo>
                    <a:pt x="95" y="167"/>
                  </a:lnTo>
                  <a:lnTo>
                    <a:pt x="95" y="16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8" name="Freeform 42"/>
            <p:cNvSpPr>
              <a:spLocks noEditPoints="1"/>
            </p:cNvSpPr>
            <p:nvPr userDrawn="1"/>
          </p:nvSpPr>
          <p:spPr bwMode="auto">
            <a:xfrm>
              <a:off x="1642" y="3775"/>
              <a:ext cx="47" cy="47"/>
            </a:xfrm>
            <a:custGeom>
              <a:avLst/>
              <a:gdLst>
                <a:gd name="T0" fmla="*/ 32 w 140"/>
                <a:gd name="T1" fmla="*/ 81 h 140"/>
                <a:gd name="T2" fmla="*/ 37 w 140"/>
                <a:gd name="T3" fmla="*/ 93 h 140"/>
                <a:gd name="T4" fmla="*/ 45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7 w 140"/>
                <a:gd name="T13" fmla="*/ 105 h 140"/>
                <a:gd name="T14" fmla="*/ 138 w 140"/>
                <a:gd name="T15" fmla="*/ 99 h 140"/>
                <a:gd name="T16" fmla="*/ 133 w 140"/>
                <a:gd name="T17" fmla="*/ 108 h 140"/>
                <a:gd name="T18" fmla="*/ 121 w 140"/>
                <a:gd name="T19" fmla="*/ 123 h 140"/>
                <a:gd name="T20" fmla="*/ 103 w 140"/>
                <a:gd name="T21" fmla="*/ 135 h 140"/>
                <a:gd name="T22" fmla="*/ 83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3 w 140"/>
                <a:gd name="T29" fmla="*/ 136 h 140"/>
                <a:gd name="T30" fmla="*/ 21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1 w 140"/>
                <a:gd name="T43" fmla="*/ 21 h 140"/>
                <a:gd name="T44" fmla="*/ 43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1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8 w 140"/>
                <a:gd name="T59" fmla="*/ 57 h 140"/>
                <a:gd name="T60" fmla="*/ 140 w 140"/>
                <a:gd name="T61" fmla="*/ 70 h 140"/>
                <a:gd name="T62" fmla="*/ 139 w 140"/>
                <a:gd name="T63" fmla="*/ 81 h 140"/>
                <a:gd name="T64" fmla="*/ 33 w 140"/>
                <a:gd name="T65" fmla="*/ 54 h 140"/>
                <a:gd name="T66" fmla="*/ 107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3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2 w 140"/>
                <a:gd name="T79" fmla="*/ 33 h 140"/>
                <a:gd name="T80" fmla="*/ 43 w 140"/>
                <a:gd name="T81" fmla="*/ 39 h 140"/>
                <a:gd name="T82" fmla="*/ 36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7" y="93"/>
                  </a:lnTo>
                  <a:lnTo>
                    <a:pt x="40" y="99"/>
                  </a:lnTo>
                  <a:lnTo>
                    <a:pt x="45" y="104"/>
                  </a:lnTo>
                  <a:lnTo>
                    <a:pt x="51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90" y="109"/>
                  </a:lnTo>
                  <a:lnTo>
                    <a:pt x="97" y="105"/>
                  </a:lnTo>
                  <a:lnTo>
                    <a:pt x="102" y="99"/>
                  </a:lnTo>
                  <a:lnTo>
                    <a:pt x="138" y="99"/>
                  </a:lnTo>
                  <a:lnTo>
                    <a:pt x="138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1" y="123"/>
                  </a:lnTo>
                  <a:lnTo>
                    <a:pt x="113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3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50" y="138"/>
                  </a:lnTo>
                  <a:lnTo>
                    <a:pt x="43" y="136"/>
                  </a:lnTo>
                  <a:lnTo>
                    <a:pt x="31" y="129"/>
                  </a:lnTo>
                  <a:lnTo>
                    <a:pt x="21" y="121"/>
                  </a:lnTo>
                  <a:lnTo>
                    <a:pt x="12" y="109"/>
                  </a:lnTo>
                  <a:lnTo>
                    <a:pt x="6" y="98"/>
                  </a:lnTo>
                  <a:lnTo>
                    <a:pt x="4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2" y="31"/>
                  </a:lnTo>
                  <a:lnTo>
                    <a:pt x="21" y="21"/>
                  </a:lnTo>
                  <a:lnTo>
                    <a:pt x="31" y="12"/>
                  </a:lnTo>
                  <a:lnTo>
                    <a:pt x="43" y="6"/>
                  </a:lnTo>
                  <a:lnTo>
                    <a:pt x="50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4" y="2"/>
                  </a:lnTo>
                  <a:lnTo>
                    <a:pt x="91" y="4"/>
                  </a:lnTo>
                  <a:lnTo>
                    <a:pt x="98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8" y="57"/>
                  </a:lnTo>
                  <a:lnTo>
                    <a:pt x="139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9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7" y="54"/>
                  </a:lnTo>
                  <a:lnTo>
                    <a:pt x="107" y="54"/>
                  </a:lnTo>
                  <a:lnTo>
                    <a:pt x="105" y="49"/>
                  </a:lnTo>
                  <a:lnTo>
                    <a:pt x="101" y="44"/>
                  </a:lnTo>
                  <a:lnTo>
                    <a:pt x="98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3" y="30"/>
                  </a:lnTo>
                  <a:lnTo>
                    <a:pt x="76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8" y="30"/>
                  </a:lnTo>
                  <a:lnTo>
                    <a:pt x="52" y="33"/>
                  </a:lnTo>
                  <a:lnTo>
                    <a:pt x="47" y="36"/>
                  </a:lnTo>
                  <a:lnTo>
                    <a:pt x="43" y="39"/>
                  </a:lnTo>
                  <a:lnTo>
                    <a:pt x="38" y="44"/>
                  </a:lnTo>
                  <a:lnTo>
                    <a:pt x="36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9" name="Freeform 43"/>
            <p:cNvSpPr>
              <a:spLocks/>
            </p:cNvSpPr>
            <p:nvPr userDrawn="1"/>
          </p:nvSpPr>
          <p:spPr bwMode="auto">
            <a:xfrm>
              <a:off x="1698" y="3775"/>
              <a:ext cx="40" cy="47"/>
            </a:xfrm>
            <a:custGeom>
              <a:avLst/>
              <a:gdLst>
                <a:gd name="T0" fmla="*/ 0 w 121"/>
                <a:gd name="T1" fmla="*/ 2 h 139"/>
                <a:gd name="T2" fmla="*/ 30 w 121"/>
                <a:gd name="T3" fmla="*/ 2 h 139"/>
                <a:gd name="T4" fmla="*/ 30 w 121"/>
                <a:gd name="T5" fmla="*/ 18 h 139"/>
                <a:gd name="T6" fmla="*/ 30 w 121"/>
                <a:gd name="T7" fmla="*/ 18 h 139"/>
                <a:gd name="T8" fmla="*/ 36 w 121"/>
                <a:gd name="T9" fmla="*/ 12 h 139"/>
                <a:gd name="T10" fmla="*/ 44 w 121"/>
                <a:gd name="T11" fmla="*/ 6 h 139"/>
                <a:gd name="T12" fmla="*/ 50 w 121"/>
                <a:gd name="T13" fmla="*/ 4 h 139"/>
                <a:gd name="T14" fmla="*/ 55 w 121"/>
                <a:gd name="T15" fmla="*/ 2 h 139"/>
                <a:gd name="T16" fmla="*/ 61 w 121"/>
                <a:gd name="T17" fmla="*/ 0 h 139"/>
                <a:gd name="T18" fmla="*/ 68 w 121"/>
                <a:gd name="T19" fmla="*/ 0 h 139"/>
                <a:gd name="T20" fmla="*/ 68 w 121"/>
                <a:gd name="T21" fmla="*/ 0 h 139"/>
                <a:gd name="T22" fmla="*/ 79 w 121"/>
                <a:gd name="T23" fmla="*/ 2 h 139"/>
                <a:gd name="T24" fmla="*/ 91 w 121"/>
                <a:gd name="T25" fmla="*/ 4 h 139"/>
                <a:gd name="T26" fmla="*/ 99 w 121"/>
                <a:gd name="T27" fmla="*/ 8 h 139"/>
                <a:gd name="T28" fmla="*/ 107 w 121"/>
                <a:gd name="T29" fmla="*/ 15 h 139"/>
                <a:gd name="T30" fmla="*/ 113 w 121"/>
                <a:gd name="T31" fmla="*/ 23 h 139"/>
                <a:gd name="T32" fmla="*/ 117 w 121"/>
                <a:gd name="T33" fmla="*/ 33 h 139"/>
                <a:gd name="T34" fmla="*/ 120 w 121"/>
                <a:gd name="T35" fmla="*/ 44 h 139"/>
                <a:gd name="T36" fmla="*/ 121 w 121"/>
                <a:gd name="T37" fmla="*/ 57 h 139"/>
                <a:gd name="T38" fmla="*/ 121 w 121"/>
                <a:gd name="T39" fmla="*/ 139 h 139"/>
                <a:gd name="T40" fmla="*/ 91 w 121"/>
                <a:gd name="T41" fmla="*/ 139 h 139"/>
                <a:gd name="T42" fmla="*/ 91 w 121"/>
                <a:gd name="T43" fmla="*/ 63 h 139"/>
                <a:gd name="T44" fmla="*/ 91 w 121"/>
                <a:gd name="T45" fmla="*/ 63 h 139"/>
                <a:gd name="T46" fmla="*/ 90 w 121"/>
                <a:gd name="T47" fmla="*/ 55 h 139"/>
                <a:gd name="T48" fmla="*/ 89 w 121"/>
                <a:gd name="T49" fmla="*/ 47 h 139"/>
                <a:gd name="T50" fmla="*/ 86 w 121"/>
                <a:gd name="T51" fmla="*/ 42 h 139"/>
                <a:gd name="T52" fmla="*/ 83 w 121"/>
                <a:gd name="T53" fmla="*/ 37 h 139"/>
                <a:gd name="T54" fmla="*/ 78 w 121"/>
                <a:gd name="T55" fmla="*/ 34 h 139"/>
                <a:gd name="T56" fmla="*/ 74 w 121"/>
                <a:gd name="T57" fmla="*/ 30 h 139"/>
                <a:gd name="T58" fmla="*/ 67 w 121"/>
                <a:gd name="T59" fmla="*/ 29 h 139"/>
                <a:gd name="T60" fmla="*/ 60 w 121"/>
                <a:gd name="T61" fmla="*/ 29 h 139"/>
                <a:gd name="T62" fmla="*/ 60 w 121"/>
                <a:gd name="T63" fmla="*/ 29 h 139"/>
                <a:gd name="T64" fmla="*/ 53 w 121"/>
                <a:gd name="T65" fmla="*/ 29 h 139"/>
                <a:gd name="T66" fmla="*/ 47 w 121"/>
                <a:gd name="T67" fmla="*/ 31 h 139"/>
                <a:gd name="T68" fmla="*/ 42 w 121"/>
                <a:gd name="T69" fmla="*/ 35 h 139"/>
                <a:gd name="T70" fmla="*/ 38 w 121"/>
                <a:gd name="T71" fmla="*/ 38 h 139"/>
                <a:gd name="T72" fmla="*/ 35 w 121"/>
                <a:gd name="T73" fmla="*/ 44 h 139"/>
                <a:gd name="T74" fmla="*/ 32 w 121"/>
                <a:gd name="T75" fmla="*/ 50 h 139"/>
                <a:gd name="T76" fmla="*/ 30 w 121"/>
                <a:gd name="T77" fmla="*/ 57 h 139"/>
                <a:gd name="T78" fmla="*/ 30 w 121"/>
                <a:gd name="T79" fmla="*/ 63 h 139"/>
                <a:gd name="T80" fmla="*/ 30 w 121"/>
                <a:gd name="T81" fmla="*/ 139 h 139"/>
                <a:gd name="T82" fmla="*/ 0 w 121"/>
                <a:gd name="T83" fmla="*/ 139 h 139"/>
                <a:gd name="T84" fmla="*/ 0 w 121"/>
                <a:gd name="T85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1" h="139">
                  <a:moveTo>
                    <a:pt x="0" y="2"/>
                  </a:moveTo>
                  <a:lnTo>
                    <a:pt x="30" y="2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6"/>
                  </a:lnTo>
                  <a:lnTo>
                    <a:pt x="50" y="4"/>
                  </a:lnTo>
                  <a:lnTo>
                    <a:pt x="55" y="2"/>
                  </a:lnTo>
                  <a:lnTo>
                    <a:pt x="61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9" y="2"/>
                  </a:lnTo>
                  <a:lnTo>
                    <a:pt x="91" y="4"/>
                  </a:lnTo>
                  <a:lnTo>
                    <a:pt x="99" y="8"/>
                  </a:lnTo>
                  <a:lnTo>
                    <a:pt x="107" y="15"/>
                  </a:lnTo>
                  <a:lnTo>
                    <a:pt x="113" y="23"/>
                  </a:lnTo>
                  <a:lnTo>
                    <a:pt x="117" y="33"/>
                  </a:lnTo>
                  <a:lnTo>
                    <a:pt x="120" y="44"/>
                  </a:lnTo>
                  <a:lnTo>
                    <a:pt x="121" y="57"/>
                  </a:lnTo>
                  <a:lnTo>
                    <a:pt x="121" y="139"/>
                  </a:lnTo>
                  <a:lnTo>
                    <a:pt x="91" y="139"/>
                  </a:lnTo>
                  <a:lnTo>
                    <a:pt x="91" y="63"/>
                  </a:lnTo>
                  <a:lnTo>
                    <a:pt x="91" y="63"/>
                  </a:lnTo>
                  <a:lnTo>
                    <a:pt x="90" y="55"/>
                  </a:lnTo>
                  <a:lnTo>
                    <a:pt x="89" y="47"/>
                  </a:lnTo>
                  <a:lnTo>
                    <a:pt x="86" y="42"/>
                  </a:lnTo>
                  <a:lnTo>
                    <a:pt x="83" y="37"/>
                  </a:lnTo>
                  <a:lnTo>
                    <a:pt x="78" y="34"/>
                  </a:lnTo>
                  <a:lnTo>
                    <a:pt x="74" y="30"/>
                  </a:lnTo>
                  <a:lnTo>
                    <a:pt x="67" y="29"/>
                  </a:lnTo>
                  <a:lnTo>
                    <a:pt x="60" y="29"/>
                  </a:lnTo>
                  <a:lnTo>
                    <a:pt x="60" y="29"/>
                  </a:lnTo>
                  <a:lnTo>
                    <a:pt x="53" y="29"/>
                  </a:lnTo>
                  <a:lnTo>
                    <a:pt x="47" y="31"/>
                  </a:lnTo>
                  <a:lnTo>
                    <a:pt x="42" y="35"/>
                  </a:lnTo>
                  <a:lnTo>
                    <a:pt x="38" y="38"/>
                  </a:lnTo>
                  <a:lnTo>
                    <a:pt x="35" y="44"/>
                  </a:lnTo>
                  <a:lnTo>
                    <a:pt x="32" y="50"/>
                  </a:lnTo>
                  <a:lnTo>
                    <a:pt x="30" y="57"/>
                  </a:lnTo>
                  <a:lnTo>
                    <a:pt x="30" y="63"/>
                  </a:lnTo>
                  <a:lnTo>
                    <a:pt x="30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0" name="Freeform 44"/>
            <p:cNvSpPr>
              <a:spLocks/>
            </p:cNvSpPr>
            <p:nvPr userDrawn="1"/>
          </p:nvSpPr>
          <p:spPr bwMode="auto">
            <a:xfrm>
              <a:off x="1744" y="3756"/>
              <a:ext cx="33" cy="66"/>
            </a:xfrm>
            <a:custGeom>
              <a:avLst/>
              <a:gdLst>
                <a:gd name="T0" fmla="*/ 29 w 100"/>
                <a:gd name="T1" fmla="*/ 4 h 196"/>
                <a:gd name="T2" fmla="*/ 58 w 100"/>
                <a:gd name="T3" fmla="*/ 0 h 196"/>
                <a:gd name="T4" fmla="*/ 58 w 100"/>
                <a:gd name="T5" fmla="*/ 59 h 196"/>
                <a:gd name="T6" fmla="*/ 100 w 100"/>
                <a:gd name="T7" fmla="*/ 59 h 196"/>
                <a:gd name="T8" fmla="*/ 100 w 100"/>
                <a:gd name="T9" fmla="*/ 87 h 196"/>
                <a:gd name="T10" fmla="*/ 58 w 100"/>
                <a:gd name="T11" fmla="*/ 87 h 196"/>
                <a:gd name="T12" fmla="*/ 58 w 100"/>
                <a:gd name="T13" fmla="*/ 196 h 196"/>
                <a:gd name="T14" fmla="*/ 29 w 100"/>
                <a:gd name="T15" fmla="*/ 196 h 196"/>
                <a:gd name="T16" fmla="*/ 29 w 100"/>
                <a:gd name="T17" fmla="*/ 87 h 196"/>
                <a:gd name="T18" fmla="*/ 0 w 100"/>
                <a:gd name="T19" fmla="*/ 87 h 196"/>
                <a:gd name="T20" fmla="*/ 0 w 100"/>
                <a:gd name="T21" fmla="*/ 59 h 196"/>
                <a:gd name="T22" fmla="*/ 29 w 100"/>
                <a:gd name="T23" fmla="*/ 59 h 196"/>
                <a:gd name="T24" fmla="*/ 29 w 100"/>
                <a:gd name="T25" fmla="*/ 4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196">
                  <a:moveTo>
                    <a:pt x="29" y="4"/>
                  </a:moveTo>
                  <a:lnTo>
                    <a:pt x="58" y="0"/>
                  </a:lnTo>
                  <a:lnTo>
                    <a:pt x="58" y="59"/>
                  </a:lnTo>
                  <a:lnTo>
                    <a:pt x="100" y="59"/>
                  </a:lnTo>
                  <a:lnTo>
                    <a:pt x="100" y="87"/>
                  </a:lnTo>
                  <a:lnTo>
                    <a:pt x="58" y="87"/>
                  </a:lnTo>
                  <a:lnTo>
                    <a:pt x="58" y="196"/>
                  </a:lnTo>
                  <a:lnTo>
                    <a:pt x="29" y="196"/>
                  </a:lnTo>
                  <a:lnTo>
                    <a:pt x="29" y="87"/>
                  </a:lnTo>
                  <a:lnTo>
                    <a:pt x="0" y="87"/>
                  </a:lnTo>
                  <a:lnTo>
                    <a:pt x="0" y="59"/>
                  </a:lnTo>
                  <a:lnTo>
                    <a:pt x="29" y="59"/>
                  </a:lnTo>
                  <a:lnTo>
                    <a:pt x="29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1" name="Freeform 45"/>
            <p:cNvSpPr>
              <a:spLocks/>
            </p:cNvSpPr>
            <p:nvPr userDrawn="1"/>
          </p:nvSpPr>
          <p:spPr bwMode="auto">
            <a:xfrm>
              <a:off x="1785" y="3775"/>
              <a:ext cx="22" cy="47"/>
            </a:xfrm>
            <a:custGeom>
              <a:avLst/>
              <a:gdLst>
                <a:gd name="T0" fmla="*/ 0 w 65"/>
                <a:gd name="T1" fmla="*/ 2 h 139"/>
                <a:gd name="T2" fmla="*/ 29 w 65"/>
                <a:gd name="T3" fmla="*/ 2 h 139"/>
                <a:gd name="T4" fmla="*/ 29 w 65"/>
                <a:gd name="T5" fmla="*/ 16 h 139"/>
                <a:gd name="T6" fmla="*/ 29 w 65"/>
                <a:gd name="T7" fmla="*/ 16 h 139"/>
                <a:gd name="T8" fmla="*/ 35 w 65"/>
                <a:gd name="T9" fmla="*/ 10 h 139"/>
                <a:gd name="T10" fmla="*/ 42 w 65"/>
                <a:gd name="T11" fmla="*/ 5 h 139"/>
                <a:gd name="T12" fmla="*/ 47 w 65"/>
                <a:gd name="T13" fmla="*/ 3 h 139"/>
                <a:gd name="T14" fmla="*/ 52 w 65"/>
                <a:gd name="T15" fmla="*/ 2 h 139"/>
                <a:gd name="T16" fmla="*/ 58 w 65"/>
                <a:gd name="T17" fmla="*/ 0 h 139"/>
                <a:gd name="T18" fmla="*/ 65 w 65"/>
                <a:gd name="T19" fmla="*/ 0 h 139"/>
                <a:gd name="T20" fmla="*/ 65 w 65"/>
                <a:gd name="T21" fmla="*/ 29 h 139"/>
                <a:gd name="T22" fmla="*/ 63 w 65"/>
                <a:gd name="T23" fmla="*/ 29 h 139"/>
                <a:gd name="T24" fmla="*/ 63 w 65"/>
                <a:gd name="T25" fmla="*/ 29 h 139"/>
                <a:gd name="T26" fmla="*/ 56 w 65"/>
                <a:gd name="T27" fmla="*/ 30 h 139"/>
                <a:gd name="T28" fmla="*/ 49 w 65"/>
                <a:gd name="T29" fmla="*/ 31 h 139"/>
                <a:gd name="T30" fmla="*/ 43 w 65"/>
                <a:gd name="T31" fmla="*/ 35 h 139"/>
                <a:gd name="T32" fmla="*/ 39 w 65"/>
                <a:gd name="T33" fmla="*/ 38 h 139"/>
                <a:gd name="T34" fmla="*/ 35 w 65"/>
                <a:gd name="T35" fmla="*/ 44 h 139"/>
                <a:gd name="T36" fmla="*/ 32 w 65"/>
                <a:gd name="T37" fmla="*/ 50 h 139"/>
                <a:gd name="T38" fmla="*/ 31 w 65"/>
                <a:gd name="T39" fmla="*/ 57 h 139"/>
                <a:gd name="T40" fmla="*/ 29 w 65"/>
                <a:gd name="T41" fmla="*/ 63 h 139"/>
                <a:gd name="T42" fmla="*/ 29 w 65"/>
                <a:gd name="T43" fmla="*/ 139 h 139"/>
                <a:gd name="T44" fmla="*/ 0 w 65"/>
                <a:gd name="T45" fmla="*/ 139 h 139"/>
                <a:gd name="T46" fmla="*/ 0 w 65"/>
                <a:gd name="T47" fmla="*/ 2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" h="139">
                  <a:moveTo>
                    <a:pt x="0" y="2"/>
                  </a:moveTo>
                  <a:lnTo>
                    <a:pt x="29" y="2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5" y="10"/>
                  </a:lnTo>
                  <a:lnTo>
                    <a:pt x="42" y="5"/>
                  </a:lnTo>
                  <a:lnTo>
                    <a:pt x="47" y="3"/>
                  </a:lnTo>
                  <a:lnTo>
                    <a:pt x="52" y="2"/>
                  </a:lnTo>
                  <a:lnTo>
                    <a:pt x="58" y="0"/>
                  </a:lnTo>
                  <a:lnTo>
                    <a:pt x="65" y="0"/>
                  </a:lnTo>
                  <a:lnTo>
                    <a:pt x="65" y="29"/>
                  </a:lnTo>
                  <a:lnTo>
                    <a:pt x="63" y="29"/>
                  </a:lnTo>
                  <a:lnTo>
                    <a:pt x="63" y="29"/>
                  </a:lnTo>
                  <a:lnTo>
                    <a:pt x="56" y="30"/>
                  </a:lnTo>
                  <a:lnTo>
                    <a:pt x="49" y="31"/>
                  </a:lnTo>
                  <a:lnTo>
                    <a:pt x="43" y="35"/>
                  </a:lnTo>
                  <a:lnTo>
                    <a:pt x="39" y="38"/>
                  </a:lnTo>
                  <a:lnTo>
                    <a:pt x="35" y="44"/>
                  </a:lnTo>
                  <a:lnTo>
                    <a:pt x="32" y="50"/>
                  </a:lnTo>
                  <a:lnTo>
                    <a:pt x="31" y="57"/>
                  </a:lnTo>
                  <a:lnTo>
                    <a:pt x="29" y="63"/>
                  </a:lnTo>
                  <a:lnTo>
                    <a:pt x="29" y="139"/>
                  </a:lnTo>
                  <a:lnTo>
                    <a:pt x="0" y="139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2" name="Freeform 46"/>
            <p:cNvSpPr>
              <a:spLocks noEditPoints="1"/>
            </p:cNvSpPr>
            <p:nvPr userDrawn="1"/>
          </p:nvSpPr>
          <p:spPr bwMode="auto">
            <a:xfrm>
              <a:off x="1812" y="3775"/>
              <a:ext cx="46" cy="47"/>
            </a:xfrm>
            <a:custGeom>
              <a:avLst/>
              <a:gdLst>
                <a:gd name="T0" fmla="*/ 32 w 140"/>
                <a:gd name="T1" fmla="*/ 81 h 140"/>
                <a:gd name="T2" fmla="*/ 36 w 140"/>
                <a:gd name="T3" fmla="*/ 93 h 140"/>
                <a:gd name="T4" fmla="*/ 44 w 140"/>
                <a:gd name="T5" fmla="*/ 104 h 140"/>
                <a:gd name="T6" fmla="*/ 56 w 140"/>
                <a:gd name="T7" fmla="*/ 109 h 140"/>
                <a:gd name="T8" fmla="*/ 71 w 140"/>
                <a:gd name="T9" fmla="*/ 113 h 140"/>
                <a:gd name="T10" fmla="*/ 80 w 140"/>
                <a:gd name="T11" fmla="*/ 112 h 140"/>
                <a:gd name="T12" fmla="*/ 96 w 140"/>
                <a:gd name="T13" fmla="*/ 105 h 140"/>
                <a:gd name="T14" fmla="*/ 137 w 140"/>
                <a:gd name="T15" fmla="*/ 99 h 140"/>
                <a:gd name="T16" fmla="*/ 133 w 140"/>
                <a:gd name="T17" fmla="*/ 108 h 140"/>
                <a:gd name="T18" fmla="*/ 120 w 140"/>
                <a:gd name="T19" fmla="*/ 123 h 140"/>
                <a:gd name="T20" fmla="*/ 103 w 140"/>
                <a:gd name="T21" fmla="*/ 135 h 140"/>
                <a:gd name="T22" fmla="*/ 81 w 140"/>
                <a:gd name="T23" fmla="*/ 140 h 140"/>
                <a:gd name="T24" fmla="*/ 71 w 140"/>
                <a:gd name="T25" fmla="*/ 140 h 140"/>
                <a:gd name="T26" fmla="*/ 56 w 140"/>
                <a:gd name="T27" fmla="*/ 139 h 140"/>
                <a:gd name="T28" fmla="*/ 42 w 140"/>
                <a:gd name="T29" fmla="*/ 136 h 140"/>
                <a:gd name="T30" fmla="*/ 20 w 140"/>
                <a:gd name="T31" fmla="*/ 121 h 140"/>
                <a:gd name="T32" fmla="*/ 6 w 140"/>
                <a:gd name="T33" fmla="*/ 98 h 140"/>
                <a:gd name="T34" fmla="*/ 1 w 140"/>
                <a:gd name="T35" fmla="*/ 85 h 140"/>
                <a:gd name="T36" fmla="*/ 0 w 140"/>
                <a:gd name="T37" fmla="*/ 70 h 140"/>
                <a:gd name="T38" fmla="*/ 0 w 140"/>
                <a:gd name="T39" fmla="*/ 63 h 140"/>
                <a:gd name="T40" fmla="*/ 6 w 140"/>
                <a:gd name="T41" fmla="*/ 43 h 140"/>
                <a:gd name="T42" fmla="*/ 20 w 140"/>
                <a:gd name="T43" fmla="*/ 21 h 140"/>
                <a:gd name="T44" fmla="*/ 42 w 140"/>
                <a:gd name="T45" fmla="*/ 6 h 140"/>
                <a:gd name="T46" fmla="*/ 55 w 140"/>
                <a:gd name="T47" fmla="*/ 2 h 140"/>
                <a:gd name="T48" fmla="*/ 70 w 140"/>
                <a:gd name="T49" fmla="*/ 0 h 140"/>
                <a:gd name="T50" fmla="*/ 77 w 140"/>
                <a:gd name="T51" fmla="*/ 0 h 140"/>
                <a:gd name="T52" fmla="*/ 90 w 140"/>
                <a:gd name="T53" fmla="*/ 4 h 140"/>
                <a:gd name="T54" fmla="*/ 109 w 140"/>
                <a:gd name="T55" fmla="*/ 12 h 140"/>
                <a:gd name="T56" fmla="*/ 127 w 140"/>
                <a:gd name="T57" fmla="*/ 31 h 140"/>
                <a:gd name="T58" fmla="*/ 137 w 140"/>
                <a:gd name="T59" fmla="*/ 57 h 140"/>
                <a:gd name="T60" fmla="*/ 140 w 140"/>
                <a:gd name="T61" fmla="*/ 70 h 140"/>
                <a:gd name="T62" fmla="*/ 138 w 140"/>
                <a:gd name="T63" fmla="*/ 81 h 140"/>
                <a:gd name="T64" fmla="*/ 33 w 140"/>
                <a:gd name="T65" fmla="*/ 54 h 140"/>
                <a:gd name="T66" fmla="*/ 106 w 140"/>
                <a:gd name="T67" fmla="*/ 54 h 140"/>
                <a:gd name="T68" fmla="*/ 101 w 140"/>
                <a:gd name="T69" fmla="*/ 44 h 140"/>
                <a:gd name="T70" fmla="*/ 93 w 140"/>
                <a:gd name="T71" fmla="*/ 36 h 140"/>
                <a:gd name="T72" fmla="*/ 82 w 140"/>
                <a:gd name="T73" fmla="*/ 30 h 140"/>
                <a:gd name="T74" fmla="*/ 70 w 140"/>
                <a:gd name="T75" fmla="*/ 28 h 140"/>
                <a:gd name="T76" fmla="*/ 63 w 140"/>
                <a:gd name="T77" fmla="*/ 29 h 140"/>
                <a:gd name="T78" fmla="*/ 51 w 140"/>
                <a:gd name="T79" fmla="*/ 33 h 140"/>
                <a:gd name="T80" fmla="*/ 42 w 140"/>
                <a:gd name="T81" fmla="*/ 39 h 140"/>
                <a:gd name="T82" fmla="*/ 35 w 140"/>
                <a:gd name="T83" fmla="*/ 49 h 140"/>
                <a:gd name="T84" fmla="*/ 33 w 140"/>
                <a:gd name="T85" fmla="*/ 54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0" h="140">
                  <a:moveTo>
                    <a:pt x="32" y="81"/>
                  </a:moveTo>
                  <a:lnTo>
                    <a:pt x="32" y="81"/>
                  </a:lnTo>
                  <a:lnTo>
                    <a:pt x="33" y="88"/>
                  </a:lnTo>
                  <a:lnTo>
                    <a:pt x="36" y="93"/>
                  </a:lnTo>
                  <a:lnTo>
                    <a:pt x="40" y="99"/>
                  </a:lnTo>
                  <a:lnTo>
                    <a:pt x="44" y="104"/>
                  </a:lnTo>
                  <a:lnTo>
                    <a:pt x="50" y="107"/>
                  </a:lnTo>
                  <a:lnTo>
                    <a:pt x="56" y="109"/>
                  </a:lnTo>
                  <a:lnTo>
                    <a:pt x="63" y="112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80" y="112"/>
                  </a:lnTo>
                  <a:lnTo>
                    <a:pt x="89" y="109"/>
                  </a:lnTo>
                  <a:lnTo>
                    <a:pt x="96" y="105"/>
                  </a:lnTo>
                  <a:lnTo>
                    <a:pt x="102" y="99"/>
                  </a:lnTo>
                  <a:lnTo>
                    <a:pt x="137" y="99"/>
                  </a:lnTo>
                  <a:lnTo>
                    <a:pt x="137" y="99"/>
                  </a:lnTo>
                  <a:lnTo>
                    <a:pt x="133" y="108"/>
                  </a:lnTo>
                  <a:lnTo>
                    <a:pt x="127" y="116"/>
                  </a:lnTo>
                  <a:lnTo>
                    <a:pt x="120" y="123"/>
                  </a:lnTo>
                  <a:lnTo>
                    <a:pt x="112" y="129"/>
                  </a:lnTo>
                  <a:lnTo>
                    <a:pt x="103" y="135"/>
                  </a:lnTo>
                  <a:lnTo>
                    <a:pt x="93" y="138"/>
                  </a:lnTo>
                  <a:lnTo>
                    <a:pt x="81" y="140"/>
                  </a:lnTo>
                  <a:lnTo>
                    <a:pt x="71" y="140"/>
                  </a:lnTo>
                  <a:lnTo>
                    <a:pt x="71" y="140"/>
                  </a:lnTo>
                  <a:lnTo>
                    <a:pt x="63" y="140"/>
                  </a:lnTo>
                  <a:lnTo>
                    <a:pt x="56" y="139"/>
                  </a:lnTo>
                  <a:lnTo>
                    <a:pt x="49" y="138"/>
                  </a:lnTo>
                  <a:lnTo>
                    <a:pt x="42" y="136"/>
                  </a:lnTo>
                  <a:lnTo>
                    <a:pt x="31" y="129"/>
                  </a:lnTo>
                  <a:lnTo>
                    <a:pt x="20" y="121"/>
                  </a:lnTo>
                  <a:lnTo>
                    <a:pt x="11" y="109"/>
                  </a:lnTo>
                  <a:lnTo>
                    <a:pt x="6" y="98"/>
                  </a:lnTo>
                  <a:lnTo>
                    <a:pt x="3" y="91"/>
                  </a:lnTo>
                  <a:lnTo>
                    <a:pt x="1" y="85"/>
                  </a:lnTo>
                  <a:lnTo>
                    <a:pt x="0" y="77"/>
                  </a:lnTo>
                  <a:lnTo>
                    <a:pt x="0" y="70"/>
                  </a:lnTo>
                  <a:lnTo>
                    <a:pt x="0" y="70"/>
                  </a:lnTo>
                  <a:lnTo>
                    <a:pt x="0" y="63"/>
                  </a:lnTo>
                  <a:lnTo>
                    <a:pt x="1" y="57"/>
                  </a:lnTo>
                  <a:lnTo>
                    <a:pt x="6" y="43"/>
                  </a:lnTo>
                  <a:lnTo>
                    <a:pt x="11" y="31"/>
                  </a:lnTo>
                  <a:lnTo>
                    <a:pt x="20" y="21"/>
                  </a:lnTo>
                  <a:lnTo>
                    <a:pt x="31" y="12"/>
                  </a:lnTo>
                  <a:lnTo>
                    <a:pt x="42" y="6"/>
                  </a:lnTo>
                  <a:lnTo>
                    <a:pt x="49" y="4"/>
                  </a:lnTo>
                  <a:lnTo>
                    <a:pt x="55" y="2"/>
                  </a:lnTo>
                  <a:lnTo>
                    <a:pt x="63" y="0"/>
                  </a:lnTo>
                  <a:lnTo>
                    <a:pt x="70" y="0"/>
                  </a:lnTo>
                  <a:lnTo>
                    <a:pt x="70" y="0"/>
                  </a:lnTo>
                  <a:lnTo>
                    <a:pt x="77" y="0"/>
                  </a:lnTo>
                  <a:lnTo>
                    <a:pt x="83" y="2"/>
                  </a:lnTo>
                  <a:lnTo>
                    <a:pt x="90" y="4"/>
                  </a:lnTo>
                  <a:lnTo>
                    <a:pt x="97" y="6"/>
                  </a:lnTo>
                  <a:lnTo>
                    <a:pt x="109" y="12"/>
                  </a:lnTo>
                  <a:lnTo>
                    <a:pt x="119" y="21"/>
                  </a:lnTo>
                  <a:lnTo>
                    <a:pt x="127" y="31"/>
                  </a:lnTo>
                  <a:lnTo>
                    <a:pt x="134" y="43"/>
                  </a:lnTo>
                  <a:lnTo>
                    <a:pt x="137" y="57"/>
                  </a:lnTo>
                  <a:lnTo>
                    <a:pt x="138" y="63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38" y="81"/>
                  </a:lnTo>
                  <a:lnTo>
                    <a:pt x="32" y="81"/>
                  </a:lnTo>
                  <a:close/>
                  <a:moveTo>
                    <a:pt x="33" y="54"/>
                  </a:moveTo>
                  <a:lnTo>
                    <a:pt x="106" y="54"/>
                  </a:lnTo>
                  <a:lnTo>
                    <a:pt x="106" y="54"/>
                  </a:lnTo>
                  <a:lnTo>
                    <a:pt x="104" y="49"/>
                  </a:lnTo>
                  <a:lnTo>
                    <a:pt x="101" y="44"/>
                  </a:lnTo>
                  <a:lnTo>
                    <a:pt x="97" y="39"/>
                  </a:lnTo>
                  <a:lnTo>
                    <a:pt x="93" y="36"/>
                  </a:lnTo>
                  <a:lnTo>
                    <a:pt x="88" y="33"/>
                  </a:lnTo>
                  <a:lnTo>
                    <a:pt x="82" y="30"/>
                  </a:lnTo>
                  <a:lnTo>
                    <a:pt x="75" y="29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3" y="29"/>
                  </a:lnTo>
                  <a:lnTo>
                    <a:pt x="57" y="30"/>
                  </a:lnTo>
                  <a:lnTo>
                    <a:pt x="51" y="33"/>
                  </a:lnTo>
                  <a:lnTo>
                    <a:pt x="47" y="36"/>
                  </a:lnTo>
                  <a:lnTo>
                    <a:pt x="42" y="39"/>
                  </a:lnTo>
                  <a:lnTo>
                    <a:pt x="38" y="44"/>
                  </a:lnTo>
                  <a:lnTo>
                    <a:pt x="35" y="49"/>
                  </a:lnTo>
                  <a:lnTo>
                    <a:pt x="33" y="54"/>
                  </a:lnTo>
                  <a:lnTo>
                    <a:pt x="33" y="5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97738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70" t="19781" r="-17013" b="19721"/>
          <a:stretch/>
        </p:blipFill>
        <p:spPr>
          <a:xfrm>
            <a:off x="742950" y="771525"/>
            <a:ext cx="10658475" cy="5334000"/>
          </a:xfrm>
          <a:prstGeom prst="rect">
            <a:avLst/>
          </a:prstGeom>
        </p:spPr>
      </p:pic>
      <p:sp>
        <p:nvSpPr>
          <p:cNvPr id="19" name="Rectangle 18"/>
          <p:cNvSpPr/>
          <p:nvPr userDrawn="1"/>
        </p:nvSpPr>
        <p:spPr>
          <a:xfrm>
            <a:off x="6391276" y="2057401"/>
            <a:ext cx="5060496" cy="42195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 userDrawn="1"/>
        </p:nvSpPr>
        <p:spPr>
          <a:xfrm>
            <a:off x="1322569" y="2845254"/>
            <a:ext cx="3278005" cy="1476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jdelijke aanduiding voor tekst 16">
            <a:extLst>
              <a:ext uri="{FF2B5EF4-FFF2-40B4-BE49-F238E27FC236}">
                <a16:creationId xmlns:a16="http://schemas.microsoft.com/office/drawing/2014/main" id="{84146CB0-6BC6-4934-BF0B-44A468D396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55086" y="4514850"/>
            <a:ext cx="4896685" cy="15430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BE" dirty="0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555086" y="2143125"/>
            <a:ext cx="4896685" cy="2254704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809750" y="3128963"/>
            <a:ext cx="2332038" cy="844550"/>
            <a:chOff x="1140" y="1971"/>
            <a:chExt cx="1469" cy="532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140" y="1971"/>
              <a:ext cx="1469" cy="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140" y="2055"/>
              <a:ext cx="178" cy="251"/>
            </a:xfrm>
            <a:custGeom>
              <a:avLst/>
              <a:gdLst>
                <a:gd name="T0" fmla="*/ 123 w 533"/>
                <a:gd name="T1" fmla="*/ 517 h 755"/>
                <a:gd name="T2" fmla="*/ 166 w 533"/>
                <a:gd name="T3" fmla="*/ 573 h 755"/>
                <a:gd name="T4" fmla="*/ 192 w 533"/>
                <a:gd name="T5" fmla="*/ 593 h 755"/>
                <a:gd name="T6" fmla="*/ 223 w 533"/>
                <a:gd name="T7" fmla="*/ 605 h 755"/>
                <a:gd name="T8" fmla="*/ 258 w 533"/>
                <a:gd name="T9" fmla="*/ 611 h 755"/>
                <a:gd name="T10" fmla="*/ 292 w 533"/>
                <a:gd name="T11" fmla="*/ 610 h 755"/>
                <a:gd name="T12" fmla="*/ 332 w 533"/>
                <a:gd name="T13" fmla="*/ 596 h 755"/>
                <a:gd name="T14" fmla="*/ 351 w 533"/>
                <a:gd name="T15" fmla="*/ 583 h 755"/>
                <a:gd name="T16" fmla="*/ 362 w 533"/>
                <a:gd name="T17" fmla="*/ 565 h 755"/>
                <a:gd name="T18" fmla="*/ 365 w 533"/>
                <a:gd name="T19" fmla="*/ 544 h 755"/>
                <a:gd name="T20" fmla="*/ 364 w 533"/>
                <a:gd name="T21" fmla="*/ 529 h 755"/>
                <a:gd name="T22" fmla="*/ 356 w 533"/>
                <a:gd name="T23" fmla="*/ 509 h 755"/>
                <a:gd name="T24" fmla="*/ 341 w 533"/>
                <a:gd name="T25" fmla="*/ 492 h 755"/>
                <a:gd name="T26" fmla="*/ 291 w 533"/>
                <a:gd name="T27" fmla="*/ 461 h 755"/>
                <a:gd name="T28" fmla="*/ 217 w 533"/>
                <a:gd name="T29" fmla="*/ 432 h 755"/>
                <a:gd name="T30" fmla="*/ 153 w 533"/>
                <a:gd name="T31" fmla="*/ 401 h 755"/>
                <a:gd name="T32" fmla="*/ 105 w 533"/>
                <a:gd name="T33" fmla="*/ 365 h 755"/>
                <a:gd name="T34" fmla="*/ 71 w 533"/>
                <a:gd name="T35" fmla="*/ 323 h 755"/>
                <a:gd name="T36" fmla="*/ 49 w 533"/>
                <a:gd name="T37" fmla="*/ 277 h 755"/>
                <a:gd name="T38" fmla="*/ 39 w 533"/>
                <a:gd name="T39" fmla="*/ 225 h 755"/>
                <a:gd name="T40" fmla="*/ 39 w 533"/>
                <a:gd name="T41" fmla="*/ 184 h 755"/>
                <a:gd name="T42" fmla="*/ 56 w 533"/>
                <a:gd name="T43" fmla="*/ 125 h 755"/>
                <a:gd name="T44" fmla="*/ 90 w 533"/>
                <a:gd name="T45" fmla="*/ 73 h 755"/>
                <a:gd name="T46" fmla="*/ 139 w 533"/>
                <a:gd name="T47" fmla="*/ 34 h 755"/>
                <a:gd name="T48" fmla="*/ 201 w 533"/>
                <a:gd name="T49" fmla="*/ 9 h 755"/>
                <a:gd name="T50" fmla="*/ 273 w 533"/>
                <a:gd name="T51" fmla="*/ 0 h 755"/>
                <a:gd name="T52" fmla="*/ 308 w 533"/>
                <a:gd name="T53" fmla="*/ 1 h 755"/>
                <a:gd name="T54" fmla="*/ 357 w 533"/>
                <a:gd name="T55" fmla="*/ 11 h 755"/>
                <a:gd name="T56" fmla="*/ 402 w 533"/>
                <a:gd name="T57" fmla="*/ 29 h 755"/>
                <a:gd name="T58" fmla="*/ 443 w 533"/>
                <a:gd name="T59" fmla="*/ 57 h 755"/>
                <a:gd name="T60" fmla="*/ 480 w 533"/>
                <a:gd name="T61" fmla="*/ 95 h 755"/>
                <a:gd name="T62" fmla="*/ 382 w 533"/>
                <a:gd name="T63" fmla="*/ 209 h 755"/>
                <a:gd name="T64" fmla="*/ 362 w 533"/>
                <a:gd name="T65" fmla="*/ 179 h 755"/>
                <a:gd name="T66" fmla="*/ 324 w 533"/>
                <a:gd name="T67" fmla="*/ 153 h 755"/>
                <a:gd name="T68" fmla="*/ 276 w 533"/>
                <a:gd name="T69" fmla="*/ 143 h 755"/>
                <a:gd name="T70" fmla="*/ 246 w 533"/>
                <a:gd name="T71" fmla="*/ 148 h 755"/>
                <a:gd name="T72" fmla="*/ 209 w 533"/>
                <a:gd name="T73" fmla="*/ 167 h 755"/>
                <a:gd name="T74" fmla="*/ 200 w 533"/>
                <a:gd name="T75" fmla="*/ 183 h 755"/>
                <a:gd name="T76" fmla="*/ 196 w 533"/>
                <a:gd name="T77" fmla="*/ 201 h 755"/>
                <a:gd name="T78" fmla="*/ 201 w 533"/>
                <a:gd name="T79" fmla="*/ 228 h 755"/>
                <a:gd name="T80" fmla="*/ 217 w 533"/>
                <a:gd name="T81" fmla="*/ 250 h 755"/>
                <a:gd name="T82" fmla="*/ 265 w 533"/>
                <a:gd name="T83" fmla="*/ 281 h 755"/>
                <a:gd name="T84" fmla="*/ 342 w 533"/>
                <a:gd name="T85" fmla="*/ 310 h 755"/>
                <a:gd name="T86" fmla="*/ 406 w 533"/>
                <a:gd name="T87" fmla="*/ 339 h 755"/>
                <a:gd name="T88" fmla="*/ 457 w 533"/>
                <a:gd name="T89" fmla="*/ 373 h 755"/>
                <a:gd name="T90" fmla="*/ 494 w 533"/>
                <a:gd name="T91" fmla="*/ 412 h 755"/>
                <a:gd name="T92" fmla="*/ 520 w 533"/>
                <a:gd name="T93" fmla="*/ 460 h 755"/>
                <a:gd name="T94" fmla="*/ 532 w 533"/>
                <a:gd name="T95" fmla="*/ 516 h 755"/>
                <a:gd name="T96" fmla="*/ 532 w 533"/>
                <a:gd name="T97" fmla="*/ 560 h 755"/>
                <a:gd name="T98" fmla="*/ 514 w 533"/>
                <a:gd name="T99" fmla="*/ 624 h 755"/>
                <a:gd name="T100" fmla="*/ 477 w 533"/>
                <a:gd name="T101" fmla="*/ 679 h 755"/>
                <a:gd name="T102" fmla="*/ 423 w 533"/>
                <a:gd name="T103" fmla="*/ 720 h 755"/>
                <a:gd name="T104" fmla="*/ 353 w 533"/>
                <a:gd name="T105" fmla="*/ 745 h 755"/>
                <a:gd name="T106" fmla="*/ 272 w 533"/>
                <a:gd name="T107" fmla="*/ 755 h 755"/>
                <a:gd name="T108" fmla="*/ 229 w 533"/>
                <a:gd name="T109" fmla="*/ 752 h 755"/>
                <a:gd name="T110" fmla="*/ 169 w 533"/>
                <a:gd name="T111" fmla="*/ 740 h 755"/>
                <a:gd name="T112" fmla="*/ 114 w 533"/>
                <a:gd name="T113" fmla="*/ 718 h 755"/>
                <a:gd name="T114" fmla="*/ 66 w 533"/>
                <a:gd name="T115" fmla="*/ 685 h 755"/>
                <a:gd name="T116" fmla="*/ 24 w 533"/>
                <a:gd name="T117" fmla="*/ 641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755">
                  <a:moveTo>
                    <a:pt x="0" y="605"/>
                  </a:moveTo>
                  <a:lnTo>
                    <a:pt x="123" y="517"/>
                  </a:lnTo>
                  <a:lnTo>
                    <a:pt x="123" y="517"/>
                  </a:lnTo>
                  <a:lnTo>
                    <a:pt x="136" y="539"/>
                  </a:lnTo>
                  <a:lnTo>
                    <a:pt x="151" y="557"/>
                  </a:lnTo>
                  <a:lnTo>
                    <a:pt x="166" y="573"/>
                  </a:lnTo>
                  <a:lnTo>
                    <a:pt x="174" y="581"/>
                  </a:lnTo>
                  <a:lnTo>
                    <a:pt x="183" y="587"/>
                  </a:lnTo>
                  <a:lnTo>
                    <a:pt x="192" y="593"/>
                  </a:lnTo>
                  <a:lnTo>
                    <a:pt x="202" y="598"/>
                  </a:lnTo>
                  <a:lnTo>
                    <a:pt x="212" y="601"/>
                  </a:lnTo>
                  <a:lnTo>
                    <a:pt x="223" y="605"/>
                  </a:lnTo>
                  <a:lnTo>
                    <a:pt x="234" y="607"/>
                  </a:lnTo>
                  <a:lnTo>
                    <a:pt x="246" y="610"/>
                  </a:lnTo>
                  <a:lnTo>
                    <a:pt x="258" y="611"/>
                  </a:lnTo>
                  <a:lnTo>
                    <a:pt x="272" y="611"/>
                  </a:lnTo>
                  <a:lnTo>
                    <a:pt x="272" y="611"/>
                  </a:lnTo>
                  <a:lnTo>
                    <a:pt x="292" y="610"/>
                  </a:lnTo>
                  <a:lnTo>
                    <a:pt x="309" y="606"/>
                  </a:lnTo>
                  <a:lnTo>
                    <a:pt x="325" y="600"/>
                  </a:lnTo>
                  <a:lnTo>
                    <a:pt x="332" y="596"/>
                  </a:lnTo>
                  <a:lnTo>
                    <a:pt x="340" y="593"/>
                  </a:lnTo>
                  <a:lnTo>
                    <a:pt x="345" y="588"/>
                  </a:lnTo>
                  <a:lnTo>
                    <a:pt x="351" y="583"/>
                  </a:lnTo>
                  <a:lnTo>
                    <a:pt x="354" y="577"/>
                  </a:lnTo>
                  <a:lnTo>
                    <a:pt x="358" y="571"/>
                  </a:lnTo>
                  <a:lnTo>
                    <a:pt x="362" y="565"/>
                  </a:lnTo>
                  <a:lnTo>
                    <a:pt x="363" y="559"/>
                  </a:lnTo>
                  <a:lnTo>
                    <a:pt x="365" y="551"/>
                  </a:lnTo>
                  <a:lnTo>
                    <a:pt x="365" y="544"/>
                  </a:lnTo>
                  <a:lnTo>
                    <a:pt x="365" y="544"/>
                  </a:lnTo>
                  <a:lnTo>
                    <a:pt x="365" y="537"/>
                  </a:lnTo>
                  <a:lnTo>
                    <a:pt x="364" y="529"/>
                  </a:lnTo>
                  <a:lnTo>
                    <a:pt x="362" y="522"/>
                  </a:lnTo>
                  <a:lnTo>
                    <a:pt x="359" y="515"/>
                  </a:lnTo>
                  <a:lnTo>
                    <a:pt x="356" y="509"/>
                  </a:lnTo>
                  <a:lnTo>
                    <a:pt x="352" y="502"/>
                  </a:lnTo>
                  <a:lnTo>
                    <a:pt x="347" y="496"/>
                  </a:lnTo>
                  <a:lnTo>
                    <a:pt x="341" y="492"/>
                  </a:lnTo>
                  <a:lnTo>
                    <a:pt x="328" y="481"/>
                  </a:lnTo>
                  <a:lnTo>
                    <a:pt x="311" y="471"/>
                  </a:lnTo>
                  <a:lnTo>
                    <a:pt x="291" y="461"/>
                  </a:lnTo>
                  <a:lnTo>
                    <a:pt x="268" y="451"/>
                  </a:lnTo>
                  <a:lnTo>
                    <a:pt x="217" y="432"/>
                  </a:lnTo>
                  <a:lnTo>
                    <a:pt x="217" y="432"/>
                  </a:lnTo>
                  <a:lnTo>
                    <a:pt x="194" y="422"/>
                  </a:lnTo>
                  <a:lnTo>
                    <a:pt x="173" y="412"/>
                  </a:lnTo>
                  <a:lnTo>
                    <a:pt x="153" y="401"/>
                  </a:lnTo>
                  <a:lnTo>
                    <a:pt x="136" y="390"/>
                  </a:lnTo>
                  <a:lnTo>
                    <a:pt x="119" y="378"/>
                  </a:lnTo>
                  <a:lnTo>
                    <a:pt x="105" y="365"/>
                  </a:lnTo>
                  <a:lnTo>
                    <a:pt x="93" y="351"/>
                  </a:lnTo>
                  <a:lnTo>
                    <a:pt x="80" y="338"/>
                  </a:lnTo>
                  <a:lnTo>
                    <a:pt x="71" y="323"/>
                  </a:lnTo>
                  <a:lnTo>
                    <a:pt x="62" y="309"/>
                  </a:lnTo>
                  <a:lnTo>
                    <a:pt x="55" y="293"/>
                  </a:lnTo>
                  <a:lnTo>
                    <a:pt x="49" y="277"/>
                  </a:lnTo>
                  <a:lnTo>
                    <a:pt x="44" y="260"/>
                  </a:lnTo>
                  <a:lnTo>
                    <a:pt x="40" y="243"/>
                  </a:lnTo>
                  <a:lnTo>
                    <a:pt x="39" y="225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9" y="184"/>
                  </a:lnTo>
                  <a:lnTo>
                    <a:pt x="43" y="164"/>
                  </a:lnTo>
                  <a:lnTo>
                    <a:pt x="47" y="143"/>
                  </a:lnTo>
                  <a:lnTo>
                    <a:pt x="56" y="125"/>
                  </a:lnTo>
                  <a:lnTo>
                    <a:pt x="66" y="106"/>
                  </a:lnTo>
                  <a:lnTo>
                    <a:pt x="77" y="89"/>
                  </a:lnTo>
                  <a:lnTo>
                    <a:pt x="90" y="73"/>
                  </a:lnTo>
                  <a:lnTo>
                    <a:pt x="105" y="59"/>
                  </a:lnTo>
                  <a:lnTo>
                    <a:pt x="121" y="45"/>
                  </a:lnTo>
                  <a:lnTo>
                    <a:pt x="139" y="34"/>
                  </a:lnTo>
                  <a:lnTo>
                    <a:pt x="158" y="23"/>
                  </a:lnTo>
                  <a:lnTo>
                    <a:pt x="179" y="16"/>
                  </a:lnTo>
                  <a:lnTo>
                    <a:pt x="201" y="9"/>
                  </a:lnTo>
                  <a:lnTo>
                    <a:pt x="224" y="4"/>
                  </a:lnTo>
                  <a:lnTo>
                    <a:pt x="248" y="1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91" y="0"/>
                  </a:lnTo>
                  <a:lnTo>
                    <a:pt x="308" y="1"/>
                  </a:lnTo>
                  <a:lnTo>
                    <a:pt x="324" y="4"/>
                  </a:lnTo>
                  <a:lnTo>
                    <a:pt x="341" y="7"/>
                  </a:lnTo>
                  <a:lnTo>
                    <a:pt x="357" y="11"/>
                  </a:lnTo>
                  <a:lnTo>
                    <a:pt x="373" y="16"/>
                  </a:lnTo>
                  <a:lnTo>
                    <a:pt x="387" y="22"/>
                  </a:lnTo>
                  <a:lnTo>
                    <a:pt x="402" y="29"/>
                  </a:lnTo>
                  <a:lnTo>
                    <a:pt x="416" y="38"/>
                  </a:lnTo>
                  <a:lnTo>
                    <a:pt x="430" y="46"/>
                  </a:lnTo>
                  <a:lnTo>
                    <a:pt x="443" y="57"/>
                  </a:lnTo>
                  <a:lnTo>
                    <a:pt x="455" y="70"/>
                  </a:lnTo>
                  <a:lnTo>
                    <a:pt x="468" y="82"/>
                  </a:lnTo>
                  <a:lnTo>
                    <a:pt x="480" y="95"/>
                  </a:lnTo>
                  <a:lnTo>
                    <a:pt x="491" y="111"/>
                  </a:lnTo>
                  <a:lnTo>
                    <a:pt x="500" y="127"/>
                  </a:lnTo>
                  <a:lnTo>
                    <a:pt x="382" y="209"/>
                  </a:lnTo>
                  <a:lnTo>
                    <a:pt x="382" y="209"/>
                  </a:lnTo>
                  <a:lnTo>
                    <a:pt x="373" y="193"/>
                  </a:lnTo>
                  <a:lnTo>
                    <a:pt x="362" y="179"/>
                  </a:lnTo>
                  <a:lnTo>
                    <a:pt x="351" y="168"/>
                  </a:lnTo>
                  <a:lnTo>
                    <a:pt x="337" y="159"/>
                  </a:lnTo>
                  <a:lnTo>
                    <a:pt x="324" y="153"/>
                  </a:lnTo>
                  <a:lnTo>
                    <a:pt x="309" y="148"/>
                  </a:lnTo>
                  <a:lnTo>
                    <a:pt x="293" y="144"/>
                  </a:lnTo>
                  <a:lnTo>
                    <a:pt x="276" y="143"/>
                  </a:lnTo>
                  <a:lnTo>
                    <a:pt x="276" y="143"/>
                  </a:lnTo>
                  <a:lnTo>
                    <a:pt x="261" y="144"/>
                  </a:lnTo>
                  <a:lnTo>
                    <a:pt x="246" y="148"/>
                  </a:lnTo>
                  <a:lnTo>
                    <a:pt x="233" y="153"/>
                  </a:lnTo>
                  <a:lnTo>
                    <a:pt x="220" y="159"/>
                  </a:lnTo>
                  <a:lnTo>
                    <a:pt x="209" y="167"/>
                  </a:lnTo>
                  <a:lnTo>
                    <a:pt x="206" y="172"/>
                  </a:lnTo>
                  <a:lnTo>
                    <a:pt x="202" y="177"/>
                  </a:lnTo>
                  <a:lnTo>
                    <a:pt x="200" y="183"/>
                  </a:lnTo>
                  <a:lnTo>
                    <a:pt x="197" y="189"/>
                  </a:lnTo>
                  <a:lnTo>
                    <a:pt x="196" y="195"/>
                  </a:lnTo>
                  <a:lnTo>
                    <a:pt x="196" y="201"/>
                  </a:lnTo>
                  <a:lnTo>
                    <a:pt x="196" y="201"/>
                  </a:lnTo>
                  <a:lnTo>
                    <a:pt x="197" y="216"/>
                  </a:lnTo>
                  <a:lnTo>
                    <a:pt x="201" y="228"/>
                  </a:lnTo>
                  <a:lnTo>
                    <a:pt x="203" y="234"/>
                  </a:lnTo>
                  <a:lnTo>
                    <a:pt x="207" y="239"/>
                  </a:lnTo>
                  <a:lnTo>
                    <a:pt x="217" y="250"/>
                  </a:lnTo>
                  <a:lnTo>
                    <a:pt x="229" y="261"/>
                  </a:lnTo>
                  <a:lnTo>
                    <a:pt x="246" y="271"/>
                  </a:lnTo>
                  <a:lnTo>
                    <a:pt x="265" y="281"/>
                  </a:lnTo>
                  <a:lnTo>
                    <a:pt x="290" y="292"/>
                  </a:lnTo>
                  <a:lnTo>
                    <a:pt x="342" y="310"/>
                  </a:lnTo>
                  <a:lnTo>
                    <a:pt x="342" y="310"/>
                  </a:lnTo>
                  <a:lnTo>
                    <a:pt x="364" y="320"/>
                  </a:lnTo>
                  <a:lnTo>
                    <a:pt x="385" y="329"/>
                  </a:lnTo>
                  <a:lnTo>
                    <a:pt x="406" y="339"/>
                  </a:lnTo>
                  <a:lnTo>
                    <a:pt x="424" y="350"/>
                  </a:lnTo>
                  <a:lnTo>
                    <a:pt x="441" y="361"/>
                  </a:lnTo>
                  <a:lnTo>
                    <a:pt x="457" y="373"/>
                  </a:lnTo>
                  <a:lnTo>
                    <a:pt x="470" y="385"/>
                  </a:lnTo>
                  <a:lnTo>
                    <a:pt x="483" y="399"/>
                  </a:lnTo>
                  <a:lnTo>
                    <a:pt x="494" y="412"/>
                  </a:lnTo>
                  <a:lnTo>
                    <a:pt x="505" y="428"/>
                  </a:lnTo>
                  <a:lnTo>
                    <a:pt x="514" y="443"/>
                  </a:lnTo>
                  <a:lnTo>
                    <a:pt x="520" y="460"/>
                  </a:lnTo>
                  <a:lnTo>
                    <a:pt x="526" y="478"/>
                  </a:lnTo>
                  <a:lnTo>
                    <a:pt x="530" y="496"/>
                  </a:lnTo>
                  <a:lnTo>
                    <a:pt x="532" y="516"/>
                  </a:lnTo>
                  <a:lnTo>
                    <a:pt x="533" y="537"/>
                  </a:lnTo>
                  <a:lnTo>
                    <a:pt x="533" y="537"/>
                  </a:lnTo>
                  <a:lnTo>
                    <a:pt x="532" y="560"/>
                  </a:lnTo>
                  <a:lnTo>
                    <a:pt x="528" y="583"/>
                  </a:lnTo>
                  <a:lnTo>
                    <a:pt x="522" y="605"/>
                  </a:lnTo>
                  <a:lnTo>
                    <a:pt x="514" y="624"/>
                  </a:lnTo>
                  <a:lnTo>
                    <a:pt x="504" y="644"/>
                  </a:lnTo>
                  <a:lnTo>
                    <a:pt x="491" y="662"/>
                  </a:lnTo>
                  <a:lnTo>
                    <a:pt x="477" y="679"/>
                  </a:lnTo>
                  <a:lnTo>
                    <a:pt x="460" y="694"/>
                  </a:lnTo>
                  <a:lnTo>
                    <a:pt x="442" y="707"/>
                  </a:lnTo>
                  <a:lnTo>
                    <a:pt x="423" y="720"/>
                  </a:lnTo>
                  <a:lnTo>
                    <a:pt x="401" y="730"/>
                  </a:lnTo>
                  <a:lnTo>
                    <a:pt x="377" y="739"/>
                  </a:lnTo>
                  <a:lnTo>
                    <a:pt x="353" y="745"/>
                  </a:lnTo>
                  <a:lnTo>
                    <a:pt x="328" y="750"/>
                  </a:lnTo>
                  <a:lnTo>
                    <a:pt x="300" y="754"/>
                  </a:lnTo>
                  <a:lnTo>
                    <a:pt x="272" y="755"/>
                  </a:lnTo>
                  <a:lnTo>
                    <a:pt x="272" y="755"/>
                  </a:lnTo>
                  <a:lnTo>
                    <a:pt x="251" y="754"/>
                  </a:lnTo>
                  <a:lnTo>
                    <a:pt x="229" y="752"/>
                  </a:lnTo>
                  <a:lnTo>
                    <a:pt x="209" y="750"/>
                  </a:lnTo>
                  <a:lnTo>
                    <a:pt x="189" y="745"/>
                  </a:lnTo>
                  <a:lnTo>
                    <a:pt x="169" y="740"/>
                  </a:lnTo>
                  <a:lnTo>
                    <a:pt x="151" y="734"/>
                  </a:lnTo>
                  <a:lnTo>
                    <a:pt x="133" y="727"/>
                  </a:lnTo>
                  <a:lnTo>
                    <a:pt x="114" y="718"/>
                  </a:lnTo>
                  <a:lnTo>
                    <a:pt x="99" y="709"/>
                  </a:lnTo>
                  <a:lnTo>
                    <a:pt x="82" y="698"/>
                  </a:lnTo>
                  <a:lnTo>
                    <a:pt x="66" y="685"/>
                  </a:lnTo>
                  <a:lnTo>
                    <a:pt x="51" y="672"/>
                  </a:lnTo>
                  <a:lnTo>
                    <a:pt x="38" y="657"/>
                  </a:lnTo>
                  <a:lnTo>
                    <a:pt x="24" y="641"/>
                  </a:lnTo>
                  <a:lnTo>
                    <a:pt x="12" y="624"/>
                  </a:lnTo>
                  <a:lnTo>
                    <a:pt x="0" y="605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1140" y="2055"/>
              <a:ext cx="178" cy="251"/>
            </a:xfrm>
            <a:custGeom>
              <a:avLst/>
              <a:gdLst>
                <a:gd name="T0" fmla="*/ 123 w 533"/>
                <a:gd name="T1" fmla="*/ 517 h 755"/>
                <a:gd name="T2" fmla="*/ 166 w 533"/>
                <a:gd name="T3" fmla="*/ 573 h 755"/>
                <a:gd name="T4" fmla="*/ 192 w 533"/>
                <a:gd name="T5" fmla="*/ 593 h 755"/>
                <a:gd name="T6" fmla="*/ 223 w 533"/>
                <a:gd name="T7" fmla="*/ 605 h 755"/>
                <a:gd name="T8" fmla="*/ 258 w 533"/>
                <a:gd name="T9" fmla="*/ 611 h 755"/>
                <a:gd name="T10" fmla="*/ 292 w 533"/>
                <a:gd name="T11" fmla="*/ 610 h 755"/>
                <a:gd name="T12" fmla="*/ 332 w 533"/>
                <a:gd name="T13" fmla="*/ 596 h 755"/>
                <a:gd name="T14" fmla="*/ 351 w 533"/>
                <a:gd name="T15" fmla="*/ 583 h 755"/>
                <a:gd name="T16" fmla="*/ 362 w 533"/>
                <a:gd name="T17" fmla="*/ 565 h 755"/>
                <a:gd name="T18" fmla="*/ 365 w 533"/>
                <a:gd name="T19" fmla="*/ 544 h 755"/>
                <a:gd name="T20" fmla="*/ 364 w 533"/>
                <a:gd name="T21" fmla="*/ 529 h 755"/>
                <a:gd name="T22" fmla="*/ 356 w 533"/>
                <a:gd name="T23" fmla="*/ 509 h 755"/>
                <a:gd name="T24" fmla="*/ 341 w 533"/>
                <a:gd name="T25" fmla="*/ 492 h 755"/>
                <a:gd name="T26" fmla="*/ 291 w 533"/>
                <a:gd name="T27" fmla="*/ 461 h 755"/>
                <a:gd name="T28" fmla="*/ 217 w 533"/>
                <a:gd name="T29" fmla="*/ 432 h 755"/>
                <a:gd name="T30" fmla="*/ 153 w 533"/>
                <a:gd name="T31" fmla="*/ 401 h 755"/>
                <a:gd name="T32" fmla="*/ 105 w 533"/>
                <a:gd name="T33" fmla="*/ 365 h 755"/>
                <a:gd name="T34" fmla="*/ 71 w 533"/>
                <a:gd name="T35" fmla="*/ 323 h 755"/>
                <a:gd name="T36" fmla="*/ 49 w 533"/>
                <a:gd name="T37" fmla="*/ 277 h 755"/>
                <a:gd name="T38" fmla="*/ 39 w 533"/>
                <a:gd name="T39" fmla="*/ 225 h 755"/>
                <a:gd name="T40" fmla="*/ 39 w 533"/>
                <a:gd name="T41" fmla="*/ 184 h 755"/>
                <a:gd name="T42" fmla="*/ 56 w 533"/>
                <a:gd name="T43" fmla="*/ 125 h 755"/>
                <a:gd name="T44" fmla="*/ 90 w 533"/>
                <a:gd name="T45" fmla="*/ 73 h 755"/>
                <a:gd name="T46" fmla="*/ 139 w 533"/>
                <a:gd name="T47" fmla="*/ 34 h 755"/>
                <a:gd name="T48" fmla="*/ 201 w 533"/>
                <a:gd name="T49" fmla="*/ 9 h 755"/>
                <a:gd name="T50" fmla="*/ 273 w 533"/>
                <a:gd name="T51" fmla="*/ 0 h 755"/>
                <a:gd name="T52" fmla="*/ 308 w 533"/>
                <a:gd name="T53" fmla="*/ 1 h 755"/>
                <a:gd name="T54" fmla="*/ 357 w 533"/>
                <a:gd name="T55" fmla="*/ 11 h 755"/>
                <a:gd name="T56" fmla="*/ 402 w 533"/>
                <a:gd name="T57" fmla="*/ 29 h 755"/>
                <a:gd name="T58" fmla="*/ 443 w 533"/>
                <a:gd name="T59" fmla="*/ 57 h 755"/>
                <a:gd name="T60" fmla="*/ 480 w 533"/>
                <a:gd name="T61" fmla="*/ 95 h 755"/>
                <a:gd name="T62" fmla="*/ 382 w 533"/>
                <a:gd name="T63" fmla="*/ 209 h 755"/>
                <a:gd name="T64" fmla="*/ 362 w 533"/>
                <a:gd name="T65" fmla="*/ 179 h 755"/>
                <a:gd name="T66" fmla="*/ 324 w 533"/>
                <a:gd name="T67" fmla="*/ 153 h 755"/>
                <a:gd name="T68" fmla="*/ 276 w 533"/>
                <a:gd name="T69" fmla="*/ 143 h 755"/>
                <a:gd name="T70" fmla="*/ 246 w 533"/>
                <a:gd name="T71" fmla="*/ 148 h 755"/>
                <a:gd name="T72" fmla="*/ 209 w 533"/>
                <a:gd name="T73" fmla="*/ 167 h 755"/>
                <a:gd name="T74" fmla="*/ 200 w 533"/>
                <a:gd name="T75" fmla="*/ 183 h 755"/>
                <a:gd name="T76" fmla="*/ 196 w 533"/>
                <a:gd name="T77" fmla="*/ 201 h 755"/>
                <a:gd name="T78" fmla="*/ 201 w 533"/>
                <a:gd name="T79" fmla="*/ 228 h 755"/>
                <a:gd name="T80" fmla="*/ 217 w 533"/>
                <a:gd name="T81" fmla="*/ 250 h 755"/>
                <a:gd name="T82" fmla="*/ 265 w 533"/>
                <a:gd name="T83" fmla="*/ 281 h 755"/>
                <a:gd name="T84" fmla="*/ 342 w 533"/>
                <a:gd name="T85" fmla="*/ 310 h 755"/>
                <a:gd name="T86" fmla="*/ 406 w 533"/>
                <a:gd name="T87" fmla="*/ 339 h 755"/>
                <a:gd name="T88" fmla="*/ 457 w 533"/>
                <a:gd name="T89" fmla="*/ 373 h 755"/>
                <a:gd name="T90" fmla="*/ 494 w 533"/>
                <a:gd name="T91" fmla="*/ 412 h 755"/>
                <a:gd name="T92" fmla="*/ 520 w 533"/>
                <a:gd name="T93" fmla="*/ 460 h 755"/>
                <a:gd name="T94" fmla="*/ 532 w 533"/>
                <a:gd name="T95" fmla="*/ 516 h 755"/>
                <a:gd name="T96" fmla="*/ 532 w 533"/>
                <a:gd name="T97" fmla="*/ 560 h 755"/>
                <a:gd name="T98" fmla="*/ 514 w 533"/>
                <a:gd name="T99" fmla="*/ 624 h 755"/>
                <a:gd name="T100" fmla="*/ 477 w 533"/>
                <a:gd name="T101" fmla="*/ 679 h 755"/>
                <a:gd name="T102" fmla="*/ 423 w 533"/>
                <a:gd name="T103" fmla="*/ 720 h 755"/>
                <a:gd name="T104" fmla="*/ 353 w 533"/>
                <a:gd name="T105" fmla="*/ 745 h 755"/>
                <a:gd name="T106" fmla="*/ 272 w 533"/>
                <a:gd name="T107" fmla="*/ 755 h 755"/>
                <a:gd name="T108" fmla="*/ 229 w 533"/>
                <a:gd name="T109" fmla="*/ 752 h 755"/>
                <a:gd name="T110" fmla="*/ 169 w 533"/>
                <a:gd name="T111" fmla="*/ 740 h 755"/>
                <a:gd name="T112" fmla="*/ 114 w 533"/>
                <a:gd name="T113" fmla="*/ 718 h 755"/>
                <a:gd name="T114" fmla="*/ 66 w 533"/>
                <a:gd name="T115" fmla="*/ 685 h 755"/>
                <a:gd name="T116" fmla="*/ 24 w 533"/>
                <a:gd name="T117" fmla="*/ 641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755">
                  <a:moveTo>
                    <a:pt x="0" y="605"/>
                  </a:moveTo>
                  <a:lnTo>
                    <a:pt x="123" y="517"/>
                  </a:lnTo>
                  <a:lnTo>
                    <a:pt x="123" y="517"/>
                  </a:lnTo>
                  <a:lnTo>
                    <a:pt x="136" y="539"/>
                  </a:lnTo>
                  <a:lnTo>
                    <a:pt x="151" y="557"/>
                  </a:lnTo>
                  <a:lnTo>
                    <a:pt x="166" y="573"/>
                  </a:lnTo>
                  <a:lnTo>
                    <a:pt x="174" y="581"/>
                  </a:lnTo>
                  <a:lnTo>
                    <a:pt x="183" y="587"/>
                  </a:lnTo>
                  <a:lnTo>
                    <a:pt x="192" y="593"/>
                  </a:lnTo>
                  <a:lnTo>
                    <a:pt x="202" y="598"/>
                  </a:lnTo>
                  <a:lnTo>
                    <a:pt x="212" y="601"/>
                  </a:lnTo>
                  <a:lnTo>
                    <a:pt x="223" y="605"/>
                  </a:lnTo>
                  <a:lnTo>
                    <a:pt x="234" y="607"/>
                  </a:lnTo>
                  <a:lnTo>
                    <a:pt x="246" y="610"/>
                  </a:lnTo>
                  <a:lnTo>
                    <a:pt x="258" y="611"/>
                  </a:lnTo>
                  <a:lnTo>
                    <a:pt x="272" y="611"/>
                  </a:lnTo>
                  <a:lnTo>
                    <a:pt x="272" y="611"/>
                  </a:lnTo>
                  <a:lnTo>
                    <a:pt x="292" y="610"/>
                  </a:lnTo>
                  <a:lnTo>
                    <a:pt x="309" y="606"/>
                  </a:lnTo>
                  <a:lnTo>
                    <a:pt x="325" y="600"/>
                  </a:lnTo>
                  <a:lnTo>
                    <a:pt x="332" y="596"/>
                  </a:lnTo>
                  <a:lnTo>
                    <a:pt x="340" y="593"/>
                  </a:lnTo>
                  <a:lnTo>
                    <a:pt x="345" y="588"/>
                  </a:lnTo>
                  <a:lnTo>
                    <a:pt x="351" y="583"/>
                  </a:lnTo>
                  <a:lnTo>
                    <a:pt x="354" y="577"/>
                  </a:lnTo>
                  <a:lnTo>
                    <a:pt x="358" y="571"/>
                  </a:lnTo>
                  <a:lnTo>
                    <a:pt x="362" y="565"/>
                  </a:lnTo>
                  <a:lnTo>
                    <a:pt x="363" y="559"/>
                  </a:lnTo>
                  <a:lnTo>
                    <a:pt x="365" y="551"/>
                  </a:lnTo>
                  <a:lnTo>
                    <a:pt x="365" y="544"/>
                  </a:lnTo>
                  <a:lnTo>
                    <a:pt x="365" y="544"/>
                  </a:lnTo>
                  <a:lnTo>
                    <a:pt x="365" y="537"/>
                  </a:lnTo>
                  <a:lnTo>
                    <a:pt x="364" y="529"/>
                  </a:lnTo>
                  <a:lnTo>
                    <a:pt x="362" y="522"/>
                  </a:lnTo>
                  <a:lnTo>
                    <a:pt x="359" y="515"/>
                  </a:lnTo>
                  <a:lnTo>
                    <a:pt x="356" y="509"/>
                  </a:lnTo>
                  <a:lnTo>
                    <a:pt x="352" y="502"/>
                  </a:lnTo>
                  <a:lnTo>
                    <a:pt x="347" y="496"/>
                  </a:lnTo>
                  <a:lnTo>
                    <a:pt x="341" y="492"/>
                  </a:lnTo>
                  <a:lnTo>
                    <a:pt x="328" y="481"/>
                  </a:lnTo>
                  <a:lnTo>
                    <a:pt x="311" y="471"/>
                  </a:lnTo>
                  <a:lnTo>
                    <a:pt x="291" y="461"/>
                  </a:lnTo>
                  <a:lnTo>
                    <a:pt x="268" y="451"/>
                  </a:lnTo>
                  <a:lnTo>
                    <a:pt x="217" y="432"/>
                  </a:lnTo>
                  <a:lnTo>
                    <a:pt x="217" y="432"/>
                  </a:lnTo>
                  <a:lnTo>
                    <a:pt x="194" y="422"/>
                  </a:lnTo>
                  <a:lnTo>
                    <a:pt x="173" y="412"/>
                  </a:lnTo>
                  <a:lnTo>
                    <a:pt x="153" y="401"/>
                  </a:lnTo>
                  <a:lnTo>
                    <a:pt x="136" y="390"/>
                  </a:lnTo>
                  <a:lnTo>
                    <a:pt x="119" y="378"/>
                  </a:lnTo>
                  <a:lnTo>
                    <a:pt x="105" y="365"/>
                  </a:lnTo>
                  <a:lnTo>
                    <a:pt x="93" y="351"/>
                  </a:lnTo>
                  <a:lnTo>
                    <a:pt x="80" y="338"/>
                  </a:lnTo>
                  <a:lnTo>
                    <a:pt x="71" y="323"/>
                  </a:lnTo>
                  <a:lnTo>
                    <a:pt x="62" y="309"/>
                  </a:lnTo>
                  <a:lnTo>
                    <a:pt x="55" y="293"/>
                  </a:lnTo>
                  <a:lnTo>
                    <a:pt x="49" y="277"/>
                  </a:lnTo>
                  <a:lnTo>
                    <a:pt x="44" y="260"/>
                  </a:lnTo>
                  <a:lnTo>
                    <a:pt x="40" y="243"/>
                  </a:lnTo>
                  <a:lnTo>
                    <a:pt x="39" y="225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9" y="184"/>
                  </a:lnTo>
                  <a:lnTo>
                    <a:pt x="43" y="164"/>
                  </a:lnTo>
                  <a:lnTo>
                    <a:pt x="47" y="143"/>
                  </a:lnTo>
                  <a:lnTo>
                    <a:pt x="56" y="125"/>
                  </a:lnTo>
                  <a:lnTo>
                    <a:pt x="66" y="106"/>
                  </a:lnTo>
                  <a:lnTo>
                    <a:pt x="77" y="89"/>
                  </a:lnTo>
                  <a:lnTo>
                    <a:pt x="90" y="73"/>
                  </a:lnTo>
                  <a:lnTo>
                    <a:pt x="105" y="59"/>
                  </a:lnTo>
                  <a:lnTo>
                    <a:pt x="121" y="45"/>
                  </a:lnTo>
                  <a:lnTo>
                    <a:pt x="139" y="34"/>
                  </a:lnTo>
                  <a:lnTo>
                    <a:pt x="158" y="23"/>
                  </a:lnTo>
                  <a:lnTo>
                    <a:pt x="179" y="16"/>
                  </a:lnTo>
                  <a:lnTo>
                    <a:pt x="201" y="9"/>
                  </a:lnTo>
                  <a:lnTo>
                    <a:pt x="224" y="4"/>
                  </a:lnTo>
                  <a:lnTo>
                    <a:pt x="248" y="1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91" y="0"/>
                  </a:lnTo>
                  <a:lnTo>
                    <a:pt x="308" y="1"/>
                  </a:lnTo>
                  <a:lnTo>
                    <a:pt x="324" y="4"/>
                  </a:lnTo>
                  <a:lnTo>
                    <a:pt x="341" y="7"/>
                  </a:lnTo>
                  <a:lnTo>
                    <a:pt x="357" y="11"/>
                  </a:lnTo>
                  <a:lnTo>
                    <a:pt x="373" y="16"/>
                  </a:lnTo>
                  <a:lnTo>
                    <a:pt x="387" y="22"/>
                  </a:lnTo>
                  <a:lnTo>
                    <a:pt x="402" y="29"/>
                  </a:lnTo>
                  <a:lnTo>
                    <a:pt x="416" y="38"/>
                  </a:lnTo>
                  <a:lnTo>
                    <a:pt x="430" y="46"/>
                  </a:lnTo>
                  <a:lnTo>
                    <a:pt x="443" y="57"/>
                  </a:lnTo>
                  <a:lnTo>
                    <a:pt x="455" y="70"/>
                  </a:lnTo>
                  <a:lnTo>
                    <a:pt x="468" y="82"/>
                  </a:lnTo>
                  <a:lnTo>
                    <a:pt x="480" y="95"/>
                  </a:lnTo>
                  <a:lnTo>
                    <a:pt x="491" y="111"/>
                  </a:lnTo>
                  <a:lnTo>
                    <a:pt x="500" y="127"/>
                  </a:lnTo>
                  <a:lnTo>
                    <a:pt x="382" y="209"/>
                  </a:lnTo>
                  <a:lnTo>
                    <a:pt x="382" y="209"/>
                  </a:lnTo>
                  <a:lnTo>
                    <a:pt x="373" y="193"/>
                  </a:lnTo>
                  <a:lnTo>
                    <a:pt x="362" y="179"/>
                  </a:lnTo>
                  <a:lnTo>
                    <a:pt x="351" y="168"/>
                  </a:lnTo>
                  <a:lnTo>
                    <a:pt x="337" y="159"/>
                  </a:lnTo>
                  <a:lnTo>
                    <a:pt x="324" y="153"/>
                  </a:lnTo>
                  <a:lnTo>
                    <a:pt x="309" y="148"/>
                  </a:lnTo>
                  <a:lnTo>
                    <a:pt x="293" y="144"/>
                  </a:lnTo>
                  <a:lnTo>
                    <a:pt x="276" y="143"/>
                  </a:lnTo>
                  <a:lnTo>
                    <a:pt x="276" y="143"/>
                  </a:lnTo>
                  <a:lnTo>
                    <a:pt x="261" y="144"/>
                  </a:lnTo>
                  <a:lnTo>
                    <a:pt x="246" y="148"/>
                  </a:lnTo>
                  <a:lnTo>
                    <a:pt x="233" y="153"/>
                  </a:lnTo>
                  <a:lnTo>
                    <a:pt x="220" y="159"/>
                  </a:lnTo>
                  <a:lnTo>
                    <a:pt x="209" y="167"/>
                  </a:lnTo>
                  <a:lnTo>
                    <a:pt x="206" y="172"/>
                  </a:lnTo>
                  <a:lnTo>
                    <a:pt x="202" y="177"/>
                  </a:lnTo>
                  <a:lnTo>
                    <a:pt x="200" y="183"/>
                  </a:lnTo>
                  <a:lnTo>
                    <a:pt x="197" y="189"/>
                  </a:lnTo>
                  <a:lnTo>
                    <a:pt x="196" y="195"/>
                  </a:lnTo>
                  <a:lnTo>
                    <a:pt x="196" y="201"/>
                  </a:lnTo>
                  <a:lnTo>
                    <a:pt x="196" y="201"/>
                  </a:lnTo>
                  <a:lnTo>
                    <a:pt x="197" y="216"/>
                  </a:lnTo>
                  <a:lnTo>
                    <a:pt x="201" y="228"/>
                  </a:lnTo>
                  <a:lnTo>
                    <a:pt x="203" y="234"/>
                  </a:lnTo>
                  <a:lnTo>
                    <a:pt x="207" y="239"/>
                  </a:lnTo>
                  <a:lnTo>
                    <a:pt x="217" y="250"/>
                  </a:lnTo>
                  <a:lnTo>
                    <a:pt x="229" y="261"/>
                  </a:lnTo>
                  <a:lnTo>
                    <a:pt x="246" y="271"/>
                  </a:lnTo>
                  <a:lnTo>
                    <a:pt x="265" y="281"/>
                  </a:lnTo>
                  <a:lnTo>
                    <a:pt x="290" y="292"/>
                  </a:lnTo>
                  <a:lnTo>
                    <a:pt x="342" y="310"/>
                  </a:lnTo>
                  <a:lnTo>
                    <a:pt x="342" y="310"/>
                  </a:lnTo>
                  <a:lnTo>
                    <a:pt x="364" y="320"/>
                  </a:lnTo>
                  <a:lnTo>
                    <a:pt x="385" y="329"/>
                  </a:lnTo>
                  <a:lnTo>
                    <a:pt x="406" y="339"/>
                  </a:lnTo>
                  <a:lnTo>
                    <a:pt x="424" y="350"/>
                  </a:lnTo>
                  <a:lnTo>
                    <a:pt x="441" y="361"/>
                  </a:lnTo>
                  <a:lnTo>
                    <a:pt x="457" y="373"/>
                  </a:lnTo>
                  <a:lnTo>
                    <a:pt x="470" y="385"/>
                  </a:lnTo>
                  <a:lnTo>
                    <a:pt x="483" y="399"/>
                  </a:lnTo>
                  <a:lnTo>
                    <a:pt x="494" y="412"/>
                  </a:lnTo>
                  <a:lnTo>
                    <a:pt x="505" y="428"/>
                  </a:lnTo>
                  <a:lnTo>
                    <a:pt x="514" y="443"/>
                  </a:lnTo>
                  <a:lnTo>
                    <a:pt x="520" y="460"/>
                  </a:lnTo>
                  <a:lnTo>
                    <a:pt x="526" y="478"/>
                  </a:lnTo>
                  <a:lnTo>
                    <a:pt x="530" y="496"/>
                  </a:lnTo>
                  <a:lnTo>
                    <a:pt x="532" y="516"/>
                  </a:lnTo>
                  <a:lnTo>
                    <a:pt x="533" y="537"/>
                  </a:lnTo>
                  <a:lnTo>
                    <a:pt x="533" y="537"/>
                  </a:lnTo>
                  <a:lnTo>
                    <a:pt x="532" y="560"/>
                  </a:lnTo>
                  <a:lnTo>
                    <a:pt x="528" y="583"/>
                  </a:lnTo>
                  <a:lnTo>
                    <a:pt x="522" y="605"/>
                  </a:lnTo>
                  <a:lnTo>
                    <a:pt x="514" y="624"/>
                  </a:lnTo>
                  <a:lnTo>
                    <a:pt x="504" y="644"/>
                  </a:lnTo>
                  <a:lnTo>
                    <a:pt x="491" y="662"/>
                  </a:lnTo>
                  <a:lnTo>
                    <a:pt x="477" y="679"/>
                  </a:lnTo>
                  <a:lnTo>
                    <a:pt x="460" y="694"/>
                  </a:lnTo>
                  <a:lnTo>
                    <a:pt x="442" y="707"/>
                  </a:lnTo>
                  <a:lnTo>
                    <a:pt x="423" y="720"/>
                  </a:lnTo>
                  <a:lnTo>
                    <a:pt x="401" y="730"/>
                  </a:lnTo>
                  <a:lnTo>
                    <a:pt x="377" y="739"/>
                  </a:lnTo>
                  <a:lnTo>
                    <a:pt x="353" y="745"/>
                  </a:lnTo>
                  <a:lnTo>
                    <a:pt x="328" y="750"/>
                  </a:lnTo>
                  <a:lnTo>
                    <a:pt x="300" y="754"/>
                  </a:lnTo>
                  <a:lnTo>
                    <a:pt x="272" y="755"/>
                  </a:lnTo>
                  <a:lnTo>
                    <a:pt x="272" y="755"/>
                  </a:lnTo>
                  <a:lnTo>
                    <a:pt x="251" y="754"/>
                  </a:lnTo>
                  <a:lnTo>
                    <a:pt x="229" y="752"/>
                  </a:lnTo>
                  <a:lnTo>
                    <a:pt x="209" y="750"/>
                  </a:lnTo>
                  <a:lnTo>
                    <a:pt x="189" y="745"/>
                  </a:lnTo>
                  <a:lnTo>
                    <a:pt x="169" y="740"/>
                  </a:lnTo>
                  <a:lnTo>
                    <a:pt x="151" y="734"/>
                  </a:lnTo>
                  <a:lnTo>
                    <a:pt x="133" y="727"/>
                  </a:lnTo>
                  <a:lnTo>
                    <a:pt x="114" y="718"/>
                  </a:lnTo>
                  <a:lnTo>
                    <a:pt x="99" y="709"/>
                  </a:lnTo>
                  <a:lnTo>
                    <a:pt x="82" y="698"/>
                  </a:lnTo>
                  <a:lnTo>
                    <a:pt x="66" y="685"/>
                  </a:lnTo>
                  <a:lnTo>
                    <a:pt x="51" y="672"/>
                  </a:lnTo>
                  <a:lnTo>
                    <a:pt x="38" y="657"/>
                  </a:lnTo>
                  <a:lnTo>
                    <a:pt x="24" y="641"/>
                  </a:lnTo>
                  <a:lnTo>
                    <a:pt x="12" y="624"/>
                  </a:lnTo>
                  <a:lnTo>
                    <a:pt x="0" y="60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1333" y="2055"/>
              <a:ext cx="219" cy="251"/>
            </a:xfrm>
            <a:custGeom>
              <a:avLst/>
              <a:gdLst>
                <a:gd name="T0" fmla="*/ 1 w 656"/>
                <a:gd name="T1" fmla="*/ 357 h 755"/>
                <a:gd name="T2" fmla="*/ 7 w 656"/>
                <a:gd name="T3" fmla="*/ 300 h 755"/>
                <a:gd name="T4" fmla="*/ 22 w 656"/>
                <a:gd name="T5" fmla="*/ 245 h 755"/>
                <a:gd name="T6" fmla="*/ 43 w 656"/>
                <a:gd name="T7" fmla="*/ 195 h 755"/>
                <a:gd name="T8" fmla="*/ 73 w 656"/>
                <a:gd name="T9" fmla="*/ 149 h 755"/>
                <a:gd name="T10" fmla="*/ 107 w 656"/>
                <a:gd name="T11" fmla="*/ 109 h 755"/>
                <a:gd name="T12" fmla="*/ 148 w 656"/>
                <a:gd name="T13" fmla="*/ 73 h 755"/>
                <a:gd name="T14" fmla="*/ 193 w 656"/>
                <a:gd name="T15" fmla="*/ 44 h 755"/>
                <a:gd name="T16" fmla="*/ 244 w 656"/>
                <a:gd name="T17" fmla="*/ 22 h 755"/>
                <a:gd name="T18" fmla="*/ 299 w 656"/>
                <a:gd name="T19" fmla="*/ 7 h 755"/>
                <a:gd name="T20" fmla="*/ 356 w 656"/>
                <a:gd name="T21" fmla="*/ 0 h 755"/>
                <a:gd name="T22" fmla="*/ 399 w 656"/>
                <a:gd name="T23" fmla="*/ 0 h 755"/>
                <a:gd name="T24" fmla="*/ 460 w 656"/>
                <a:gd name="T25" fmla="*/ 9 h 755"/>
                <a:gd name="T26" fmla="*/ 517 w 656"/>
                <a:gd name="T27" fmla="*/ 26 h 755"/>
                <a:gd name="T28" fmla="*/ 568 w 656"/>
                <a:gd name="T29" fmla="*/ 51 h 755"/>
                <a:gd name="T30" fmla="*/ 615 w 656"/>
                <a:gd name="T31" fmla="*/ 83 h 755"/>
                <a:gd name="T32" fmla="*/ 656 w 656"/>
                <a:gd name="T33" fmla="*/ 121 h 755"/>
                <a:gd name="T34" fmla="*/ 532 w 656"/>
                <a:gd name="T35" fmla="*/ 218 h 755"/>
                <a:gd name="T36" fmla="*/ 476 w 656"/>
                <a:gd name="T37" fmla="*/ 178 h 755"/>
                <a:gd name="T38" fmla="*/ 430 w 656"/>
                <a:gd name="T39" fmla="*/ 162 h 755"/>
                <a:gd name="T40" fmla="*/ 391 w 656"/>
                <a:gd name="T41" fmla="*/ 156 h 755"/>
                <a:gd name="T42" fmla="*/ 354 w 656"/>
                <a:gd name="T43" fmla="*/ 157 h 755"/>
                <a:gd name="T44" fmla="*/ 292 w 656"/>
                <a:gd name="T45" fmla="*/ 173 h 755"/>
                <a:gd name="T46" fmla="*/ 240 w 656"/>
                <a:gd name="T47" fmla="*/ 205 h 755"/>
                <a:gd name="T48" fmla="*/ 199 w 656"/>
                <a:gd name="T49" fmla="*/ 251 h 755"/>
                <a:gd name="T50" fmla="*/ 174 w 656"/>
                <a:gd name="T51" fmla="*/ 310 h 755"/>
                <a:gd name="T52" fmla="*/ 165 w 656"/>
                <a:gd name="T53" fmla="*/ 377 h 755"/>
                <a:gd name="T54" fmla="*/ 169 w 656"/>
                <a:gd name="T55" fmla="*/ 423 h 755"/>
                <a:gd name="T56" fmla="*/ 190 w 656"/>
                <a:gd name="T57" fmla="*/ 485 h 755"/>
                <a:gd name="T58" fmla="*/ 225 w 656"/>
                <a:gd name="T59" fmla="*/ 535 h 755"/>
                <a:gd name="T60" fmla="*/ 272 w 656"/>
                <a:gd name="T61" fmla="*/ 572 h 755"/>
                <a:gd name="T62" fmla="*/ 332 w 656"/>
                <a:gd name="T63" fmla="*/ 594 h 755"/>
                <a:gd name="T64" fmla="*/ 377 w 656"/>
                <a:gd name="T65" fmla="*/ 598 h 755"/>
                <a:gd name="T66" fmla="*/ 417 w 656"/>
                <a:gd name="T67" fmla="*/ 595 h 755"/>
                <a:gd name="T68" fmla="*/ 454 w 656"/>
                <a:gd name="T69" fmla="*/ 585 h 755"/>
                <a:gd name="T70" fmla="*/ 515 w 656"/>
                <a:gd name="T71" fmla="*/ 551 h 755"/>
                <a:gd name="T72" fmla="*/ 656 w 656"/>
                <a:gd name="T73" fmla="*/ 633 h 755"/>
                <a:gd name="T74" fmla="*/ 629 w 656"/>
                <a:gd name="T75" fmla="*/ 660 h 755"/>
                <a:gd name="T76" fmla="*/ 585 w 656"/>
                <a:gd name="T77" fmla="*/ 694 h 755"/>
                <a:gd name="T78" fmla="*/ 535 w 656"/>
                <a:gd name="T79" fmla="*/ 721 h 755"/>
                <a:gd name="T80" fmla="*/ 479 w 656"/>
                <a:gd name="T81" fmla="*/ 741 h 755"/>
                <a:gd name="T82" fmla="*/ 420 w 656"/>
                <a:gd name="T83" fmla="*/ 752 h 755"/>
                <a:gd name="T84" fmla="*/ 377 w 656"/>
                <a:gd name="T85" fmla="*/ 755 h 755"/>
                <a:gd name="T86" fmla="*/ 317 w 656"/>
                <a:gd name="T87" fmla="*/ 750 h 755"/>
                <a:gd name="T88" fmla="*/ 261 w 656"/>
                <a:gd name="T89" fmla="*/ 738 h 755"/>
                <a:gd name="T90" fmla="*/ 210 w 656"/>
                <a:gd name="T91" fmla="*/ 718 h 755"/>
                <a:gd name="T92" fmla="*/ 163 w 656"/>
                <a:gd name="T93" fmla="*/ 691 h 755"/>
                <a:gd name="T94" fmla="*/ 120 w 656"/>
                <a:gd name="T95" fmla="*/ 659 h 755"/>
                <a:gd name="T96" fmla="*/ 84 w 656"/>
                <a:gd name="T97" fmla="*/ 620 h 755"/>
                <a:gd name="T98" fmla="*/ 53 w 656"/>
                <a:gd name="T99" fmla="*/ 576 h 755"/>
                <a:gd name="T100" fmla="*/ 29 w 656"/>
                <a:gd name="T101" fmla="*/ 527 h 755"/>
                <a:gd name="T102" fmla="*/ 12 w 656"/>
                <a:gd name="T103" fmla="*/ 473 h 755"/>
                <a:gd name="T104" fmla="*/ 2 w 656"/>
                <a:gd name="T105" fmla="*/ 41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6" h="755">
                  <a:moveTo>
                    <a:pt x="0" y="377"/>
                  </a:moveTo>
                  <a:lnTo>
                    <a:pt x="0" y="377"/>
                  </a:lnTo>
                  <a:lnTo>
                    <a:pt x="1" y="357"/>
                  </a:lnTo>
                  <a:lnTo>
                    <a:pt x="2" y="338"/>
                  </a:lnTo>
                  <a:lnTo>
                    <a:pt x="5" y="318"/>
                  </a:lnTo>
                  <a:lnTo>
                    <a:pt x="7" y="300"/>
                  </a:lnTo>
                  <a:lnTo>
                    <a:pt x="12" y="282"/>
                  </a:lnTo>
                  <a:lnTo>
                    <a:pt x="17" y="264"/>
                  </a:lnTo>
                  <a:lnTo>
                    <a:pt x="22" y="245"/>
                  </a:lnTo>
                  <a:lnTo>
                    <a:pt x="29" y="228"/>
                  </a:lnTo>
                  <a:lnTo>
                    <a:pt x="36" y="211"/>
                  </a:lnTo>
                  <a:lnTo>
                    <a:pt x="43" y="195"/>
                  </a:lnTo>
                  <a:lnTo>
                    <a:pt x="53" y="179"/>
                  </a:lnTo>
                  <a:lnTo>
                    <a:pt x="62" y="164"/>
                  </a:lnTo>
                  <a:lnTo>
                    <a:pt x="73" y="149"/>
                  </a:lnTo>
                  <a:lnTo>
                    <a:pt x="84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20" y="96"/>
                  </a:lnTo>
                  <a:lnTo>
                    <a:pt x="134" y="84"/>
                  </a:lnTo>
                  <a:lnTo>
                    <a:pt x="148" y="73"/>
                  </a:lnTo>
                  <a:lnTo>
                    <a:pt x="163" y="64"/>
                  </a:lnTo>
                  <a:lnTo>
                    <a:pt x="177" y="54"/>
                  </a:lnTo>
                  <a:lnTo>
                    <a:pt x="193" y="44"/>
                  </a:lnTo>
                  <a:lnTo>
                    <a:pt x="210" y="37"/>
                  </a:lnTo>
                  <a:lnTo>
                    <a:pt x="227" y="29"/>
                  </a:lnTo>
                  <a:lnTo>
                    <a:pt x="244" y="22"/>
                  </a:lnTo>
                  <a:lnTo>
                    <a:pt x="261" y="16"/>
                  </a:lnTo>
                  <a:lnTo>
                    <a:pt x="280" y="11"/>
                  </a:lnTo>
                  <a:lnTo>
                    <a:pt x="299" y="7"/>
                  </a:lnTo>
                  <a:lnTo>
                    <a:pt x="317" y="4"/>
                  </a:lnTo>
                  <a:lnTo>
                    <a:pt x="337" y="1"/>
                  </a:lnTo>
                  <a:lnTo>
                    <a:pt x="356" y="0"/>
                  </a:lnTo>
                  <a:lnTo>
                    <a:pt x="377" y="0"/>
                  </a:lnTo>
                  <a:lnTo>
                    <a:pt x="377" y="0"/>
                  </a:lnTo>
                  <a:lnTo>
                    <a:pt x="399" y="0"/>
                  </a:lnTo>
                  <a:lnTo>
                    <a:pt x="420" y="3"/>
                  </a:lnTo>
                  <a:lnTo>
                    <a:pt x="440" y="5"/>
                  </a:lnTo>
                  <a:lnTo>
                    <a:pt x="460" y="9"/>
                  </a:lnTo>
                  <a:lnTo>
                    <a:pt x="479" y="14"/>
                  </a:lnTo>
                  <a:lnTo>
                    <a:pt x="499" y="20"/>
                  </a:lnTo>
                  <a:lnTo>
                    <a:pt x="517" y="26"/>
                  </a:lnTo>
                  <a:lnTo>
                    <a:pt x="535" y="33"/>
                  </a:lnTo>
                  <a:lnTo>
                    <a:pt x="552" y="42"/>
                  </a:lnTo>
                  <a:lnTo>
                    <a:pt x="568" y="51"/>
                  </a:lnTo>
                  <a:lnTo>
                    <a:pt x="585" y="61"/>
                  </a:lnTo>
                  <a:lnTo>
                    <a:pt x="600" y="72"/>
                  </a:lnTo>
                  <a:lnTo>
                    <a:pt x="615" y="83"/>
                  </a:lnTo>
                  <a:lnTo>
                    <a:pt x="629" y="95"/>
                  </a:lnTo>
                  <a:lnTo>
                    <a:pt x="643" y="107"/>
                  </a:lnTo>
                  <a:lnTo>
                    <a:pt x="656" y="121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32" y="218"/>
                  </a:lnTo>
                  <a:lnTo>
                    <a:pt x="515" y="204"/>
                  </a:lnTo>
                  <a:lnTo>
                    <a:pt x="496" y="190"/>
                  </a:lnTo>
                  <a:lnTo>
                    <a:pt x="476" y="178"/>
                  </a:lnTo>
                  <a:lnTo>
                    <a:pt x="454" y="170"/>
                  </a:lnTo>
                  <a:lnTo>
                    <a:pt x="442" y="166"/>
                  </a:lnTo>
                  <a:lnTo>
                    <a:pt x="430" y="162"/>
                  </a:lnTo>
                  <a:lnTo>
                    <a:pt x="417" y="160"/>
                  </a:lnTo>
                  <a:lnTo>
                    <a:pt x="404" y="157"/>
                  </a:lnTo>
                  <a:lnTo>
                    <a:pt x="391" y="156"/>
                  </a:lnTo>
                  <a:lnTo>
                    <a:pt x="377" y="156"/>
                  </a:lnTo>
                  <a:lnTo>
                    <a:pt x="377" y="156"/>
                  </a:lnTo>
                  <a:lnTo>
                    <a:pt x="354" y="157"/>
                  </a:lnTo>
                  <a:lnTo>
                    <a:pt x="332" y="161"/>
                  </a:lnTo>
                  <a:lnTo>
                    <a:pt x="311" y="166"/>
                  </a:lnTo>
                  <a:lnTo>
                    <a:pt x="292" y="173"/>
                  </a:lnTo>
                  <a:lnTo>
                    <a:pt x="272" y="182"/>
                  </a:lnTo>
                  <a:lnTo>
                    <a:pt x="255" y="193"/>
                  </a:lnTo>
                  <a:lnTo>
                    <a:pt x="240" y="205"/>
                  </a:lnTo>
                  <a:lnTo>
                    <a:pt x="225" y="220"/>
                  </a:lnTo>
                  <a:lnTo>
                    <a:pt x="212" y="234"/>
                  </a:lnTo>
                  <a:lnTo>
                    <a:pt x="199" y="251"/>
                  </a:lnTo>
                  <a:lnTo>
                    <a:pt x="190" y="270"/>
                  </a:lnTo>
                  <a:lnTo>
                    <a:pt x="181" y="289"/>
                  </a:lnTo>
                  <a:lnTo>
                    <a:pt x="174" y="310"/>
                  </a:lnTo>
                  <a:lnTo>
                    <a:pt x="169" y="332"/>
                  </a:lnTo>
                  <a:lnTo>
                    <a:pt x="166" y="354"/>
                  </a:lnTo>
                  <a:lnTo>
                    <a:pt x="165" y="377"/>
                  </a:lnTo>
                  <a:lnTo>
                    <a:pt x="165" y="377"/>
                  </a:lnTo>
                  <a:lnTo>
                    <a:pt x="166" y="401"/>
                  </a:lnTo>
                  <a:lnTo>
                    <a:pt x="169" y="423"/>
                  </a:lnTo>
                  <a:lnTo>
                    <a:pt x="174" y="445"/>
                  </a:lnTo>
                  <a:lnTo>
                    <a:pt x="181" y="466"/>
                  </a:lnTo>
                  <a:lnTo>
                    <a:pt x="190" y="485"/>
                  </a:lnTo>
                  <a:lnTo>
                    <a:pt x="199" y="502"/>
                  </a:lnTo>
                  <a:lnTo>
                    <a:pt x="212" y="520"/>
                  </a:lnTo>
                  <a:lnTo>
                    <a:pt x="225" y="535"/>
                  </a:lnTo>
                  <a:lnTo>
                    <a:pt x="240" y="549"/>
                  </a:lnTo>
                  <a:lnTo>
                    <a:pt x="255" y="562"/>
                  </a:lnTo>
                  <a:lnTo>
                    <a:pt x="272" y="572"/>
                  </a:lnTo>
                  <a:lnTo>
                    <a:pt x="292" y="582"/>
                  </a:lnTo>
                  <a:lnTo>
                    <a:pt x="311" y="589"/>
                  </a:lnTo>
                  <a:lnTo>
                    <a:pt x="332" y="594"/>
                  </a:lnTo>
                  <a:lnTo>
                    <a:pt x="354" y="598"/>
                  </a:lnTo>
                  <a:lnTo>
                    <a:pt x="377" y="598"/>
                  </a:lnTo>
                  <a:lnTo>
                    <a:pt x="377" y="598"/>
                  </a:lnTo>
                  <a:lnTo>
                    <a:pt x="391" y="598"/>
                  </a:lnTo>
                  <a:lnTo>
                    <a:pt x="404" y="596"/>
                  </a:lnTo>
                  <a:lnTo>
                    <a:pt x="417" y="595"/>
                  </a:lnTo>
                  <a:lnTo>
                    <a:pt x="430" y="593"/>
                  </a:lnTo>
                  <a:lnTo>
                    <a:pt x="442" y="589"/>
                  </a:lnTo>
                  <a:lnTo>
                    <a:pt x="454" y="585"/>
                  </a:lnTo>
                  <a:lnTo>
                    <a:pt x="476" y="576"/>
                  </a:lnTo>
                  <a:lnTo>
                    <a:pt x="496" y="565"/>
                  </a:lnTo>
                  <a:lnTo>
                    <a:pt x="515" y="551"/>
                  </a:lnTo>
                  <a:lnTo>
                    <a:pt x="532" y="537"/>
                  </a:lnTo>
                  <a:lnTo>
                    <a:pt x="546" y="521"/>
                  </a:lnTo>
                  <a:lnTo>
                    <a:pt x="656" y="633"/>
                  </a:lnTo>
                  <a:lnTo>
                    <a:pt x="656" y="633"/>
                  </a:lnTo>
                  <a:lnTo>
                    <a:pt x="643" y="646"/>
                  </a:lnTo>
                  <a:lnTo>
                    <a:pt x="629" y="660"/>
                  </a:lnTo>
                  <a:lnTo>
                    <a:pt x="615" y="672"/>
                  </a:lnTo>
                  <a:lnTo>
                    <a:pt x="600" y="683"/>
                  </a:lnTo>
                  <a:lnTo>
                    <a:pt x="585" y="694"/>
                  </a:lnTo>
                  <a:lnTo>
                    <a:pt x="568" y="704"/>
                  </a:lnTo>
                  <a:lnTo>
                    <a:pt x="552" y="713"/>
                  </a:lnTo>
                  <a:lnTo>
                    <a:pt x="535" y="721"/>
                  </a:lnTo>
                  <a:lnTo>
                    <a:pt x="517" y="729"/>
                  </a:lnTo>
                  <a:lnTo>
                    <a:pt x="499" y="735"/>
                  </a:lnTo>
                  <a:lnTo>
                    <a:pt x="479" y="741"/>
                  </a:lnTo>
                  <a:lnTo>
                    <a:pt x="460" y="746"/>
                  </a:lnTo>
                  <a:lnTo>
                    <a:pt x="440" y="750"/>
                  </a:lnTo>
                  <a:lnTo>
                    <a:pt x="420" y="752"/>
                  </a:lnTo>
                  <a:lnTo>
                    <a:pt x="399" y="754"/>
                  </a:lnTo>
                  <a:lnTo>
                    <a:pt x="377" y="755"/>
                  </a:lnTo>
                  <a:lnTo>
                    <a:pt x="377" y="755"/>
                  </a:lnTo>
                  <a:lnTo>
                    <a:pt x="356" y="754"/>
                  </a:lnTo>
                  <a:lnTo>
                    <a:pt x="337" y="752"/>
                  </a:lnTo>
                  <a:lnTo>
                    <a:pt x="317" y="750"/>
                  </a:lnTo>
                  <a:lnTo>
                    <a:pt x="299" y="748"/>
                  </a:lnTo>
                  <a:lnTo>
                    <a:pt x="280" y="743"/>
                  </a:lnTo>
                  <a:lnTo>
                    <a:pt x="261" y="738"/>
                  </a:lnTo>
                  <a:lnTo>
                    <a:pt x="244" y="732"/>
                  </a:lnTo>
                  <a:lnTo>
                    <a:pt x="227" y="726"/>
                  </a:lnTo>
                  <a:lnTo>
                    <a:pt x="210" y="718"/>
                  </a:lnTo>
                  <a:lnTo>
                    <a:pt x="193" y="710"/>
                  </a:lnTo>
                  <a:lnTo>
                    <a:pt x="177" y="701"/>
                  </a:lnTo>
                  <a:lnTo>
                    <a:pt x="163" y="691"/>
                  </a:lnTo>
                  <a:lnTo>
                    <a:pt x="148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4" y="620"/>
                  </a:lnTo>
                  <a:lnTo>
                    <a:pt x="73" y="605"/>
                  </a:lnTo>
                  <a:lnTo>
                    <a:pt x="62" y="590"/>
                  </a:lnTo>
                  <a:lnTo>
                    <a:pt x="53" y="576"/>
                  </a:lnTo>
                  <a:lnTo>
                    <a:pt x="43" y="560"/>
                  </a:lnTo>
                  <a:lnTo>
                    <a:pt x="36" y="543"/>
                  </a:lnTo>
                  <a:lnTo>
                    <a:pt x="29" y="527"/>
                  </a:lnTo>
                  <a:lnTo>
                    <a:pt x="22" y="509"/>
                  </a:lnTo>
                  <a:lnTo>
                    <a:pt x="17" y="492"/>
                  </a:lnTo>
                  <a:lnTo>
                    <a:pt x="12" y="473"/>
                  </a:lnTo>
                  <a:lnTo>
                    <a:pt x="7" y="455"/>
                  </a:lnTo>
                  <a:lnTo>
                    <a:pt x="5" y="435"/>
                  </a:lnTo>
                  <a:lnTo>
                    <a:pt x="2" y="417"/>
                  </a:lnTo>
                  <a:lnTo>
                    <a:pt x="1" y="398"/>
                  </a:lnTo>
                  <a:lnTo>
                    <a:pt x="0" y="37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333" y="2055"/>
              <a:ext cx="219" cy="251"/>
            </a:xfrm>
            <a:custGeom>
              <a:avLst/>
              <a:gdLst>
                <a:gd name="T0" fmla="*/ 1 w 656"/>
                <a:gd name="T1" fmla="*/ 357 h 755"/>
                <a:gd name="T2" fmla="*/ 7 w 656"/>
                <a:gd name="T3" fmla="*/ 300 h 755"/>
                <a:gd name="T4" fmla="*/ 22 w 656"/>
                <a:gd name="T5" fmla="*/ 245 h 755"/>
                <a:gd name="T6" fmla="*/ 43 w 656"/>
                <a:gd name="T7" fmla="*/ 195 h 755"/>
                <a:gd name="T8" fmla="*/ 73 w 656"/>
                <a:gd name="T9" fmla="*/ 149 h 755"/>
                <a:gd name="T10" fmla="*/ 107 w 656"/>
                <a:gd name="T11" fmla="*/ 109 h 755"/>
                <a:gd name="T12" fmla="*/ 148 w 656"/>
                <a:gd name="T13" fmla="*/ 73 h 755"/>
                <a:gd name="T14" fmla="*/ 193 w 656"/>
                <a:gd name="T15" fmla="*/ 44 h 755"/>
                <a:gd name="T16" fmla="*/ 244 w 656"/>
                <a:gd name="T17" fmla="*/ 22 h 755"/>
                <a:gd name="T18" fmla="*/ 299 w 656"/>
                <a:gd name="T19" fmla="*/ 7 h 755"/>
                <a:gd name="T20" fmla="*/ 356 w 656"/>
                <a:gd name="T21" fmla="*/ 0 h 755"/>
                <a:gd name="T22" fmla="*/ 399 w 656"/>
                <a:gd name="T23" fmla="*/ 0 h 755"/>
                <a:gd name="T24" fmla="*/ 460 w 656"/>
                <a:gd name="T25" fmla="*/ 9 h 755"/>
                <a:gd name="T26" fmla="*/ 517 w 656"/>
                <a:gd name="T27" fmla="*/ 26 h 755"/>
                <a:gd name="T28" fmla="*/ 568 w 656"/>
                <a:gd name="T29" fmla="*/ 51 h 755"/>
                <a:gd name="T30" fmla="*/ 615 w 656"/>
                <a:gd name="T31" fmla="*/ 83 h 755"/>
                <a:gd name="T32" fmla="*/ 656 w 656"/>
                <a:gd name="T33" fmla="*/ 121 h 755"/>
                <a:gd name="T34" fmla="*/ 532 w 656"/>
                <a:gd name="T35" fmla="*/ 218 h 755"/>
                <a:gd name="T36" fmla="*/ 476 w 656"/>
                <a:gd name="T37" fmla="*/ 178 h 755"/>
                <a:gd name="T38" fmla="*/ 430 w 656"/>
                <a:gd name="T39" fmla="*/ 162 h 755"/>
                <a:gd name="T40" fmla="*/ 391 w 656"/>
                <a:gd name="T41" fmla="*/ 156 h 755"/>
                <a:gd name="T42" fmla="*/ 354 w 656"/>
                <a:gd name="T43" fmla="*/ 157 h 755"/>
                <a:gd name="T44" fmla="*/ 292 w 656"/>
                <a:gd name="T45" fmla="*/ 173 h 755"/>
                <a:gd name="T46" fmla="*/ 240 w 656"/>
                <a:gd name="T47" fmla="*/ 205 h 755"/>
                <a:gd name="T48" fmla="*/ 199 w 656"/>
                <a:gd name="T49" fmla="*/ 251 h 755"/>
                <a:gd name="T50" fmla="*/ 174 w 656"/>
                <a:gd name="T51" fmla="*/ 310 h 755"/>
                <a:gd name="T52" fmla="*/ 165 w 656"/>
                <a:gd name="T53" fmla="*/ 377 h 755"/>
                <a:gd name="T54" fmla="*/ 169 w 656"/>
                <a:gd name="T55" fmla="*/ 423 h 755"/>
                <a:gd name="T56" fmla="*/ 190 w 656"/>
                <a:gd name="T57" fmla="*/ 485 h 755"/>
                <a:gd name="T58" fmla="*/ 225 w 656"/>
                <a:gd name="T59" fmla="*/ 535 h 755"/>
                <a:gd name="T60" fmla="*/ 272 w 656"/>
                <a:gd name="T61" fmla="*/ 572 h 755"/>
                <a:gd name="T62" fmla="*/ 332 w 656"/>
                <a:gd name="T63" fmla="*/ 594 h 755"/>
                <a:gd name="T64" fmla="*/ 377 w 656"/>
                <a:gd name="T65" fmla="*/ 598 h 755"/>
                <a:gd name="T66" fmla="*/ 417 w 656"/>
                <a:gd name="T67" fmla="*/ 595 h 755"/>
                <a:gd name="T68" fmla="*/ 454 w 656"/>
                <a:gd name="T69" fmla="*/ 585 h 755"/>
                <a:gd name="T70" fmla="*/ 515 w 656"/>
                <a:gd name="T71" fmla="*/ 551 h 755"/>
                <a:gd name="T72" fmla="*/ 656 w 656"/>
                <a:gd name="T73" fmla="*/ 633 h 755"/>
                <a:gd name="T74" fmla="*/ 629 w 656"/>
                <a:gd name="T75" fmla="*/ 660 h 755"/>
                <a:gd name="T76" fmla="*/ 585 w 656"/>
                <a:gd name="T77" fmla="*/ 694 h 755"/>
                <a:gd name="T78" fmla="*/ 535 w 656"/>
                <a:gd name="T79" fmla="*/ 721 h 755"/>
                <a:gd name="T80" fmla="*/ 479 w 656"/>
                <a:gd name="T81" fmla="*/ 741 h 755"/>
                <a:gd name="T82" fmla="*/ 420 w 656"/>
                <a:gd name="T83" fmla="*/ 752 h 755"/>
                <a:gd name="T84" fmla="*/ 377 w 656"/>
                <a:gd name="T85" fmla="*/ 755 h 755"/>
                <a:gd name="T86" fmla="*/ 317 w 656"/>
                <a:gd name="T87" fmla="*/ 750 h 755"/>
                <a:gd name="T88" fmla="*/ 261 w 656"/>
                <a:gd name="T89" fmla="*/ 738 h 755"/>
                <a:gd name="T90" fmla="*/ 210 w 656"/>
                <a:gd name="T91" fmla="*/ 718 h 755"/>
                <a:gd name="T92" fmla="*/ 163 w 656"/>
                <a:gd name="T93" fmla="*/ 691 h 755"/>
                <a:gd name="T94" fmla="*/ 120 w 656"/>
                <a:gd name="T95" fmla="*/ 659 h 755"/>
                <a:gd name="T96" fmla="*/ 84 w 656"/>
                <a:gd name="T97" fmla="*/ 620 h 755"/>
                <a:gd name="T98" fmla="*/ 53 w 656"/>
                <a:gd name="T99" fmla="*/ 576 h 755"/>
                <a:gd name="T100" fmla="*/ 29 w 656"/>
                <a:gd name="T101" fmla="*/ 527 h 755"/>
                <a:gd name="T102" fmla="*/ 12 w 656"/>
                <a:gd name="T103" fmla="*/ 473 h 755"/>
                <a:gd name="T104" fmla="*/ 2 w 656"/>
                <a:gd name="T105" fmla="*/ 41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6" h="755">
                  <a:moveTo>
                    <a:pt x="0" y="377"/>
                  </a:moveTo>
                  <a:lnTo>
                    <a:pt x="0" y="377"/>
                  </a:lnTo>
                  <a:lnTo>
                    <a:pt x="1" y="357"/>
                  </a:lnTo>
                  <a:lnTo>
                    <a:pt x="2" y="338"/>
                  </a:lnTo>
                  <a:lnTo>
                    <a:pt x="5" y="318"/>
                  </a:lnTo>
                  <a:lnTo>
                    <a:pt x="7" y="300"/>
                  </a:lnTo>
                  <a:lnTo>
                    <a:pt x="12" y="282"/>
                  </a:lnTo>
                  <a:lnTo>
                    <a:pt x="17" y="264"/>
                  </a:lnTo>
                  <a:lnTo>
                    <a:pt x="22" y="245"/>
                  </a:lnTo>
                  <a:lnTo>
                    <a:pt x="29" y="228"/>
                  </a:lnTo>
                  <a:lnTo>
                    <a:pt x="36" y="211"/>
                  </a:lnTo>
                  <a:lnTo>
                    <a:pt x="43" y="195"/>
                  </a:lnTo>
                  <a:lnTo>
                    <a:pt x="53" y="179"/>
                  </a:lnTo>
                  <a:lnTo>
                    <a:pt x="62" y="164"/>
                  </a:lnTo>
                  <a:lnTo>
                    <a:pt x="73" y="149"/>
                  </a:lnTo>
                  <a:lnTo>
                    <a:pt x="84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20" y="96"/>
                  </a:lnTo>
                  <a:lnTo>
                    <a:pt x="134" y="84"/>
                  </a:lnTo>
                  <a:lnTo>
                    <a:pt x="148" y="73"/>
                  </a:lnTo>
                  <a:lnTo>
                    <a:pt x="163" y="64"/>
                  </a:lnTo>
                  <a:lnTo>
                    <a:pt x="177" y="54"/>
                  </a:lnTo>
                  <a:lnTo>
                    <a:pt x="193" y="44"/>
                  </a:lnTo>
                  <a:lnTo>
                    <a:pt x="210" y="37"/>
                  </a:lnTo>
                  <a:lnTo>
                    <a:pt x="227" y="29"/>
                  </a:lnTo>
                  <a:lnTo>
                    <a:pt x="244" y="22"/>
                  </a:lnTo>
                  <a:lnTo>
                    <a:pt x="261" y="16"/>
                  </a:lnTo>
                  <a:lnTo>
                    <a:pt x="280" y="11"/>
                  </a:lnTo>
                  <a:lnTo>
                    <a:pt x="299" y="7"/>
                  </a:lnTo>
                  <a:lnTo>
                    <a:pt x="317" y="4"/>
                  </a:lnTo>
                  <a:lnTo>
                    <a:pt x="337" y="1"/>
                  </a:lnTo>
                  <a:lnTo>
                    <a:pt x="356" y="0"/>
                  </a:lnTo>
                  <a:lnTo>
                    <a:pt x="377" y="0"/>
                  </a:lnTo>
                  <a:lnTo>
                    <a:pt x="377" y="0"/>
                  </a:lnTo>
                  <a:lnTo>
                    <a:pt x="399" y="0"/>
                  </a:lnTo>
                  <a:lnTo>
                    <a:pt x="420" y="3"/>
                  </a:lnTo>
                  <a:lnTo>
                    <a:pt x="440" y="5"/>
                  </a:lnTo>
                  <a:lnTo>
                    <a:pt x="460" y="9"/>
                  </a:lnTo>
                  <a:lnTo>
                    <a:pt x="479" y="14"/>
                  </a:lnTo>
                  <a:lnTo>
                    <a:pt x="499" y="20"/>
                  </a:lnTo>
                  <a:lnTo>
                    <a:pt x="517" y="26"/>
                  </a:lnTo>
                  <a:lnTo>
                    <a:pt x="535" y="33"/>
                  </a:lnTo>
                  <a:lnTo>
                    <a:pt x="552" y="42"/>
                  </a:lnTo>
                  <a:lnTo>
                    <a:pt x="568" y="51"/>
                  </a:lnTo>
                  <a:lnTo>
                    <a:pt x="585" y="61"/>
                  </a:lnTo>
                  <a:lnTo>
                    <a:pt x="600" y="72"/>
                  </a:lnTo>
                  <a:lnTo>
                    <a:pt x="615" y="83"/>
                  </a:lnTo>
                  <a:lnTo>
                    <a:pt x="629" y="95"/>
                  </a:lnTo>
                  <a:lnTo>
                    <a:pt x="643" y="107"/>
                  </a:lnTo>
                  <a:lnTo>
                    <a:pt x="656" y="121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32" y="218"/>
                  </a:lnTo>
                  <a:lnTo>
                    <a:pt x="515" y="204"/>
                  </a:lnTo>
                  <a:lnTo>
                    <a:pt x="496" y="190"/>
                  </a:lnTo>
                  <a:lnTo>
                    <a:pt x="476" y="178"/>
                  </a:lnTo>
                  <a:lnTo>
                    <a:pt x="454" y="170"/>
                  </a:lnTo>
                  <a:lnTo>
                    <a:pt x="442" y="166"/>
                  </a:lnTo>
                  <a:lnTo>
                    <a:pt x="430" y="162"/>
                  </a:lnTo>
                  <a:lnTo>
                    <a:pt x="417" y="160"/>
                  </a:lnTo>
                  <a:lnTo>
                    <a:pt x="404" y="157"/>
                  </a:lnTo>
                  <a:lnTo>
                    <a:pt x="391" y="156"/>
                  </a:lnTo>
                  <a:lnTo>
                    <a:pt x="377" y="156"/>
                  </a:lnTo>
                  <a:lnTo>
                    <a:pt x="377" y="156"/>
                  </a:lnTo>
                  <a:lnTo>
                    <a:pt x="354" y="157"/>
                  </a:lnTo>
                  <a:lnTo>
                    <a:pt x="332" y="161"/>
                  </a:lnTo>
                  <a:lnTo>
                    <a:pt x="311" y="166"/>
                  </a:lnTo>
                  <a:lnTo>
                    <a:pt x="292" y="173"/>
                  </a:lnTo>
                  <a:lnTo>
                    <a:pt x="272" y="182"/>
                  </a:lnTo>
                  <a:lnTo>
                    <a:pt x="255" y="193"/>
                  </a:lnTo>
                  <a:lnTo>
                    <a:pt x="240" y="205"/>
                  </a:lnTo>
                  <a:lnTo>
                    <a:pt x="225" y="220"/>
                  </a:lnTo>
                  <a:lnTo>
                    <a:pt x="212" y="234"/>
                  </a:lnTo>
                  <a:lnTo>
                    <a:pt x="199" y="251"/>
                  </a:lnTo>
                  <a:lnTo>
                    <a:pt x="190" y="270"/>
                  </a:lnTo>
                  <a:lnTo>
                    <a:pt x="181" y="289"/>
                  </a:lnTo>
                  <a:lnTo>
                    <a:pt x="174" y="310"/>
                  </a:lnTo>
                  <a:lnTo>
                    <a:pt x="169" y="332"/>
                  </a:lnTo>
                  <a:lnTo>
                    <a:pt x="166" y="354"/>
                  </a:lnTo>
                  <a:lnTo>
                    <a:pt x="165" y="377"/>
                  </a:lnTo>
                  <a:lnTo>
                    <a:pt x="165" y="377"/>
                  </a:lnTo>
                  <a:lnTo>
                    <a:pt x="166" y="401"/>
                  </a:lnTo>
                  <a:lnTo>
                    <a:pt x="169" y="423"/>
                  </a:lnTo>
                  <a:lnTo>
                    <a:pt x="174" y="445"/>
                  </a:lnTo>
                  <a:lnTo>
                    <a:pt x="181" y="466"/>
                  </a:lnTo>
                  <a:lnTo>
                    <a:pt x="190" y="485"/>
                  </a:lnTo>
                  <a:lnTo>
                    <a:pt x="199" y="502"/>
                  </a:lnTo>
                  <a:lnTo>
                    <a:pt x="212" y="520"/>
                  </a:lnTo>
                  <a:lnTo>
                    <a:pt x="225" y="535"/>
                  </a:lnTo>
                  <a:lnTo>
                    <a:pt x="240" y="549"/>
                  </a:lnTo>
                  <a:lnTo>
                    <a:pt x="255" y="562"/>
                  </a:lnTo>
                  <a:lnTo>
                    <a:pt x="272" y="572"/>
                  </a:lnTo>
                  <a:lnTo>
                    <a:pt x="292" y="582"/>
                  </a:lnTo>
                  <a:lnTo>
                    <a:pt x="311" y="589"/>
                  </a:lnTo>
                  <a:lnTo>
                    <a:pt x="332" y="594"/>
                  </a:lnTo>
                  <a:lnTo>
                    <a:pt x="354" y="598"/>
                  </a:lnTo>
                  <a:lnTo>
                    <a:pt x="377" y="598"/>
                  </a:lnTo>
                  <a:lnTo>
                    <a:pt x="377" y="598"/>
                  </a:lnTo>
                  <a:lnTo>
                    <a:pt x="391" y="598"/>
                  </a:lnTo>
                  <a:lnTo>
                    <a:pt x="404" y="596"/>
                  </a:lnTo>
                  <a:lnTo>
                    <a:pt x="417" y="595"/>
                  </a:lnTo>
                  <a:lnTo>
                    <a:pt x="430" y="593"/>
                  </a:lnTo>
                  <a:lnTo>
                    <a:pt x="442" y="589"/>
                  </a:lnTo>
                  <a:lnTo>
                    <a:pt x="454" y="585"/>
                  </a:lnTo>
                  <a:lnTo>
                    <a:pt x="476" y="576"/>
                  </a:lnTo>
                  <a:lnTo>
                    <a:pt x="496" y="565"/>
                  </a:lnTo>
                  <a:lnTo>
                    <a:pt x="515" y="551"/>
                  </a:lnTo>
                  <a:lnTo>
                    <a:pt x="532" y="537"/>
                  </a:lnTo>
                  <a:lnTo>
                    <a:pt x="546" y="521"/>
                  </a:lnTo>
                  <a:lnTo>
                    <a:pt x="656" y="633"/>
                  </a:lnTo>
                  <a:lnTo>
                    <a:pt x="656" y="633"/>
                  </a:lnTo>
                  <a:lnTo>
                    <a:pt x="643" y="646"/>
                  </a:lnTo>
                  <a:lnTo>
                    <a:pt x="629" y="660"/>
                  </a:lnTo>
                  <a:lnTo>
                    <a:pt x="615" y="672"/>
                  </a:lnTo>
                  <a:lnTo>
                    <a:pt x="600" y="683"/>
                  </a:lnTo>
                  <a:lnTo>
                    <a:pt x="585" y="694"/>
                  </a:lnTo>
                  <a:lnTo>
                    <a:pt x="568" y="704"/>
                  </a:lnTo>
                  <a:lnTo>
                    <a:pt x="552" y="713"/>
                  </a:lnTo>
                  <a:lnTo>
                    <a:pt x="535" y="721"/>
                  </a:lnTo>
                  <a:lnTo>
                    <a:pt x="517" y="729"/>
                  </a:lnTo>
                  <a:lnTo>
                    <a:pt x="499" y="735"/>
                  </a:lnTo>
                  <a:lnTo>
                    <a:pt x="479" y="741"/>
                  </a:lnTo>
                  <a:lnTo>
                    <a:pt x="460" y="746"/>
                  </a:lnTo>
                  <a:lnTo>
                    <a:pt x="440" y="750"/>
                  </a:lnTo>
                  <a:lnTo>
                    <a:pt x="420" y="752"/>
                  </a:lnTo>
                  <a:lnTo>
                    <a:pt x="399" y="754"/>
                  </a:lnTo>
                  <a:lnTo>
                    <a:pt x="377" y="755"/>
                  </a:lnTo>
                  <a:lnTo>
                    <a:pt x="377" y="755"/>
                  </a:lnTo>
                  <a:lnTo>
                    <a:pt x="356" y="754"/>
                  </a:lnTo>
                  <a:lnTo>
                    <a:pt x="337" y="752"/>
                  </a:lnTo>
                  <a:lnTo>
                    <a:pt x="317" y="750"/>
                  </a:lnTo>
                  <a:lnTo>
                    <a:pt x="299" y="748"/>
                  </a:lnTo>
                  <a:lnTo>
                    <a:pt x="280" y="743"/>
                  </a:lnTo>
                  <a:lnTo>
                    <a:pt x="261" y="738"/>
                  </a:lnTo>
                  <a:lnTo>
                    <a:pt x="244" y="732"/>
                  </a:lnTo>
                  <a:lnTo>
                    <a:pt x="227" y="726"/>
                  </a:lnTo>
                  <a:lnTo>
                    <a:pt x="210" y="718"/>
                  </a:lnTo>
                  <a:lnTo>
                    <a:pt x="193" y="710"/>
                  </a:lnTo>
                  <a:lnTo>
                    <a:pt x="177" y="701"/>
                  </a:lnTo>
                  <a:lnTo>
                    <a:pt x="163" y="691"/>
                  </a:lnTo>
                  <a:lnTo>
                    <a:pt x="148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4" y="620"/>
                  </a:lnTo>
                  <a:lnTo>
                    <a:pt x="73" y="605"/>
                  </a:lnTo>
                  <a:lnTo>
                    <a:pt x="62" y="590"/>
                  </a:lnTo>
                  <a:lnTo>
                    <a:pt x="53" y="576"/>
                  </a:lnTo>
                  <a:lnTo>
                    <a:pt x="43" y="560"/>
                  </a:lnTo>
                  <a:lnTo>
                    <a:pt x="36" y="543"/>
                  </a:lnTo>
                  <a:lnTo>
                    <a:pt x="29" y="527"/>
                  </a:lnTo>
                  <a:lnTo>
                    <a:pt x="22" y="509"/>
                  </a:lnTo>
                  <a:lnTo>
                    <a:pt x="17" y="492"/>
                  </a:lnTo>
                  <a:lnTo>
                    <a:pt x="12" y="473"/>
                  </a:lnTo>
                  <a:lnTo>
                    <a:pt x="7" y="455"/>
                  </a:lnTo>
                  <a:lnTo>
                    <a:pt x="5" y="435"/>
                  </a:lnTo>
                  <a:lnTo>
                    <a:pt x="2" y="417"/>
                  </a:lnTo>
                  <a:lnTo>
                    <a:pt x="1" y="398"/>
                  </a:lnTo>
                  <a:lnTo>
                    <a:pt x="0" y="3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1646" y="2174"/>
              <a:ext cx="187" cy="131"/>
            </a:xfrm>
            <a:custGeom>
              <a:avLst/>
              <a:gdLst>
                <a:gd name="T0" fmla="*/ 562 w 562"/>
                <a:gd name="T1" fmla="*/ 393 h 393"/>
                <a:gd name="T2" fmla="*/ 216 w 562"/>
                <a:gd name="T3" fmla="*/ 0 h 393"/>
                <a:gd name="T4" fmla="*/ 0 w 562"/>
                <a:gd name="T5" fmla="*/ 0 h 393"/>
                <a:gd name="T6" fmla="*/ 342 w 562"/>
                <a:gd name="T7" fmla="*/ 393 h 393"/>
                <a:gd name="T8" fmla="*/ 562 w 562"/>
                <a:gd name="T9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2" h="393">
                  <a:moveTo>
                    <a:pt x="562" y="393"/>
                  </a:moveTo>
                  <a:lnTo>
                    <a:pt x="216" y="0"/>
                  </a:lnTo>
                  <a:lnTo>
                    <a:pt x="0" y="0"/>
                  </a:lnTo>
                  <a:lnTo>
                    <a:pt x="342" y="393"/>
                  </a:lnTo>
                  <a:lnTo>
                    <a:pt x="562" y="393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/>
            <p:cNvSpPr>
              <a:spLocks/>
            </p:cNvSpPr>
            <p:nvPr userDrawn="1"/>
          </p:nvSpPr>
          <p:spPr bwMode="auto">
            <a:xfrm>
              <a:off x="1579" y="1971"/>
              <a:ext cx="53" cy="334"/>
            </a:xfrm>
            <a:custGeom>
              <a:avLst/>
              <a:gdLst>
                <a:gd name="T0" fmla="*/ 0 w 161"/>
                <a:gd name="T1" fmla="*/ 0 h 1003"/>
                <a:gd name="T2" fmla="*/ 0 w 161"/>
                <a:gd name="T3" fmla="*/ 1003 h 1003"/>
                <a:gd name="T4" fmla="*/ 161 w 161"/>
                <a:gd name="T5" fmla="*/ 1003 h 1003"/>
                <a:gd name="T6" fmla="*/ 161 w 161"/>
                <a:gd name="T7" fmla="*/ 638 h 1003"/>
                <a:gd name="T8" fmla="*/ 161 w 161"/>
                <a:gd name="T9" fmla="*/ 639 h 1003"/>
                <a:gd name="T10" fmla="*/ 161 w 161"/>
                <a:gd name="T11" fmla="*/ 601 h 1003"/>
                <a:gd name="T12" fmla="*/ 161 w 161"/>
                <a:gd name="T13" fmla="*/ 601 h 1003"/>
                <a:gd name="T14" fmla="*/ 161 w 161"/>
                <a:gd name="T15" fmla="*/ 0 h 1003"/>
                <a:gd name="T16" fmla="*/ 0 w 161"/>
                <a:gd name="T17" fmla="*/ 0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1" h="1003">
                  <a:moveTo>
                    <a:pt x="0" y="0"/>
                  </a:moveTo>
                  <a:lnTo>
                    <a:pt x="0" y="1003"/>
                  </a:lnTo>
                  <a:lnTo>
                    <a:pt x="161" y="1003"/>
                  </a:lnTo>
                  <a:lnTo>
                    <a:pt x="161" y="638"/>
                  </a:lnTo>
                  <a:lnTo>
                    <a:pt x="161" y="639"/>
                  </a:lnTo>
                  <a:lnTo>
                    <a:pt x="161" y="601"/>
                  </a:lnTo>
                  <a:lnTo>
                    <a:pt x="161" y="601"/>
                  </a:lnTo>
                  <a:lnTo>
                    <a:pt x="16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/>
            <p:cNvSpPr>
              <a:spLocks/>
            </p:cNvSpPr>
            <p:nvPr userDrawn="1"/>
          </p:nvSpPr>
          <p:spPr bwMode="auto">
            <a:xfrm>
              <a:off x="1908" y="2055"/>
              <a:ext cx="218" cy="251"/>
            </a:xfrm>
            <a:custGeom>
              <a:avLst/>
              <a:gdLst>
                <a:gd name="T0" fmla="*/ 0 w 655"/>
                <a:gd name="T1" fmla="*/ 357 h 755"/>
                <a:gd name="T2" fmla="*/ 7 w 655"/>
                <a:gd name="T3" fmla="*/ 300 h 755"/>
                <a:gd name="T4" fmla="*/ 22 w 655"/>
                <a:gd name="T5" fmla="*/ 245 h 755"/>
                <a:gd name="T6" fmla="*/ 44 w 655"/>
                <a:gd name="T7" fmla="*/ 195 h 755"/>
                <a:gd name="T8" fmla="*/ 72 w 655"/>
                <a:gd name="T9" fmla="*/ 149 h 755"/>
                <a:gd name="T10" fmla="*/ 107 w 655"/>
                <a:gd name="T11" fmla="*/ 109 h 755"/>
                <a:gd name="T12" fmla="*/ 147 w 655"/>
                <a:gd name="T13" fmla="*/ 73 h 755"/>
                <a:gd name="T14" fmla="*/ 193 w 655"/>
                <a:gd name="T15" fmla="*/ 44 h 755"/>
                <a:gd name="T16" fmla="*/ 243 w 655"/>
                <a:gd name="T17" fmla="*/ 22 h 755"/>
                <a:gd name="T18" fmla="*/ 298 w 655"/>
                <a:gd name="T19" fmla="*/ 7 h 755"/>
                <a:gd name="T20" fmla="*/ 357 w 655"/>
                <a:gd name="T21" fmla="*/ 0 h 755"/>
                <a:gd name="T22" fmla="*/ 398 w 655"/>
                <a:gd name="T23" fmla="*/ 0 h 755"/>
                <a:gd name="T24" fmla="*/ 460 w 655"/>
                <a:gd name="T25" fmla="*/ 9 h 755"/>
                <a:gd name="T26" fmla="*/ 516 w 655"/>
                <a:gd name="T27" fmla="*/ 26 h 755"/>
                <a:gd name="T28" fmla="*/ 568 w 655"/>
                <a:gd name="T29" fmla="*/ 51 h 755"/>
                <a:gd name="T30" fmla="*/ 615 w 655"/>
                <a:gd name="T31" fmla="*/ 83 h 755"/>
                <a:gd name="T32" fmla="*/ 655 w 655"/>
                <a:gd name="T33" fmla="*/ 121 h 755"/>
                <a:gd name="T34" fmla="*/ 531 w 655"/>
                <a:gd name="T35" fmla="*/ 218 h 755"/>
                <a:gd name="T36" fmla="*/ 476 w 655"/>
                <a:gd name="T37" fmla="*/ 178 h 755"/>
                <a:gd name="T38" fmla="*/ 430 w 655"/>
                <a:gd name="T39" fmla="*/ 162 h 755"/>
                <a:gd name="T40" fmla="*/ 391 w 655"/>
                <a:gd name="T41" fmla="*/ 156 h 755"/>
                <a:gd name="T42" fmla="*/ 354 w 655"/>
                <a:gd name="T43" fmla="*/ 157 h 755"/>
                <a:gd name="T44" fmla="*/ 291 w 655"/>
                <a:gd name="T45" fmla="*/ 173 h 755"/>
                <a:gd name="T46" fmla="*/ 238 w 655"/>
                <a:gd name="T47" fmla="*/ 205 h 755"/>
                <a:gd name="T48" fmla="*/ 198 w 655"/>
                <a:gd name="T49" fmla="*/ 251 h 755"/>
                <a:gd name="T50" fmla="*/ 174 w 655"/>
                <a:gd name="T51" fmla="*/ 310 h 755"/>
                <a:gd name="T52" fmla="*/ 164 w 655"/>
                <a:gd name="T53" fmla="*/ 377 h 755"/>
                <a:gd name="T54" fmla="*/ 169 w 655"/>
                <a:gd name="T55" fmla="*/ 423 h 755"/>
                <a:gd name="T56" fmla="*/ 188 w 655"/>
                <a:gd name="T57" fmla="*/ 485 h 755"/>
                <a:gd name="T58" fmla="*/ 224 w 655"/>
                <a:gd name="T59" fmla="*/ 535 h 755"/>
                <a:gd name="T60" fmla="*/ 273 w 655"/>
                <a:gd name="T61" fmla="*/ 572 h 755"/>
                <a:gd name="T62" fmla="*/ 332 w 655"/>
                <a:gd name="T63" fmla="*/ 594 h 755"/>
                <a:gd name="T64" fmla="*/ 376 w 655"/>
                <a:gd name="T65" fmla="*/ 598 h 755"/>
                <a:gd name="T66" fmla="*/ 417 w 655"/>
                <a:gd name="T67" fmla="*/ 595 h 755"/>
                <a:gd name="T68" fmla="*/ 453 w 655"/>
                <a:gd name="T69" fmla="*/ 585 h 755"/>
                <a:gd name="T70" fmla="*/ 514 w 655"/>
                <a:gd name="T71" fmla="*/ 551 h 755"/>
                <a:gd name="T72" fmla="*/ 655 w 655"/>
                <a:gd name="T73" fmla="*/ 633 h 755"/>
                <a:gd name="T74" fmla="*/ 629 w 655"/>
                <a:gd name="T75" fmla="*/ 660 h 755"/>
                <a:gd name="T76" fmla="*/ 584 w 655"/>
                <a:gd name="T77" fmla="*/ 694 h 755"/>
                <a:gd name="T78" fmla="*/ 534 w 655"/>
                <a:gd name="T79" fmla="*/ 721 h 755"/>
                <a:gd name="T80" fmla="*/ 480 w 655"/>
                <a:gd name="T81" fmla="*/ 741 h 755"/>
                <a:gd name="T82" fmla="*/ 419 w 655"/>
                <a:gd name="T83" fmla="*/ 752 h 755"/>
                <a:gd name="T84" fmla="*/ 376 w 655"/>
                <a:gd name="T85" fmla="*/ 755 h 755"/>
                <a:gd name="T86" fmla="*/ 318 w 655"/>
                <a:gd name="T87" fmla="*/ 750 h 755"/>
                <a:gd name="T88" fmla="*/ 262 w 655"/>
                <a:gd name="T89" fmla="*/ 738 h 755"/>
                <a:gd name="T90" fmla="*/ 209 w 655"/>
                <a:gd name="T91" fmla="*/ 718 h 755"/>
                <a:gd name="T92" fmla="*/ 162 w 655"/>
                <a:gd name="T93" fmla="*/ 691 h 755"/>
                <a:gd name="T94" fmla="*/ 120 w 655"/>
                <a:gd name="T95" fmla="*/ 659 h 755"/>
                <a:gd name="T96" fmla="*/ 83 w 655"/>
                <a:gd name="T97" fmla="*/ 620 h 755"/>
                <a:gd name="T98" fmla="*/ 52 w 655"/>
                <a:gd name="T99" fmla="*/ 576 h 755"/>
                <a:gd name="T100" fmla="*/ 28 w 655"/>
                <a:gd name="T101" fmla="*/ 527 h 755"/>
                <a:gd name="T102" fmla="*/ 11 w 655"/>
                <a:gd name="T103" fmla="*/ 473 h 755"/>
                <a:gd name="T104" fmla="*/ 1 w 655"/>
                <a:gd name="T105" fmla="*/ 41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5" h="755">
                  <a:moveTo>
                    <a:pt x="0" y="377"/>
                  </a:moveTo>
                  <a:lnTo>
                    <a:pt x="0" y="377"/>
                  </a:lnTo>
                  <a:lnTo>
                    <a:pt x="0" y="357"/>
                  </a:lnTo>
                  <a:lnTo>
                    <a:pt x="1" y="338"/>
                  </a:lnTo>
                  <a:lnTo>
                    <a:pt x="3" y="318"/>
                  </a:lnTo>
                  <a:lnTo>
                    <a:pt x="7" y="300"/>
                  </a:lnTo>
                  <a:lnTo>
                    <a:pt x="11" y="282"/>
                  </a:lnTo>
                  <a:lnTo>
                    <a:pt x="16" y="264"/>
                  </a:lnTo>
                  <a:lnTo>
                    <a:pt x="22" y="245"/>
                  </a:lnTo>
                  <a:lnTo>
                    <a:pt x="28" y="228"/>
                  </a:lnTo>
                  <a:lnTo>
                    <a:pt x="35" y="211"/>
                  </a:lnTo>
                  <a:lnTo>
                    <a:pt x="44" y="195"/>
                  </a:lnTo>
                  <a:lnTo>
                    <a:pt x="52" y="179"/>
                  </a:lnTo>
                  <a:lnTo>
                    <a:pt x="62" y="164"/>
                  </a:lnTo>
                  <a:lnTo>
                    <a:pt x="72" y="149"/>
                  </a:lnTo>
                  <a:lnTo>
                    <a:pt x="83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20" y="96"/>
                  </a:lnTo>
                  <a:lnTo>
                    <a:pt x="134" y="84"/>
                  </a:lnTo>
                  <a:lnTo>
                    <a:pt x="147" y="73"/>
                  </a:lnTo>
                  <a:lnTo>
                    <a:pt x="162" y="64"/>
                  </a:lnTo>
                  <a:lnTo>
                    <a:pt x="178" y="54"/>
                  </a:lnTo>
                  <a:lnTo>
                    <a:pt x="193" y="44"/>
                  </a:lnTo>
                  <a:lnTo>
                    <a:pt x="209" y="37"/>
                  </a:lnTo>
                  <a:lnTo>
                    <a:pt x="226" y="29"/>
                  </a:lnTo>
                  <a:lnTo>
                    <a:pt x="243" y="22"/>
                  </a:lnTo>
                  <a:lnTo>
                    <a:pt x="262" y="16"/>
                  </a:lnTo>
                  <a:lnTo>
                    <a:pt x="280" y="11"/>
                  </a:lnTo>
                  <a:lnTo>
                    <a:pt x="298" y="7"/>
                  </a:lnTo>
                  <a:lnTo>
                    <a:pt x="318" y="4"/>
                  </a:lnTo>
                  <a:lnTo>
                    <a:pt x="337" y="1"/>
                  </a:lnTo>
                  <a:lnTo>
                    <a:pt x="357" y="0"/>
                  </a:lnTo>
                  <a:lnTo>
                    <a:pt x="376" y="0"/>
                  </a:lnTo>
                  <a:lnTo>
                    <a:pt x="376" y="0"/>
                  </a:lnTo>
                  <a:lnTo>
                    <a:pt x="398" y="0"/>
                  </a:lnTo>
                  <a:lnTo>
                    <a:pt x="419" y="3"/>
                  </a:lnTo>
                  <a:lnTo>
                    <a:pt x="439" y="5"/>
                  </a:lnTo>
                  <a:lnTo>
                    <a:pt x="460" y="9"/>
                  </a:lnTo>
                  <a:lnTo>
                    <a:pt x="480" y="14"/>
                  </a:lnTo>
                  <a:lnTo>
                    <a:pt x="498" y="20"/>
                  </a:lnTo>
                  <a:lnTo>
                    <a:pt x="516" y="26"/>
                  </a:lnTo>
                  <a:lnTo>
                    <a:pt x="534" y="33"/>
                  </a:lnTo>
                  <a:lnTo>
                    <a:pt x="551" y="42"/>
                  </a:lnTo>
                  <a:lnTo>
                    <a:pt x="568" y="51"/>
                  </a:lnTo>
                  <a:lnTo>
                    <a:pt x="584" y="61"/>
                  </a:lnTo>
                  <a:lnTo>
                    <a:pt x="600" y="72"/>
                  </a:lnTo>
                  <a:lnTo>
                    <a:pt x="615" y="83"/>
                  </a:lnTo>
                  <a:lnTo>
                    <a:pt x="629" y="95"/>
                  </a:lnTo>
                  <a:lnTo>
                    <a:pt x="643" y="107"/>
                  </a:lnTo>
                  <a:lnTo>
                    <a:pt x="655" y="121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31" y="218"/>
                  </a:lnTo>
                  <a:lnTo>
                    <a:pt x="514" y="204"/>
                  </a:lnTo>
                  <a:lnTo>
                    <a:pt x="495" y="190"/>
                  </a:lnTo>
                  <a:lnTo>
                    <a:pt x="476" y="178"/>
                  </a:lnTo>
                  <a:lnTo>
                    <a:pt x="453" y="170"/>
                  </a:lnTo>
                  <a:lnTo>
                    <a:pt x="442" y="166"/>
                  </a:lnTo>
                  <a:lnTo>
                    <a:pt x="430" y="162"/>
                  </a:lnTo>
                  <a:lnTo>
                    <a:pt x="417" y="160"/>
                  </a:lnTo>
                  <a:lnTo>
                    <a:pt x="404" y="157"/>
                  </a:lnTo>
                  <a:lnTo>
                    <a:pt x="391" y="156"/>
                  </a:lnTo>
                  <a:lnTo>
                    <a:pt x="376" y="156"/>
                  </a:lnTo>
                  <a:lnTo>
                    <a:pt x="376" y="156"/>
                  </a:lnTo>
                  <a:lnTo>
                    <a:pt x="354" y="157"/>
                  </a:lnTo>
                  <a:lnTo>
                    <a:pt x="332" y="161"/>
                  </a:lnTo>
                  <a:lnTo>
                    <a:pt x="310" y="166"/>
                  </a:lnTo>
                  <a:lnTo>
                    <a:pt x="291" y="173"/>
                  </a:lnTo>
                  <a:lnTo>
                    <a:pt x="273" y="182"/>
                  </a:lnTo>
                  <a:lnTo>
                    <a:pt x="254" y="193"/>
                  </a:lnTo>
                  <a:lnTo>
                    <a:pt x="238" y="205"/>
                  </a:lnTo>
                  <a:lnTo>
                    <a:pt x="224" y="220"/>
                  </a:lnTo>
                  <a:lnTo>
                    <a:pt x="210" y="234"/>
                  </a:lnTo>
                  <a:lnTo>
                    <a:pt x="198" y="251"/>
                  </a:lnTo>
                  <a:lnTo>
                    <a:pt x="188" y="270"/>
                  </a:lnTo>
                  <a:lnTo>
                    <a:pt x="180" y="289"/>
                  </a:lnTo>
                  <a:lnTo>
                    <a:pt x="174" y="310"/>
                  </a:lnTo>
                  <a:lnTo>
                    <a:pt x="169" y="332"/>
                  </a:lnTo>
                  <a:lnTo>
                    <a:pt x="165" y="354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5" y="401"/>
                  </a:lnTo>
                  <a:lnTo>
                    <a:pt x="169" y="423"/>
                  </a:lnTo>
                  <a:lnTo>
                    <a:pt x="174" y="445"/>
                  </a:lnTo>
                  <a:lnTo>
                    <a:pt x="180" y="466"/>
                  </a:lnTo>
                  <a:lnTo>
                    <a:pt x="188" y="485"/>
                  </a:lnTo>
                  <a:lnTo>
                    <a:pt x="198" y="502"/>
                  </a:lnTo>
                  <a:lnTo>
                    <a:pt x="210" y="520"/>
                  </a:lnTo>
                  <a:lnTo>
                    <a:pt x="224" y="535"/>
                  </a:lnTo>
                  <a:lnTo>
                    <a:pt x="238" y="549"/>
                  </a:lnTo>
                  <a:lnTo>
                    <a:pt x="254" y="562"/>
                  </a:lnTo>
                  <a:lnTo>
                    <a:pt x="273" y="572"/>
                  </a:lnTo>
                  <a:lnTo>
                    <a:pt x="291" y="582"/>
                  </a:lnTo>
                  <a:lnTo>
                    <a:pt x="310" y="589"/>
                  </a:lnTo>
                  <a:lnTo>
                    <a:pt x="332" y="594"/>
                  </a:lnTo>
                  <a:lnTo>
                    <a:pt x="354" y="598"/>
                  </a:lnTo>
                  <a:lnTo>
                    <a:pt x="376" y="598"/>
                  </a:lnTo>
                  <a:lnTo>
                    <a:pt x="376" y="598"/>
                  </a:lnTo>
                  <a:lnTo>
                    <a:pt x="391" y="598"/>
                  </a:lnTo>
                  <a:lnTo>
                    <a:pt x="404" y="596"/>
                  </a:lnTo>
                  <a:lnTo>
                    <a:pt x="417" y="595"/>
                  </a:lnTo>
                  <a:lnTo>
                    <a:pt x="430" y="593"/>
                  </a:lnTo>
                  <a:lnTo>
                    <a:pt x="442" y="589"/>
                  </a:lnTo>
                  <a:lnTo>
                    <a:pt x="453" y="585"/>
                  </a:lnTo>
                  <a:lnTo>
                    <a:pt x="476" y="576"/>
                  </a:lnTo>
                  <a:lnTo>
                    <a:pt x="495" y="565"/>
                  </a:lnTo>
                  <a:lnTo>
                    <a:pt x="514" y="551"/>
                  </a:lnTo>
                  <a:lnTo>
                    <a:pt x="531" y="537"/>
                  </a:lnTo>
                  <a:lnTo>
                    <a:pt x="545" y="521"/>
                  </a:lnTo>
                  <a:lnTo>
                    <a:pt x="655" y="633"/>
                  </a:lnTo>
                  <a:lnTo>
                    <a:pt x="655" y="633"/>
                  </a:lnTo>
                  <a:lnTo>
                    <a:pt x="643" y="646"/>
                  </a:lnTo>
                  <a:lnTo>
                    <a:pt x="629" y="660"/>
                  </a:lnTo>
                  <a:lnTo>
                    <a:pt x="615" y="672"/>
                  </a:lnTo>
                  <a:lnTo>
                    <a:pt x="600" y="683"/>
                  </a:lnTo>
                  <a:lnTo>
                    <a:pt x="584" y="694"/>
                  </a:lnTo>
                  <a:lnTo>
                    <a:pt x="568" y="704"/>
                  </a:lnTo>
                  <a:lnTo>
                    <a:pt x="551" y="713"/>
                  </a:lnTo>
                  <a:lnTo>
                    <a:pt x="534" y="721"/>
                  </a:lnTo>
                  <a:lnTo>
                    <a:pt x="516" y="729"/>
                  </a:lnTo>
                  <a:lnTo>
                    <a:pt x="498" y="735"/>
                  </a:lnTo>
                  <a:lnTo>
                    <a:pt x="480" y="741"/>
                  </a:lnTo>
                  <a:lnTo>
                    <a:pt x="460" y="746"/>
                  </a:lnTo>
                  <a:lnTo>
                    <a:pt x="439" y="750"/>
                  </a:lnTo>
                  <a:lnTo>
                    <a:pt x="419" y="752"/>
                  </a:lnTo>
                  <a:lnTo>
                    <a:pt x="398" y="754"/>
                  </a:lnTo>
                  <a:lnTo>
                    <a:pt x="376" y="755"/>
                  </a:lnTo>
                  <a:lnTo>
                    <a:pt x="376" y="755"/>
                  </a:lnTo>
                  <a:lnTo>
                    <a:pt x="357" y="754"/>
                  </a:lnTo>
                  <a:lnTo>
                    <a:pt x="337" y="752"/>
                  </a:lnTo>
                  <a:lnTo>
                    <a:pt x="318" y="750"/>
                  </a:lnTo>
                  <a:lnTo>
                    <a:pt x="298" y="748"/>
                  </a:lnTo>
                  <a:lnTo>
                    <a:pt x="280" y="743"/>
                  </a:lnTo>
                  <a:lnTo>
                    <a:pt x="262" y="738"/>
                  </a:lnTo>
                  <a:lnTo>
                    <a:pt x="243" y="732"/>
                  </a:lnTo>
                  <a:lnTo>
                    <a:pt x="226" y="726"/>
                  </a:lnTo>
                  <a:lnTo>
                    <a:pt x="209" y="718"/>
                  </a:lnTo>
                  <a:lnTo>
                    <a:pt x="193" y="710"/>
                  </a:lnTo>
                  <a:lnTo>
                    <a:pt x="178" y="701"/>
                  </a:lnTo>
                  <a:lnTo>
                    <a:pt x="162" y="691"/>
                  </a:lnTo>
                  <a:lnTo>
                    <a:pt x="147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3" y="620"/>
                  </a:lnTo>
                  <a:lnTo>
                    <a:pt x="72" y="605"/>
                  </a:lnTo>
                  <a:lnTo>
                    <a:pt x="62" y="590"/>
                  </a:lnTo>
                  <a:lnTo>
                    <a:pt x="52" y="576"/>
                  </a:lnTo>
                  <a:lnTo>
                    <a:pt x="44" y="560"/>
                  </a:lnTo>
                  <a:lnTo>
                    <a:pt x="35" y="543"/>
                  </a:lnTo>
                  <a:lnTo>
                    <a:pt x="28" y="527"/>
                  </a:lnTo>
                  <a:lnTo>
                    <a:pt x="22" y="509"/>
                  </a:lnTo>
                  <a:lnTo>
                    <a:pt x="16" y="492"/>
                  </a:lnTo>
                  <a:lnTo>
                    <a:pt x="11" y="473"/>
                  </a:lnTo>
                  <a:lnTo>
                    <a:pt x="7" y="455"/>
                  </a:lnTo>
                  <a:lnTo>
                    <a:pt x="3" y="435"/>
                  </a:lnTo>
                  <a:lnTo>
                    <a:pt x="1" y="417"/>
                  </a:lnTo>
                  <a:lnTo>
                    <a:pt x="0" y="398"/>
                  </a:lnTo>
                  <a:lnTo>
                    <a:pt x="0" y="37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2"/>
            <p:cNvSpPr>
              <a:spLocks/>
            </p:cNvSpPr>
            <p:nvPr userDrawn="1"/>
          </p:nvSpPr>
          <p:spPr bwMode="auto">
            <a:xfrm>
              <a:off x="1908" y="2055"/>
              <a:ext cx="218" cy="251"/>
            </a:xfrm>
            <a:custGeom>
              <a:avLst/>
              <a:gdLst>
                <a:gd name="T0" fmla="*/ 0 w 655"/>
                <a:gd name="T1" fmla="*/ 357 h 755"/>
                <a:gd name="T2" fmla="*/ 7 w 655"/>
                <a:gd name="T3" fmla="*/ 300 h 755"/>
                <a:gd name="T4" fmla="*/ 22 w 655"/>
                <a:gd name="T5" fmla="*/ 245 h 755"/>
                <a:gd name="T6" fmla="*/ 44 w 655"/>
                <a:gd name="T7" fmla="*/ 195 h 755"/>
                <a:gd name="T8" fmla="*/ 72 w 655"/>
                <a:gd name="T9" fmla="*/ 149 h 755"/>
                <a:gd name="T10" fmla="*/ 107 w 655"/>
                <a:gd name="T11" fmla="*/ 109 h 755"/>
                <a:gd name="T12" fmla="*/ 147 w 655"/>
                <a:gd name="T13" fmla="*/ 73 h 755"/>
                <a:gd name="T14" fmla="*/ 193 w 655"/>
                <a:gd name="T15" fmla="*/ 44 h 755"/>
                <a:gd name="T16" fmla="*/ 243 w 655"/>
                <a:gd name="T17" fmla="*/ 22 h 755"/>
                <a:gd name="T18" fmla="*/ 298 w 655"/>
                <a:gd name="T19" fmla="*/ 7 h 755"/>
                <a:gd name="T20" fmla="*/ 357 w 655"/>
                <a:gd name="T21" fmla="*/ 0 h 755"/>
                <a:gd name="T22" fmla="*/ 398 w 655"/>
                <a:gd name="T23" fmla="*/ 0 h 755"/>
                <a:gd name="T24" fmla="*/ 460 w 655"/>
                <a:gd name="T25" fmla="*/ 9 h 755"/>
                <a:gd name="T26" fmla="*/ 516 w 655"/>
                <a:gd name="T27" fmla="*/ 26 h 755"/>
                <a:gd name="T28" fmla="*/ 568 w 655"/>
                <a:gd name="T29" fmla="*/ 51 h 755"/>
                <a:gd name="T30" fmla="*/ 615 w 655"/>
                <a:gd name="T31" fmla="*/ 83 h 755"/>
                <a:gd name="T32" fmla="*/ 655 w 655"/>
                <a:gd name="T33" fmla="*/ 121 h 755"/>
                <a:gd name="T34" fmla="*/ 531 w 655"/>
                <a:gd name="T35" fmla="*/ 218 h 755"/>
                <a:gd name="T36" fmla="*/ 476 w 655"/>
                <a:gd name="T37" fmla="*/ 178 h 755"/>
                <a:gd name="T38" fmla="*/ 430 w 655"/>
                <a:gd name="T39" fmla="*/ 162 h 755"/>
                <a:gd name="T40" fmla="*/ 391 w 655"/>
                <a:gd name="T41" fmla="*/ 156 h 755"/>
                <a:gd name="T42" fmla="*/ 354 w 655"/>
                <a:gd name="T43" fmla="*/ 157 h 755"/>
                <a:gd name="T44" fmla="*/ 291 w 655"/>
                <a:gd name="T45" fmla="*/ 173 h 755"/>
                <a:gd name="T46" fmla="*/ 238 w 655"/>
                <a:gd name="T47" fmla="*/ 205 h 755"/>
                <a:gd name="T48" fmla="*/ 198 w 655"/>
                <a:gd name="T49" fmla="*/ 251 h 755"/>
                <a:gd name="T50" fmla="*/ 174 w 655"/>
                <a:gd name="T51" fmla="*/ 310 h 755"/>
                <a:gd name="T52" fmla="*/ 164 w 655"/>
                <a:gd name="T53" fmla="*/ 377 h 755"/>
                <a:gd name="T54" fmla="*/ 169 w 655"/>
                <a:gd name="T55" fmla="*/ 423 h 755"/>
                <a:gd name="T56" fmla="*/ 188 w 655"/>
                <a:gd name="T57" fmla="*/ 485 h 755"/>
                <a:gd name="T58" fmla="*/ 224 w 655"/>
                <a:gd name="T59" fmla="*/ 535 h 755"/>
                <a:gd name="T60" fmla="*/ 273 w 655"/>
                <a:gd name="T61" fmla="*/ 572 h 755"/>
                <a:gd name="T62" fmla="*/ 332 w 655"/>
                <a:gd name="T63" fmla="*/ 594 h 755"/>
                <a:gd name="T64" fmla="*/ 376 w 655"/>
                <a:gd name="T65" fmla="*/ 598 h 755"/>
                <a:gd name="T66" fmla="*/ 417 w 655"/>
                <a:gd name="T67" fmla="*/ 595 h 755"/>
                <a:gd name="T68" fmla="*/ 453 w 655"/>
                <a:gd name="T69" fmla="*/ 585 h 755"/>
                <a:gd name="T70" fmla="*/ 514 w 655"/>
                <a:gd name="T71" fmla="*/ 551 h 755"/>
                <a:gd name="T72" fmla="*/ 655 w 655"/>
                <a:gd name="T73" fmla="*/ 633 h 755"/>
                <a:gd name="T74" fmla="*/ 629 w 655"/>
                <a:gd name="T75" fmla="*/ 660 h 755"/>
                <a:gd name="T76" fmla="*/ 584 w 655"/>
                <a:gd name="T77" fmla="*/ 694 h 755"/>
                <a:gd name="T78" fmla="*/ 534 w 655"/>
                <a:gd name="T79" fmla="*/ 721 h 755"/>
                <a:gd name="T80" fmla="*/ 480 w 655"/>
                <a:gd name="T81" fmla="*/ 741 h 755"/>
                <a:gd name="T82" fmla="*/ 419 w 655"/>
                <a:gd name="T83" fmla="*/ 752 h 755"/>
                <a:gd name="T84" fmla="*/ 376 w 655"/>
                <a:gd name="T85" fmla="*/ 755 h 755"/>
                <a:gd name="T86" fmla="*/ 318 w 655"/>
                <a:gd name="T87" fmla="*/ 750 h 755"/>
                <a:gd name="T88" fmla="*/ 262 w 655"/>
                <a:gd name="T89" fmla="*/ 738 h 755"/>
                <a:gd name="T90" fmla="*/ 209 w 655"/>
                <a:gd name="T91" fmla="*/ 718 h 755"/>
                <a:gd name="T92" fmla="*/ 162 w 655"/>
                <a:gd name="T93" fmla="*/ 691 h 755"/>
                <a:gd name="T94" fmla="*/ 120 w 655"/>
                <a:gd name="T95" fmla="*/ 659 h 755"/>
                <a:gd name="T96" fmla="*/ 83 w 655"/>
                <a:gd name="T97" fmla="*/ 620 h 755"/>
                <a:gd name="T98" fmla="*/ 52 w 655"/>
                <a:gd name="T99" fmla="*/ 576 h 755"/>
                <a:gd name="T100" fmla="*/ 28 w 655"/>
                <a:gd name="T101" fmla="*/ 527 h 755"/>
                <a:gd name="T102" fmla="*/ 11 w 655"/>
                <a:gd name="T103" fmla="*/ 473 h 755"/>
                <a:gd name="T104" fmla="*/ 1 w 655"/>
                <a:gd name="T105" fmla="*/ 41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5" h="755">
                  <a:moveTo>
                    <a:pt x="0" y="377"/>
                  </a:moveTo>
                  <a:lnTo>
                    <a:pt x="0" y="377"/>
                  </a:lnTo>
                  <a:lnTo>
                    <a:pt x="0" y="357"/>
                  </a:lnTo>
                  <a:lnTo>
                    <a:pt x="1" y="338"/>
                  </a:lnTo>
                  <a:lnTo>
                    <a:pt x="3" y="318"/>
                  </a:lnTo>
                  <a:lnTo>
                    <a:pt x="7" y="300"/>
                  </a:lnTo>
                  <a:lnTo>
                    <a:pt x="11" y="282"/>
                  </a:lnTo>
                  <a:lnTo>
                    <a:pt x="16" y="264"/>
                  </a:lnTo>
                  <a:lnTo>
                    <a:pt x="22" y="245"/>
                  </a:lnTo>
                  <a:lnTo>
                    <a:pt x="28" y="228"/>
                  </a:lnTo>
                  <a:lnTo>
                    <a:pt x="35" y="211"/>
                  </a:lnTo>
                  <a:lnTo>
                    <a:pt x="44" y="195"/>
                  </a:lnTo>
                  <a:lnTo>
                    <a:pt x="52" y="179"/>
                  </a:lnTo>
                  <a:lnTo>
                    <a:pt x="62" y="164"/>
                  </a:lnTo>
                  <a:lnTo>
                    <a:pt x="72" y="149"/>
                  </a:lnTo>
                  <a:lnTo>
                    <a:pt x="83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20" y="96"/>
                  </a:lnTo>
                  <a:lnTo>
                    <a:pt x="134" y="84"/>
                  </a:lnTo>
                  <a:lnTo>
                    <a:pt x="147" y="73"/>
                  </a:lnTo>
                  <a:lnTo>
                    <a:pt x="162" y="64"/>
                  </a:lnTo>
                  <a:lnTo>
                    <a:pt x="178" y="54"/>
                  </a:lnTo>
                  <a:lnTo>
                    <a:pt x="193" y="44"/>
                  </a:lnTo>
                  <a:lnTo>
                    <a:pt x="209" y="37"/>
                  </a:lnTo>
                  <a:lnTo>
                    <a:pt x="226" y="29"/>
                  </a:lnTo>
                  <a:lnTo>
                    <a:pt x="243" y="22"/>
                  </a:lnTo>
                  <a:lnTo>
                    <a:pt x="262" y="16"/>
                  </a:lnTo>
                  <a:lnTo>
                    <a:pt x="280" y="11"/>
                  </a:lnTo>
                  <a:lnTo>
                    <a:pt x="298" y="7"/>
                  </a:lnTo>
                  <a:lnTo>
                    <a:pt x="318" y="4"/>
                  </a:lnTo>
                  <a:lnTo>
                    <a:pt x="337" y="1"/>
                  </a:lnTo>
                  <a:lnTo>
                    <a:pt x="357" y="0"/>
                  </a:lnTo>
                  <a:lnTo>
                    <a:pt x="376" y="0"/>
                  </a:lnTo>
                  <a:lnTo>
                    <a:pt x="376" y="0"/>
                  </a:lnTo>
                  <a:lnTo>
                    <a:pt x="398" y="0"/>
                  </a:lnTo>
                  <a:lnTo>
                    <a:pt x="419" y="3"/>
                  </a:lnTo>
                  <a:lnTo>
                    <a:pt x="439" y="5"/>
                  </a:lnTo>
                  <a:lnTo>
                    <a:pt x="460" y="9"/>
                  </a:lnTo>
                  <a:lnTo>
                    <a:pt x="480" y="14"/>
                  </a:lnTo>
                  <a:lnTo>
                    <a:pt x="498" y="20"/>
                  </a:lnTo>
                  <a:lnTo>
                    <a:pt x="516" y="26"/>
                  </a:lnTo>
                  <a:lnTo>
                    <a:pt x="534" y="33"/>
                  </a:lnTo>
                  <a:lnTo>
                    <a:pt x="551" y="42"/>
                  </a:lnTo>
                  <a:lnTo>
                    <a:pt x="568" y="51"/>
                  </a:lnTo>
                  <a:lnTo>
                    <a:pt x="584" y="61"/>
                  </a:lnTo>
                  <a:lnTo>
                    <a:pt x="600" y="72"/>
                  </a:lnTo>
                  <a:lnTo>
                    <a:pt x="615" y="83"/>
                  </a:lnTo>
                  <a:lnTo>
                    <a:pt x="629" y="95"/>
                  </a:lnTo>
                  <a:lnTo>
                    <a:pt x="643" y="107"/>
                  </a:lnTo>
                  <a:lnTo>
                    <a:pt x="655" y="121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31" y="218"/>
                  </a:lnTo>
                  <a:lnTo>
                    <a:pt x="514" y="204"/>
                  </a:lnTo>
                  <a:lnTo>
                    <a:pt x="495" y="190"/>
                  </a:lnTo>
                  <a:lnTo>
                    <a:pt x="476" y="178"/>
                  </a:lnTo>
                  <a:lnTo>
                    <a:pt x="453" y="170"/>
                  </a:lnTo>
                  <a:lnTo>
                    <a:pt x="442" y="166"/>
                  </a:lnTo>
                  <a:lnTo>
                    <a:pt x="430" y="162"/>
                  </a:lnTo>
                  <a:lnTo>
                    <a:pt x="417" y="160"/>
                  </a:lnTo>
                  <a:lnTo>
                    <a:pt x="404" y="157"/>
                  </a:lnTo>
                  <a:lnTo>
                    <a:pt x="391" y="156"/>
                  </a:lnTo>
                  <a:lnTo>
                    <a:pt x="376" y="156"/>
                  </a:lnTo>
                  <a:lnTo>
                    <a:pt x="376" y="156"/>
                  </a:lnTo>
                  <a:lnTo>
                    <a:pt x="354" y="157"/>
                  </a:lnTo>
                  <a:lnTo>
                    <a:pt x="332" y="161"/>
                  </a:lnTo>
                  <a:lnTo>
                    <a:pt x="310" y="166"/>
                  </a:lnTo>
                  <a:lnTo>
                    <a:pt x="291" y="173"/>
                  </a:lnTo>
                  <a:lnTo>
                    <a:pt x="273" y="182"/>
                  </a:lnTo>
                  <a:lnTo>
                    <a:pt x="254" y="193"/>
                  </a:lnTo>
                  <a:lnTo>
                    <a:pt x="238" y="205"/>
                  </a:lnTo>
                  <a:lnTo>
                    <a:pt x="224" y="220"/>
                  </a:lnTo>
                  <a:lnTo>
                    <a:pt x="210" y="234"/>
                  </a:lnTo>
                  <a:lnTo>
                    <a:pt x="198" y="251"/>
                  </a:lnTo>
                  <a:lnTo>
                    <a:pt x="188" y="270"/>
                  </a:lnTo>
                  <a:lnTo>
                    <a:pt x="180" y="289"/>
                  </a:lnTo>
                  <a:lnTo>
                    <a:pt x="174" y="310"/>
                  </a:lnTo>
                  <a:lnTo>
                    <a:pt x="169" y="332"/>
                  </a:lnTo>
                  <a:lnTo>
                    <a:pt x="165" y="354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5" y="401"/>
                  </a:lnTo>
                  <a:lnTo>
                    <a:pt x="169" y="423"/>
                  </a:lnTo>
                  <a:lnTo>
                    <a:pt x="174" y="445"/>
                  </a:lnTo>
                  <a:lnTo>
                    <a:pt x="180" y="466"/>
                  </a:lnTo>
                  <a:lnTo>
                    <a:pt x="188" y="485"/>
                  </a:lnTo>
                  <a:lnTo>
                    <a:pt x="198" y="502"/>
                  </a:lnTo>
                  <a:lnTo>
                    <a:pt x="210" y="520"/>
                  </a:lnTo>
                  <a:lnTo>
                    <a:pt x="224" y="535"/>
                  </a:lnTo>
                  <a:lnTo>
                    <a:pt x="238" y="549"/>
                  </a:lnTo>
                  <a:lnTo>
                    <a:pt x="254" y="562"/>
                  </a:lnTo>
                  <a:lnTo>
                    <a:pt x="273" y="572"/>
                  </a:lnTo>
                  <a:lnTo>
                    <a:pt x="291" y="582"/>
                  </a:lnTo>
                  <a:lnTo>
                    <a:pt x="310" y="589"/>
                  </a:lnTo>
                  <a:lnTo>
                    <a:pt x="332" y="594"/>
                  </a:lnTo>
                  <a:lnTo>
                    <a:pt x="354" y="598"/>
                  </a:lnTo>
                  <a:lnTo>
                    <a:pt x="376" y="598"/>
                  </a:lnTo>
                  <a:lnTo>
                    <a:pt x="376" y="598"/>
                  </a:lnTo>
                  <a:lnTo>
                    <a:pt x="391" y="598"/>
                  </a:lnTo>
                  <a:lnTo>
                    <a:pt x="404" y="596"/>
                  </a:lnTo>
                  <a:lnTo>
                    <a:pt x="417" y="595"/>
                  </a:lnTo>
                  <a:lnTo>
                    <a:pt x="430" y="593"/>
                  </a:lnTo>
                  <a:lnTo>
                    <a:pt x="442" y="589"/>
                  </a:lnTo>
                  <a:lnTo>
                    <a:pt x="453" y="585"/>
                  </a:lnTo>
                  <a:lnTo>
                    <a:pt x="476" y="576"/>
                  </a:lnTo>
                  <a:lnTo>
                    <a:pt x="495" y="565"/>
                  </a:lnTo>
                  <a:lnTo>
                    <a:pt x="514" y="551"/>
                  </a:lnTo>
                  <a:lnTo>
                    <a:pt x="531" y="537"/>
                  </a:lnTo>
                  <a:lnTo>
                    <a:pt x="545" y="521"/>
                  </a:lnTo>
                  <a:lnTo>
                    <a:pt x="655" y="633"/>
                  </a:lnTo>
                  <a:lnTo>
                    <a:pt x="655" y="633"/>
                  </a:lnTo>
                  <a:lnTo>
                    <a:pt x="643" y="646"/>
                  </a:lnTo>
                  <a:lnTo>
                    <a:pt x="629" y="660"/>
                  </a:lnTo>
                  <a:lnTo>
                    <a:pt x="615" y="672"/>
                  </a:lnTo>
                  <a:lnTo>
                    <a:pt x="600" y="683"/>
                  </a:lnTo>
                  <a:lnTo>
                    <a:pt x="584" y="694"/>
                  </a:lnTo>
                  <a:lnTo>
                    <a:pt x="568" y="704"/>
                  </a:lnTo>
                  <a:lnTo>
                    <a:pt x="551" y="713"/>
                  </a:lnTo>
                  <a:lnTo>
                    <a:pt x="534" y="721"/>
                  </a:lnTo>
                  <a:lnTo>
                    <a:pt x="516" y="729"/>
                  </a:lnTo>
                  <a:lnTo>
                    <a:pt x="498" y="735"/>
                  </a:lnTo>
                  <a:lnTo>
                    <a:pt x="480" y="741"/>
                  </a:lnTo>
                  <a:lnTo>
                    <a:pt x="460" y="746"/>
                  </a:lnTo>
                  <a:lnTo>
                    <a:pt x="439" y="750"/>
                  </a:lnTo>
                  <a:lnTo>
                    <a:pt x="419" y="752"/>
                  </a:lnTo>
                  <a:lnTo>
                    <a:pt x="398" y="754"/>
                  </a:lnTo>
                  <a:lnTo>
                    <a:pt x="376" y="755"/>
                  </a:lnTo>
                  <a:lnTo>
                    <a:pt x="376" y="755"/>
                  </a:lnTo>
                  <a:lnTo>
                    <a:pt x="357" y="754"/>
                  </a:lnTo>
                  <a:lnTo>
                    <a:pt x="337" y="752"/>
                  </a:lnTo>
                  <a:lnTo>
                    <a:pt x="318" y="750"/>
                  </a:lnTo>
                  <a:lnTo>
                    <a:pt x="298" y="748"/>
                  </a:lnTo>
                  <a:lnTo>
                    <a:pt x="280" y="743"/>
                  </a:lnTo>
                  <a:lnTo>
                    <a:pt x="262" y="738"/>
                  </a:lnTo>
                  <a:lnTo>
                    <a:pt x="243" y="732"/>
                  </a:lnTo>
                  <a:lnTo>
                    <a:pt x="226" y="726"/>
                  </a:lnTo>
                  <a:lnTo>
                    <a:pt x="209" y="718"/>
                  </a:lnTo>
                  <a:lnTo>
                    <a:pt x="193" y="710"/>
                  </a:lnTo>
                  <a:lnTo>
                    <a:pt x="178" y="701"/>
                  </a:lnTo>
                  <a:lnTo>
                    <a:pt x="162" y="691"/>
                  </a:lnTo>
                  <a:lnTo>
                    <a:pt x="147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3" y="620"/>
                  </a:lnTo>
                  <a:lnTo>
                    <a:pt x="72" y="605"/>
                  </a:lnTo>
                  <a:lnTo>
                    <a:pt x="62" y="590"/>
                  </a:lnTo>
                  <a:lnTo>
                    <a:pt x="52" y="576"/>
                  </a:lnTo>
                  <a:lnTo>
                    <a:pt x="44" y="560"/>
                  </a:lnTo>
                  <a:lnTo>
                    <a:pt x="35" y="543"/>
                  </a:lnTo>
                  <a:lnTo>
                    <a:pt x="28" y="527"/>
                  </a:lnTo>
                  <a:lnTo>
                    <a:pt x="22" y="509"/>
                  </a:lnTo>
                  <a:lnTo>
                    <a:pt x="16" y="492"/>
                  </a:lnTo>
                  <a:lnTo>
                    <a:pt x="11" y="473"/>
                  </a:lnTo>
                  <a:lnTo>
                    <a:pt x="7" y="455"/>
                  </a:lnTo>
                  <a:lnTo>
                    <a:pt x="3" y="435"/>
                  </a:lnTo>
                  <a:lnTo>
                    <a:pt x="1" y="417"/>
                  </a:lnTo>
                  <a:lnTo>
                    <a:pt x="0" y="398"/>
                  </a:lnTo>
                  <a:lnTo>
                    <a:pt x="0" y="3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2130" y="2055"/>
              <a:ext cx="241" cy="251"/>
            </a:xfrm>
            <a:custGeom>
              <a:avLst/>
              <a:gdLst>
                <a:gd name="T0" fmla="*/ 545 w 723"/>
                <a:gd name="T1" fmla="*/ 296 h 755"/>
                <a:gd name="T2" fmla="*/ 531 w 723"/>
                <a:gd name="T3" fmla="*/ 246 h 755"/>
                <a:gd name="T4" fmla="*/ 505 w 723"/>
                <a:gd name="T5" fmla="*/ 206 h 755"/>
                <a:gd name="T6" fmla="*/ 471 w 723"/>
                <a:gd name="T7" fmla="*/ 176 h 755"/>
                <a:gd name="T8" fmla="*/ 428 w 723"/>
                <a:gd name="T9" fmla="*/ 157 h 755"/>
                <a:gd name="T10" fmla="*/ 380 w 723"/>
                <a:gd name="T11" fmla="*/ 148 h 755"/>
                <a:gd name="T12" fmla="*/ 346 w 723"/>
                <a:gd name="T13" fmla="*/ 149 h 755"/>
                <a:gd name="T14" fmla="*/ 299 w 723"/>
                <a:gd name="T15" fmla="*/ 157 h 755"/>
                <a:gd name="T16" fmla="*/ 257 w 723"/>
                <a:gd name="T17" fmla="*/ 178 h 755"/>
                <a:gd name="T18" fmla="*/ 220 w 723"/>
                <a:gd name="T19" fmla="*/ 209 h 755"/>
                <a:gd name="T20" fmla="*/ 191 w 723"/>
                <a:gd name="T21" fmla="*/ 249 h 755"/>
                <a:gd name="T22" fmla="*/ 170 w 723"/>
                <a:gd name="T23" fmla="*/ 296 h 755"/>
                <a:gd name="T24" fmla="*/ 0 w 723"/>
                <a:gd name="T25" fmla="*/ 357 h 755"/>
                <a:gd name="T26" fmla="*/ 7 w 723"/>
                <a:gd name="T27" fmla="*/ 300 h 755"/>
                <a:gd name="T28" fmla="*/ 22 w 723"/>
                <a:gd name="T29" fmla="*/ 245 h 755"/>
                <a:gd name="T30" fmla="*/ 44 w 723"/>
                <a:gd name="T31" fmla="*/ 195 h 755"/>
                <a:gd name="T32" fmla="*/ 72 w 723"/>
                <a:gd name="T33" fmla="*/ 149 h 755"/>
                <a:gd name="T34" fmla="*/ 107 w 723"/>
                <a:gd name="T35" fmla="*/ 109 h 755"/>
                <a:gd name="T36" fmla="*/ 147 w 723"/>
                <a:gd name="T37" fmla="*/ 73 h 755"/>
                <a:gd name="T38" fmla="*/ 192 w 723"/>
                <a:gd name="T39" fmla="*/ 44 h 755"/>
                <a:gd name="T40" fmla="*/ 242 w 723"/>
                <a:gd name="T41" fmla="*/ 22 h 755"/>
                <a:gd name="T42" fmla="*/ 296 w 723"/>
                <a:gd name="T43" fmla="*/ 7 h 755"/>
                <a:gd name="T44" fmla="*/ 354 w 723"/>
                <a:gd name="T45" fmla="*/ 0 h 755"/>
                <a:gd name="T46" fmla="*/ 392 w 723"/>
                <a:gd name="T47" fmla="*/ 0 h 755"/>
                <a:gd name="T48" fmla="*/ 447 w 723"/>
                <a:gd name="T49" fmla="*/ 6 h 755"/>
                <a:gd name="T50" fmla="*/ 497 w 723"/>
                <a:gd name="T51" fmla="*/ 20 h 755"/>
                <a:gd name="T52" fmla="*/ 543 w 723"/>
                <a:gd name="T53" fmla="*/ 40 h 755"/>
                <a:gd name="T54" fmla="*/ 584 w 723"/>
                <a:gd name="T55" fmla="*/ 67 h 755"/>
                <a:gd name="T56" fmla="*/ 621 w 723"/>
                <a:gd name="T57" fmla="*/ 101 h 755"/>
                <a:gd name="T58" fmla="*/ 653 w 723"/>
                <a:gd name="T59" fmla="*/ 140 h 755"/>
                <a:gd name="T60" fmla="*/ 678 w 723"/>
                <a:gd name="T61" fmla="*/ 185 h 755"/>
                <a:gd name="T62" fmla="*/ 699 w 723"/>
                <a:gd name="T63" fmla="*/ 237 h 755"/>
                <a:gd name="T64" fmla="*/ 713 w 723"/>
                <a:gd name="T65" fmla="*/ 294 h 755"/>
                <a:gd name="T66" fmla="*/ 722 w 723"/>
                <a:gd name="T67" fmla="*/ 356 h 755"/>
                <a:gd name="T68" fmla="*/ 167 w 723"/>
                <a:gd name="T69" fmla="*/ 421 h 755"/>
                <a:gd name="T70" fmla="*/ 175 w 723"/>
                <a:gd name="T71" fmla="*/ 459 h 755"/>
                <a:gd name="T72" fmla="*/ 200 w 723"/>
                <a:gd name="T73" fmla="*/ 507 h 755"/>
                <a:gd name="T74" fmla="*/ 236 w 723"/>
                <a:gd name="T75" fmla="*/ 548 h 755"/>
                <a:gd name="T76" fmla="*/ 282 w 723"/>
                <a:gd name="T77" fmla="*/ 576 h 755"/>
                <a:gd name="T78" fmla="*/ 337 w 723"/>
                <a:gd name="T79" fmla="*/ 592 h 755"/>
                <a:gd name="T80" fmla="*/ 376 w 723"/>
                <a:gd name="T81" fmla="*/ 595 h 755"/>
                <a:gd name="T82" fmla="*/ 424 w 723"/>
                <a:gd name="T83" fmla="*/ 592 h 755"/>
                <a:gd name="T84" fmla="*/ 465 w 723"/>
                <a:gd name="T85" fmla="*/ 581 h 755"/>
                <a:gd name="T86" fmla="*/ 513 w 723"/>
                <a:gd name="T87" fmla="*/ 557 h 755"/>
                <a:gd name="T88" fmla="*/ 566 w 723"/>
                <a:gd name="T89" fmla="*/ 512 h 755"/>
                <a:gd name="T90" fmla="*/ 662 w 723"/>
                <a:gd name="T91" fmla="*/ 640 h 755"/>
                <a:gd name="T92" fmla="*/ 620 w 723"/>
                <a:gd name="T93" fmla="*/ 678 h 755"/>
                <a:gd name="T94" fmla="*/ 569 w 723"/>
                <a:gd name="T95" fmla="*/ 710 h 755"/>
                <a:gd name="T96" fmla="*/ 511 w 723"/>
                <a:gd name="T97" fmla="*/ 734 h 755"/>
                <a:gd name="T98" fmla="*/ 447 w 723"/>
                <a:gd name="T99" fmla="*/ 749 h 755"/>
                <a:gd name="T100" fmla="*/ 376 w 723"/>
                <a:gd name="T101" fmla="*/ 755 h 755"/>
                <a:gd name="T102" fmla="*/ 337 w 723"/>
                <a:gd name="T103" fmla="*/ 752 h 755"/>
                <a:gd name="T104" fmla="*/ 280 w 723"/>
                <a:gd name="T105" fmla="*/ 743 h 755"/>
                <a:gd name="T106" fmla="*/ 226 w 723"/>
                <a:gd name="T107" fmla="*/ 726 h 755"/>
                <a:gd name="T108" fmla="*/ 178 w 723"/>
                <a:gd name="T109" fmla="*/ 701 h 755"/>
                <a:gd name="T110" fmla="*/ 134 w 723"/>
                <a:gd name="T111" fmla="*/ 670 h 755"/>
                <a:gd name="T112" fmla="*/ 95 w 723"/>
                <a:gd name="T113" fmla="*/ 633 h 755"/>
                <a:gd name="T114" fmla="*/ 62 w 723"/>
                <a:gd name="T115" fmla="*/ 590 h 755"/>
                <a:gd name="T116" fmla="*/ 35 w 723"/>
                <a:gd name="T117" fmla="*/ 543 h 755"/>
                <a:gd name="T118" fmla="*/ 16 w 723"/>
                <a:gd name="T119" fmla="*/ 492 h 755"/>
                <a:gd name="T120" fmla="*/ 4 w 723"/>
                <a:gd name="T121" fmla="*/ 435 h 755"/>
                <a:gd name="T122" fmla="*/ 0 w 723"/>
                <a:gd name="T123" fmla="*/ 37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3" h="755">
                  <a:moveTo>
                    <a:pt x="170" y="296"/>
                  </a:moveTo>
                  <a:lnTo>
                    <a:pt x="545" y="296"/>
                  </a:lnTo>
                  <a:lnTo>
                    <a:pt x="545" y="296"/>
                  </a:lnTo>
                  <a:lnTo>
                    <a:pt x="542" y="279"/>
                  </a:lnTo>
                  <a:lnTo>
                    <a:pt x="537" y="262"/>
                  </a:lnTo>
                  <a:lnTo>
                    <a:pt x="531" y="246"/>
                  </a:lnTo>
                  <a:lnTo>
                    <a:pt x="522" y="232"/>
                  </a:lnTo>
                  <a:lnTo>
                    <a:pt x="514" y="218"/>
                  </a:lnTo>
                  <a:lnTo>
                    <a:pt x="505" y="206"/>
                  </a:lnTo>
                  <a:lnTo>
                    <a:pt x="494" y="195"/>
                  </a:lnTo>
                  <a:lnTo>
                    <a:pt x="483" y="185"/>
                  </a:lnTo>
                  <a:lnTo>
                    <a:pt x="471" y="176"/>
                  </a:lnTo>
                  <a:lnTo>
                    <a:pt x="458" y="168"/>
                  </a:lnTo>
                  <a:lnTo>
                    <a:pt x="443" y="162"/>
                  </a:lnTo>
                  <a:lnTo>
                    <a:pt x="428" y="157"/>
                  </a:lnTo>
                  <a:lnTo>
                    <a:pt x="413" y="153"/>
                  </a:lnTo>
                  <a:lnTo>
                    <a:pt x="397" y="150"/>
                  </a:lnTo>
                  <a:lnTo>
                    <a:pt x="380" y="148"/>
                  </a:lnTo>
                  <a:lnTo>
                    <a:pt x="362" y="148"/>
                  </a:lnTo>
                  <a:lnTo>
                    <a:pt x="362" y="148"/>
                  </a:lnTo>
                  <a:lnTo>
                    <a:pt x="346" y="149"/>
                  </a:lnTo>
                  <a:lnTo>
                    <a:pt x="330" y="150"/>
                  </a:lnTo>
                  <a:lnTo>
                    <a:pt x="314" y="154"/>
                  </a:lnTo>
                  <a:lnTo>
                    <a:pt x="299" y="157"/>
                  </a:lnTo>
                  <a:lnTo>
                    <a:pt x="285" y="164"/>
                  </a:lnTo>
                  <a:lnTo>
                    <a:pt x="270" y="171"/>
                  </a:lnTo>
                  <a:lnTo>
                    <a:pt x="257" y="178"/>
                  </a:lnTo>
                  <a:lnTo>
                    <a:pt x="243" y="188"/>
                  </a:lnTo>
                  <a:lnTo>
                    <a:pt x="231" y="198"/>
                  </a:lnTo>
                  <a:lnTo>
                    <a:pt x="220" y="209"/>
                  </a:lnTo>
                  <a:lnTo>
                    <a:pt x="209" y="221"/>
                  </a:lnTo>
                  <a:lnTo>
                    <a:pt x="200" y="234"/>
                  </a:lnTo>
                  <a:lnTo>
                    <a:pt x="191" y="249"/>
                  </a:lnTo>
                  <a:lnTo>
                    <a:pt x="183" y="264"/>
                  </a:lnTo>
                  <a:lnTo>
                    <a:pt x="176" y="281"/>
                  </a:lnTo>
                  <a:lnTo>
                    <a:pt x="170" y="296"/>
                  </a:lnTo>
                  <a:close/>
                  <a:moveTo>
                    <a:pt x="0" y="377"/>
                  </a:moveTo>
                  <a:lnTo>
                    <a:pt x="0" y="377"/>
                  </a:lnTo>
                  <a:lnTo>
                    <a:pt x="0" y="357"/>
                  </a:lnTo>
                  <a:lnTo>
                    <a:pt x="1" y="338"/>
                  </a:lnTo>
                  <a:lnTo>
                    <a:pt x="4" y="318"/>
                  </a:lnTo>
                  <a:lnTo>
                    <a:pt x="7" y="300"/>
                  </a:lnTo>
                  <a:lnTo>
                    <a:pt x="11" y="282"/>
                  </a:lnTo>
                  <a:lnTo>
                    <a:pt x="16" y="264"/>
                  </a:lnTo>
                  <a:lnTo>
                    <a:pt x="22" y="245"/>
                  </a:lnTo>
                  <a:lnTo>
                    <a:pt x="28" y="228"/>
                  </a:lnTo>
                  <a:lnTo>
                    <a:pt x="35" y="211"/>
                  </a:lnTo>
                  <a:lnTo>
                    <a:pt x="44" y="195"/>
                  </a:lnTo>
                  <a:lnTo>
                    <a:pt x="52" y="179"/>
                  </a:lnTo>
                  <a:lnTo>
                    <a:pt x="62" y="164"/>
                  </a:lnTo>
                  <a:lnTo>
                    <a:pt x="72" y="149"/>
                  </a:lnTo>
                  <a:lnTo>
                    <a:pt x="83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19" y="96"/>
                  </a:lnTo>
                  <a:lnTo>
                    <a:pt x="133" y="84"/>
                  </a:lnTo>
                  <a:lnTo>
                    <a:pt x="147" y="73"/>
                  </a:lnTo>
                  <a:lnTo>
                    <a:pt x="162" y="64"/>
                  </a:lnTo>
                  <a:lnTo>
                    <a:pt x="176" y="54"/>
                  </a:lnTo>
                  <a:lnTo>
                    <a:pt x="192" y="44"/>
                  </a:lnTo>
                  <a:lnTo>
                    <a:pt x="208" y="37"/>
                  </a:lnTo>
                  <a:lnTo>
                    <a:pt x="225" y="29"/>
                  </a:lnTo>
                  <a:lnTo>
                    <a:pt x="242" y="22"/>
                  </a:lnTo>
                  <a:lnTo>
                    <a:pt x="260" y="16"/>
                  </a:lnTo>
                  <a:lnTo>
                    <a:pt x="277" y="11"/>
                  </a:lnTo>
                  <a:lnTo>
                    <a:pt x="296" y="7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4" y="0"/>
                  </a:lnTo>
                  <a:lnTo>
                    <a:pt x="374" y="0"/>
                  </a:lnTo>
                  <a:lnTo>
                    <a:pt x="374" y="0"/>
                  </a:lnTo>
                  <a:lnTo>
                    <a:pt x="392" y="0"/>
                  </a:lnTo>
                  <a:lnTo>
                    <a:pt x="411" y="1"/>
                  </a:lnTo>
                  <a:lnTo>
                    <a:pt x="428" y="4"/>
                  </a:lnTo>
                  <a:lnTo>
                    <a:pt x="447" y="6"/>
                  </a:lnTo>
                  <a:lnTo>
                    <a:pt x="464" y="10"/>
                  </a:lnTo>
                  <a:lnTo>
                    <a:pt x="481" y="15"/>
                  </a:lnTo>
                  <a:lnTo>
                    <a:pt x="497" y="20"/>
                  </a:lnTo>
                  <a:lnTo>
                    <a:pt x="513" y="26"/>
                  </a:lnTo>
                  <a:lnTo>
                    <a:pt x="527" y="33"/>
                  </a:lnTo>
                  <a:lnTo>
                    <a:pt x="543" y="40"/>
                  </a:lnTo>
                  <a:lnTo>
                    <a:pt x="556" y="49"/>
                  </a:lnTo>
                  <a:lnTo>
                    <a:pt x="571" y="57"/>
                  </a:lnTo>
                  <a:lnTo>
                    <a:pt x="584" y="67"/>
                  </a:lnTo>
                  <a:lnTo>
                    <a:pt x="597" y="78"/>
                  </a:lnTo>
                  <a:lnTo>
                    <a:pt x="609" y="89"/>
                  </a:lnTo>
                  <a:lnTo>
                    <a:pt x="621" y="101"/>
                  </a:lnTo>
                  <a:lnTo>
                    <a:pt x="632" y="114"/>
                  </a:lnTo>
                  <a:lnTo>
                    <a:pt x="642" y="127"/>
                  </a:lnTo>
                  <a:lnTo>
                    <a:pt x="653" y="140"/>
                  </a:lnTo>
                  <a:lnTo>
                    <a:pt x="661" y="155"/>
                  </a:lnTo>
                  <a:lnTo>
                    <a:pt x="670" y="171"/>
                  </a:lnTo>
                  <a:lnTo>
                    <a:pt x="678" y="185"/>
                  </a:lnTo>
                  <a:lnTo>
                    <a:pt x="685" y="203"/>
                  </a:lnTo>
                  <a:lnTo>
                    <a:pt x="693" y="220"/>
                  </a:lnTo>
                  <a:lnTo>
                    <a:pt x="699" y="237"/>
                  </a:lnTo>
                  <a:lnTo>
                    <a:pt x="704" y="255"/>
                  </a:lnTo>
                  <a:lnTo>
                    <a:pt x="709" y="274"/>
                  </a:lnTo>
                  <a:lnTo>
                    <a:pt x="713" y="294"/>
                  </a:lnTo>
                  <a:lnTo>
                    <a:pt x="717" y="314"/>
                  </a:lnTo>
                  <a:lnTo>
                    <a:pt x="720" y="334"/>
                  </a:lnTo>
                  <a:lnTo>
                    <a:pt x="722" y="356"/>
                  </a:lnTo>
                  <a:lnTo>
                    <a:pt x="723" y="377"/>
                  </a:lnTo>
                  <a:lnTo>
                    <a:pt x="723" y="421"/>
                  </a:lnTo>
                  <a:lnTo>
                    <a:pt x="167" y="421"/>
                  </a:lnTo>
                  <a:lnTo>
                    <a:pt x="167" y="421"/>
                  </a:lnTo>
                  <a:lnTo>
                    <a:pt x="170" y="440"/>
                  </a:lnTo>
                  <a:lnTo>
                    <a:pt x="175" y="459"/>
                  </a:lnTo>
                  <a:lnTo>
                    <a:pt x="183" y="476"/>
                  </a:lnTo>
                  <a:lnTo>
                    <a:pt x="191" y="493"/>
                  </a:lnTo>
                  <a:lnTo>
                    <a:pt x="200" y="507"/>
                  </a:lnTo>
                  <a:lnTo>
                    <a:pt x="211" y="522"/>
                  </a:lnTo>
                  <a:lnTo>
                    <a:pt x="223" y="535"/>
                  </a:lnTo>
                  <a:lnTo>
                    <a:pt x="236" y="548"/>
                  </a:lnTo>
                  <a:lnTo>
                    <a:pt x="251" y="557"/>
                  </a:lnTo>
                  <a:lnTo>
                    <a:pt x="267" y="567"/>
                  </a:lnTo>
                  <a:lnTo>
                    <a:pt x="282" y="576"/>
                  </a:lnTo>
                  <a:lnTo>
                    <a:pt x="299" y="583"/>
                  </a:lnTo>
                  <a:lnTo>
                    <a:pt x="318" y="588"/>
                  </a:lnTo>
                  <a:lnTo>
                    <a:pt x="337" y="592"/>
                  </a:lnTo>
                  <a:lnTo>
                    <a:pt x="357" y="594"/>
                  </a:lnTo>
                  <a:lnTo>
                    <a:pt x="376" y="595"/>
                  </a:lnTo>
                  <a:lnTo>
                    <a:pt x="376" y="595"/>
                  </a:lnTo>
                  <a:lnTo>
                    <a:pt x="393" y="595"/>
                  </a:lnTo>
                  <a:lnTo>
                    <a:pt x="408" y="594"/>
                  </a:lnTo>
                  <a:lnTo>
                    <a:pt x="424" y="592"/>
                  </a:lnTo>
                  <a:lnTo>
                    <a:pt x="438" y="588"/>
                  </a:lnTo>
                  <a:lnTo>
                    <a:pt x="452" y="584"/>
                  </a:lnTo>
                  <a:lnTo>
                    <a:pt x="465" y="581"/>
                  </a:lnTo>
                  <a:lnTo>
                    <a:pt x="478" y="574"/>
                  </a:lnTo>
                  <a:lnTo>
                    <a:pt x="491" y="570"/>
                  </a:lnTo>
                  <a:lnTo>
                    <a:pt x="513" y="557"/>
                  </a:lnTo>
                  <a:lnTo>
                    <a:pt x="533" y="543"/>
                  </a:lnTo>
                  <a:lnTo>
                    <a:pt x="551" y="528"/>
                  </a:lnTo>
                  <a:lnTo>
                    <a:pt x="566" y="512"/>
                  </a:lnTo>
                  <a:lnTo>
                    <a:pt x="674" y="627"/>
                  </a:lnTo>
                  <a:lnTo>
                    <a:pt x="674" y="627"/>
                  </a:lnTo>
                  <a:lnTo>
                    <a:pt x="662" y="640"/>
                  </a:lnTo>
                  <a:lnTo>
                    <a:pt x="649" y="654"/>
                  </a:lnTo>
                  <a:lnTo>
                    <a:pt x="634" y="666"/>
                  </a:lnTo>
                  <a:lnTo>
                    <a:pt x="620" y="678"/>
                  </a:lnTo>
                  <a:lnTo>
                    <a:pt x="604" y="689"/>
                  </a:lnTo>
                  <a:lnTo>
                    <a:pt x="587" y="700"/>
                  </a:lnTo>
                  <a:lnTo>
                    <a:pt x="569" y="710"/>
                  </a:lnTo>
                  <a:lnTo>
                    <a:pt x="550" y="718"/>
                  </a:lnTo>
                  <a:lnTo>
                    <a:pt x="531" y="727"/>
                  </a:lnTo>
                  <a:lnTo>
                    <a:pt x="511" y="734"/>
                  </a:lnTo>
                  <a:lnTo>
                    <a:pt x="489" y="740"/>
                  </a:lnTo>
                  <a:lnTo>
                    <a:pt x="469" y="745"/>
                  </a:lnTo>
                  <a:lnTo>
                    <a:pt x="447" y="749"/>
                  </a:lnTo>
                  <a:lnTo>
                    <a:pt x="424" y="752"/>
                  </a:lnTo>
                  <a:lnTo>
                    <a:pt x="400" y="754"/>
                  </a:lnTo>
                  <a:lnTo>
                    <a:pt x="376" y="755"/>
                  </a:lnTo>
                  <a:lnTo>
                    <a:pt x="376" y="755"/>
                  </a:lnTo>
                  <a:lnTo>
                    <a:pt x="357" y="754"/>
                  </a:lnTo>
                  <a:lnTo>
                    <a:pt x="337" y="752"/>
                  </a:lnTo>
                  <a:lnTo>
                    <a:pt x="318" y="750"/>
                  </a:lnTo>
                  <a:lnTo>
                    <a:pt x="298" y="748"/>
                  </a:lnTo>
                  <a:lnTo>
                    <a:pt x="280" y="743"/>
                  </a:lnTo>
                  <a:lnTo>
                    <a:pt x="262" y="738"/>
                  </a:lnTo>
                  <a:lnTo>
                    <a:pt x="243" y="732"/>
                  </a:lnTo>
                  <a:lnTo>
                    <a:pt x="226" y="726"/>
                  </a:lnTo>
                  <a:lnTo>
                    <a:pt x="209" y="718"/>
                  </a:lnTo>
                  <a:lnTo>
                    <a:pt x="193" y="710"/>
                  </a:lnTo>
                  <a:lnTo>
                    <a:pt x="178" y="701"/>
                  </a:lnTo>
                  <a:lnTo>
                    <a:pt x="162" y="691"/>
                  </a:lnTo>
                  <a:lnTo>
                    <a:pt x="147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3" y="620"/>
                  </a:lnTo>
                  <a:lnTo>
                    <a:pt x="72" y="605"/>
                  </a:lnTo>
                  <a:lnTo>
                    <a:pt x="62" y="590"/>
                  </a:lnTo>
                  <a:lnTo>
                    <a:pt x="52" y="576"/>
                  </a:lnTo>
                  <a:lnTo>
                    <a:pt x="44" y="560"/>
                  </a:lnTo>
                  <a:lnTo>
                    <a:pt x="35" y="543"/>
                  </a:lnTo>
                  <a:lnTo>
                    <a:pt x="28" y="527"/>
                  </a:lnTo>
                  <a:lnTo>
                    <a:pt x="22" y="509"/>
                  </a:lnTo>
                  <a:lnTo>
                    <a:pt x="16" y="492"/>
                  </a:lnTo>
                  <a:lnTo>
                    <a:pt x="11" y="473"/>
                  </a:lnTo>
                  <a:lnTo>
                    <a:pt x="7" y="455"/>
                  </a:lnTo>
                  <a:lnTo>
                    <a:pt x="4" y="435"/>
                  </a:lnTo>
                  <a:lnTo>
                    <a:pt x="1" y="417"/>
                  </a:lnTo>
                  <a:lnTo>
                    <a:pt x="0" y="398"/>
                  </a:lnTo>
                  <a:lnTo>
                    <a:pt x="0" y="37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2186" y="2104"/>
              <a:ext cx="125" cy="49"/>
            </a:xfrm>
            <a:custGeom>
              <a:avLst/>
              <a:gdLst>
                <a:gd name="T0" fmla="*/ 0 w 375"/>
                <a:gd name="T1" fmla="*/ 148 h 148"/>
                <a:gd name="T2" fmla="*/ 375 w 375"/>
                <a:gd name="T3" fmla="*/ 148 h 148"/>
                <a:gd name="T4" fmla="*/ 375 w 375"/>
                <a:gd name="T5" fmla="*/ 148 h 148"/>
                <a:gd name="T6" fmla="*/ 372 w 375"/>
                <a:gd name="T7" fmla="*/ 131 h 148"/>
                <a:gd name="T8" fmla="*/ 367 w 375"/>
                <a:gd name="T9" fmla="*/ 114 h 148"/>
                <a:gd name="T10" fmla="*/ 361 w 375"/>
                <a:gd name="T11" fmla="*/ 98 h 148"/>
                <a:gd name="T12" fmla="*/ 352 w 375"/>
                <a:gd name="T13" fmla="*/ 84 h 148"/>
                <a:gd name="T14" fmla="*/ 344 w 375"/>
                <a:gd name="T15" fmla="*/ 70 h 148"/>
                <a:gd name="T16" fmla="*/ 335 w 375"/>
                <a:gd name="T17" fmla="*/ 58 h 148"/>
                <a:gd name="T18" fmla="*/ 324 w 375"/>
                <a:gd name="T19" fmla="*/ 47 h 148"/>
                <a:gd name="T20" fmla="*/ 313 w 375"/>
                <a:gd name="T21" fmla="*/ 37 h 148"/>
                <a:gd name="T22" fmla="*/ 301 w 375"/>
                <a:gd name="T23" fmla="*/ 28 h 148"/>
                <a:gd name="T24" fmla="*/ 288 w 375"/>
                <a:gd name="T25" fmla="*/ 20 h 148"/>
                <a:gd name="T26" fmla="*/ 273 w 375"/>
                <a:gd name="T27" fmla="*/ 14 h 148"/>
                <a:gd name="T28" fmla="*/ 258 w 375"/>
                <a:gd name="T29" fmla="*/ 9 h 148"/>
                <a:gd name="T30" fmla="*/ 243 w 375"/>
                <a:gd name="T31" fmla="*/ 5 h 148"/>
                <a:gd name="T32" fmla="*/ 227 w 375"/>
                <a:gd name="T33" fmla="*/ 2 h 148"/>
                <a:gd name="T34" fmla="*/ 210 w 375"/>
                <a:gd name="T35" fmla="*/ 0 h 148"/>
                <a:gd name="T36" fmla="*/ 192 w 375"/>
                <a:gd name="T37" fmla="*/ 0 h 148"/>
                <a:gd name="T38" fmla="*/ 192 w 375"/>
                <a:gd name="T39" fmla="*/ 0 h 148"/>
                <a:gd name="T40" fmla="*/ 176 w 375"/>
                <a:gd name="T41" fmla="*/ 1 h 148"/>
                <a:gd name="T42" fmla="*/ 160 w 375"/>
                <a:gd name="T43" fmla="*/ 2 h 148"/>
                <a:gd name="T44" fmla="*/ 144 w 375"/>
                <a:gd name="T45" fmla="*/ 6 h 148"/>
                <a:gd name="T46" fmla="*/ 129 w 375"/>
                <a:gd name="T47" fmla="*/ 9 h 148"/>
                <a:gd name="T48" fmla="*/ 115 w 375"/>
                <a:gd name="T49" fmla="*/ 16 h 148"/>
                <a:gd name="T50" fmla="*/ 100 w 375"/>
                <a:gd name="T51" fmla="*/ 23 h 148"/>
                <a:gd name="T52" fmla="*/ 87 w 375"/>
                <a:gd name="T53" fmla="*/ 30 h 148"/>
                <a:gd name="T54" fmla="*/ 73 w 375"/>
                <a:gd name="T55" fmla="*/ 40 h 148"/>
                <a:gd name="T56" fmla="*/ 61 w 375"/>
                <a:gd name="T57" fmla="*/ 50 h 148"/>
                <a:gd name="T58" fmla="*/ 50 w 375"/>
                <a:gd name="T59" fmla="*/ 61 h 148"/>
                <a:gd name="T60" fmla="*/ 39 w 375"/>
                <a:gd name="T61" fmla="*/ 73 h 148"/>
                <a:gd name="T62" fmla="*/ 30 w 375"/>
                <a:gd name="T63" fmla="*/ 86 h 148"/>
                <a:gd name="T64" fmla="*/ 21 w 375"/>
                <a:gd name="T65" fmla="*/ 101 h 148"/>
                <a:gd name="T66" fmla="*/ 13 w 375"/>
                <a:gd name="T67" fmla="*/ 116 h 148"/>
                <a:gd name="T68" fmla="*/ 6 w 375"/>
                <a:gd name="T69" fmla="*/ 133 h 148"/>
                <a:gd name="T70" fmla="*/ 0 w 375"/>
                <a:gd name="T71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5" h="148">
                  <a:moveTo>
                    <a:pt x="0" y="148"/>
                  </a:moveTo>
                  <a:lnTo>
                    <a:pt x="375" y="148"/>
                  </a:lnTo>
                  <a:lnTo>
                    <a:pt x="375" y="148"/>
                  </a:lnTo>
                  <a:lnTo>
                    <a:pt x="372" y="131"/>
                  </a:lnTo>
                  <a:lnTo>
                    <a:pt x="367" y="114"/>
                  </a:lnTo>
                  <a:lnTo>
                    <a:pt x="361" y="98"/>
                  </a:lnTo>
                  <a:lnTo>
                    <a:pt x="352" y="84"/>
                  </a:lnTo>
                  <a:lnTo>
                    <a:pt x="344" y="70"/>
                  </a:lnTo>
                  <a:lnTo>
                    <a:pt x="335" y="58"/>
                  </a:lnTo>
                  <a:lnTo>
                    <a:pt x="324" y="47"/>
                  </a:lnTo>
                  <a:lnTo>
                    <a:pt x="313" y="37"/>
                  </a:lnTo>
                  <a:lnTo>
                    <a:pt x="301" y="28"/>
                  </a:lnTo>
                  <a:lnTo>
                    <a:pt x="288" y="20"/>
                  </a:lnTo>
                  <a:lnTo>
                    <a:pt x="273" y="14"/>
                  </a:lnTo>
                  <a:lnTo>
                    <a:pt x="258" y="9"/>
                  </a:lnTo>
                  <a:lnTo>
                    <a:pt x="243" y="5"/>
                  </a:lnTo>
                  <a:lnTo>
                    <a:pt x="227" y="2"/>
                  </a:lnTo>
                  <a:lnTo>
                    <a:pt x="210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76" y="1"/>
                  </a:lnTo>
                  <a:lnTo>
                    <a:pt x="160" y="2"/>
                  </a:lnTo>
                  <a:lnTo>
                    <a:pt x="144" y="6"/>
                  </a:lnTo>
                  <a:lnTo>
                    <a:pt x="129" y="9"/>
                  </a:lnTo>
                  <a:lnTo>
                    <a:pt x="115" y="16"/>
                  </a:lnTo>
                  <a:lnTo>
                    <a:pt x="100" y="23"/>
                  </a:lnTo>
                  <a:lnTo>
                    <a:pt x="87" y="30"/>
                  </a:lnTo>
                  <a:lnTo>
                    <a:pt x="73" y="40"/>
                  </a:lnTo>
                  <a:lnTo>
                    <a:pt x="61" y="50"/>
                  </a:lnTo>
                  <a:lnTo>
                    <a:pt x="50" y="61"/>
                  </a:lnTo>
                  <a:lnTo>
                    <a:pt x="39" y="73"/>
                  </a:lnTo>
                  <a:lnTo>
                    <a:pt x="30" y="86"/>
                  </a:lnTo>
                  <a:lnTo>
                    <a:pt x="21" y="101"/>
                  </a:lnTo>
                  <a:lnTo>
                    <a:pt x="13" y="116"/>
                  </a:lnTo>
                  <a:lnTo>
                    <a:pt x="6" y="133"/>
                  </a:lnTo>
                  <a:lnTo>
                    <a:pt x="0" y="1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5"/>
            <p:cNvSpPr>
              <a:spLocks/>
            </p:cNvSpPr>
            <p:nvPr userDrawn="1"/>
          </p:nvSpPr>
          <p:spPr bwMode="auto">
            <a:xfrm>
              <a:off x="2130" y="2055"/>
              <a:ext cx="241" cy="251"/>
            </a:xfrm>
            <a:custGeom>
              <a:avLst/>
              <a:gdLst>
                <a:gd name="T0" fmla="*/ 0 w 723"/>
                <a:gd name="T1" fmla="*/ 357 h 755"/>
                <a:gd name="T2" fmla="*/ 7 w 723"/>
                <a:gd name="T3" fmla="*/ 300 h 755"/>
                <a:gd name="T4" fmla="*/ 22 w 723"/>
                <a:gd name="T5" fmla="*/ 245 h 755"/>
                <a:gd name="T6" fmla="*/ 44 w 723"/>
                <a:gd name="T7" fmla="*/ 195 h 755"/>
                <a:gd name="T8" fmla="*/ 72 w 723"/>
                <a:gd name="T9" fmla="*/ 149 h 755"/>
                <a:gd name="T10" fmla="*/ 107 w 723"/>
                <a:gd name="T11" fmla="*/ 109 h 755"/>
                <a:gd name="T12" fmla="*/ 147 w 723"/>
                <a:gd name="T13" fmla="*/ 73 h 755"/>
                <a:gd name="T14" fmla="*/ 192 w 723"/>
                <a:gd name="T15" fmla="*/ 44 h 755"/>
                <a:gd name="T16" fmla="*/ 242 w 723"/>
                <a:gd name="T17" fmla="*/ 22 h 755"/>
                <a:gd name="T18" fmla="*/ 296 w 723"/>
                <a:gd name="T19" fmla="*/ 7 h 755"/>
                <a:gd name="T20" fmla="*/ 354 w 723"/>
                <a:gd name="T21" fmla="*/ 0 h 755"/>
                <a:gd name="T22" fmla="*/ 392 w 723"/>
                <a:gd name="T23" fmla="*/ 0 h 755"/>
                <a:gd name="T24" fmla="*/ 447 w 723"/>
                <a:gd name="T25" fmla="*/ 6 h 755"/>
                <a:gd name="T26" fmla="*/ 497 w 723"/>
                <a:gd name="T27" fmla="*/ 20 h 755"/>
                <a:gd name="T28" fmla="*/ 543 w 723"/>
                <a:gd name="T29" fmla="*/ 40 h 755"/>
                <a:gd name="T30" fmla="*/ 584 w 723"/>
                <a:gd name="T31" fmla="*/ 67 h 755"/>
                <a:gd name="T32" fmla="*/ 621 w 723"/>
                <a:gd name="T33" fmla="*/ 101 h 755"/>
                <a:gd name="T34" fmla="*/ 653 w 723"/>
                <a:gd name="T35" fmla="*/ 140 h 755"/>
                <a:gd name="T36" fmla="*/ 678 w 723"/>
                <a:gd name="T37" fmla="*/ 185 h 755"/>
                <a:gd name="T38" fmla="*/ 699 w 723"/>
                <a:gd name="T39" fmla="*/ 237 h 755"/>
                <a:gd name="T40" fmla="*/ 713 w 723"/>
                <a:gd name="T41" fmla="*/ 294 h 755"/>
                <a:gd name="T42" fmla="*/ 722 w 723"/>
                <a:gd name="T43" fmla="*/ 356 h 755"/>
                <a:gd name="T44" fmla="*/ 167 w 723"/>
                <a:gd name="T45" fmla="*/ 421 h 755"/>
                <a:gd name="T46" fmla="*/ 175 w 723"/>
                <a:gd name="T47" fmla="*/ 459 h 755"/>
                <a:gd name="T48" fmla="*/ 200 w 723"/>
                <a:gd name="T49" fmla="*/ 507 h 755"/>
                <a:gd name="T50" fmla="*/ 236 w 723"/>
                <a:gd name="T51" fmla="*/ 548 h 755"/>
                <a:gd name="T52" fmla="*/ 282 w 723"/>
                <a:gd name="T53" fmla="*/ 576 h 755"/>
                <a:gd name="T54" fmla="*/ 337 w 723"/>
                <a:gd name="T55" fmla="*/ 592 h 755"/>
                <a:gd name="T56" fmla="*/ 376 w 723"/>
                <a:gd name="T57" fmla="*/ 595 h 755"/>
                <a:gd name="T58" fmla="*/ 424 w 723"/>
                <a:gd name="T59" fmla="*/ 592 h 755"/>
                <a:gd name="T60" fmla="*/ 465 w 723"/>
                <a:gd name="T61" fmla="*/ 581 h 755"/>
                <a:gd name="T62" fmla="*/ 513 w 723"/>
                <a:gd name="T63" fmla="*/ 557 h 755"/>
                <a:gd name="T64" fmla="*/ 566 w 723"/>
                <a:gd name="T65" fmla="*/ 512 h 755"/>
                <a:gd name="T66" fmla="*/ 662 w 723"/>
                <a:gd name="T67" fmla="*/ 640 h 755"/>
                <a:gd name="T68" fmla="*/ 620 w 723"/>
                <a:gd name="T69" fmla="*/ 678 h 755"/>
                <a:gd name="T70" fmla="*/ 569 w 723"/>
                <a:gd name="T71" fmla="*/ 710 h 755"/>
                <a:gd name="T72" fmla="*/ 511 w 723"/>
                <a:gd name="T73" fmla="*/ 734 h 755"/>
                <a:gd name="T74" fmla="*/ 447 w 723"/>
                <a:gd name="T75" fmla="*/ 749 h 755"/>
                <a:gd name="T76" fmla="*/ 376 w 723"/>
                <a:gd name="T77" fmla="*/ 755 h 755"/>
                <a:gd name="T78" fmla="*/ 337 w 723"/>
                <a:gd name="T79" fmla="*/ 752 h 755"/>
                <a:gd name="T80" fmla="*/ 280 w 723"/>
                <a:gd name="T81" fmla="*/ 743 h 755"/>
                <a:gd name="T82" fmla="*/ 226 w 723"/>
                <a:gd name="T83" fmla="*/ 726 h 755"/>
                <a:gd name="T84" fmla="*/ 178 w 723"/>
                <a:gd name="T85" fmla="*/ 701 h 755"/>
                <a:gd name="T86" fmla="*/ 134 w 723"/>
                <a:gd name="T87" fmla="*/ 670 h 755"/>
                <a:gd name="T88" fmla="*/ 95 w 723"/>
                <a:gd name="T89" fmla="*/ 633 h 755"/>
                <a:gd name="T90" fmla="*/ 62 w 723"/>
                <a:gd name="T91" fmla="*/ 590 h 755"/>
                <a:gd name="T92" fmla="*/ 35 w 723"/>
                <a:gd name="T93" fmla="*/ 543 h 755"/>
                <a:gd name="T94" fmla="*/ 16 w 723"/>
                <a:gd name="T95" fmla="*/ 492 h 755"/>
                <a:gd name="T96" fmla="*/ 4 w 723"/>
                <a:gd name="T97" fmla="*/ 435 h 755"/>
                <a:gd name="T98" fmla="*/ 0 w 723"/>
                <a:gd name="T99" fmla="*/ 37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3" h="755">
                  <a:moveTo>
                    <a:pt x="0" y="377"/>
                  </a:moveTo>
                  <a:lnTo>
                    <a:pt x="0" y="377"/>
                  </a:lnTo>
                  <a:lnTo>
                    <a:pt x="0" y="357"/>
                  </a:lnTo>
                  <a:lnTo>
                    <a:pt x="1" y="338"/>
                  </a:lnTo>
                  <a:lnTo>
                    <a:pt x="4" y="318"/>
                  </a:lnTo>
                  <a:lnTo>
                    <a:pt x="7" y="300"/>
                  </a:lnTo>
                  <a:lnTo>
                    <a:pt x="11" y="282"/>
                  </a:lnTo>
                  <a:lnTo>
                    <a:pt x="16" y="264"/>
                  </a:lnTo>
                  <a:lnTo>
                    <a:pt x="22" y="245"/>
                  </a:lnTo>
                  <a:lnTo>
                    <a:pt x="28" y="228"/>
                  </a:lnTo>
                  <a:lnTo>
                    <a:pt x="35" y="211"/>
                  </a:lnTo>
                  <a:lnTo>
                    <a:pt x="44" y="195"/>
                  </a:lnTo>
                  <a:lnTo>
                    <a:pt x="52" y="179"/>
                  </a:lnTo>
                  <a:lnTo>
                    <a:pt x="62" y="164"/>
                  </a:lnTo>
                  <a:lnTo>
                    <a:pt x="72" y="149"/>
                  </a:lnTo>
                  <a:lnTo>
                    <a:pt x="83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19" y="96"/>
                  </a:lnTo>
                  <a:lnTo>
                    <a:pt x="133" y="84"/>
                  </a:lnTo>
                  <a:lnTo>
                    <a:pt x="147" y="73"/>
                  </a:lnTo>
                  <a:lnTo>
                    <a:pt x="162" y="64"/>
                  </a:lnTo>
                  <a:lnTo>
                    <a:pt x="176" y="54"/>
                  </a:lnTo>
                  <a:lnTo>
                    <a:pt x="192" y="44"/>
                  </a:lnTo>
                  <a:lnTo>
                    <a:pt x="208" y="37"/>
                  </a:lnTo>
                  <a:lnTo>
                    <a:pt x="225" y="29"/>
                  </a:lnTo>
                  <a:lnTo>
                    <a:pt x="242" y="22"/>
                  </a:lnTo>
                  <a:lnTo>
                    <a:pt x="260" y="16"/>
                  </a:lnTo>
                  <a:lnTo>
                    <a:pt x="277" y="11"/>
                  </a:lnTo>
                  <a:lnTo>
                    <a:pt x="296" y="7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4" y="0"/>
                  </a:lnTo>
                  <a:lnTo>
                    <a:pt x="374" y="0"/>
                  </a:lnTo>
                  <a:lnTo>
                    <a:pt x="374" y="0"/>
                  </a:lnTo>
                  <a:lnTo>
                    <a:pt x="392" y="0"/>
                  </a:lnTo>
                  <a:lnTo>
                    <a:pt x="411" y="1"/>
                  </a:lnTo>
                  <a:lnTo>
                    <a:pt x="428" y="4"/>
                  </a:lnTo>
                  <a:lnTo>
                    <a:pt x="447" y="6"/>
                  </a:lnTo>
                  <a:lnTo>
                    <a:pt x="464" y="10"/>
                  </a:lnTo>
                  <a:lnTo>
                    <a:pt x="481" y="15"/>
                  </a:lnTo>
                  <a:lnTo>
                    <a:pt x="497" y="20"/>
                  </a:lnTo>
                  <a:lnTo>
                    <a:pt x="513" y="26"/>
                  </a:lnTo>
                  <a:lnTo>
                    <a:pt x="527" y="33"/>
                  </a:lnTo>
                  <a:lnTo>
                    <a:pt x="543" y="40"/>
                  </a:lnTo>
                  <a:lnTo>
                    <a:pt x="556" y="49"/>
                  </a:lnTo>
                  <a:lnTo>
                    <a:pt x="571" y="57"/>
                  </a:lnTo>
                  <a:lnTo>
                    <a:pt x="584" y="67"/>
                  </a:lnTo>
                  <a:lnTo>
                    <a:pt x="597" y="78"/>
                  </a:lnTo>
                  <a:lnTo>
                    <a:pt x="609" y="89"/>
                  </a:lnTo>
                  <a:lnTo>
                    <a:pt x="621" y="101"/>
                  </a:lnTo>
                  <a:lnTo>
                    <a:pt x="632" y="114"/>
                  </a:lnTo>
                  <a:lnTo>
                    <a:pt x="642" y="127"/>
                  </a:lnTo>
                  <a:lnTo>
                    <a:pt x="653" y="140"/>
                  </a:lnTo>
                  <a:lnTo>
                    <a:pt x="661" y="155"/>
                  </a:lnTo>
                  <a:lnTo>
                    <a:pt x="670" y="171"/>
                  </a:lnTo>
                  <a:lnTo>
                    <a:pt x="678" y="185"/>
                  </a:lnTo>
                  <a:lnTo>
                    <a:pt x="685" y="203"/>
                  </a:lnTo>
                  <a:lnTo>
                    <a:pt x="693" y="220"/>
                  </a:lnTo>
                  <a:lnTo>
                    <a:pt x="699" y="237"/>
                  </a:lnTo>
                  <a:lnTo>
                    <a:pt x="704" y="255"/>
                  </a:lnTo>
                  <a:lnTo>
                    <a:pt x="709" y="274"/>
                  </a:lnTo>
                  <a:lnTo>
                    <a:pt x="713" y="294"/>
                  </a:lnTo>
                  <a:lnTo>
                    <a:pt x="717" y="314"/>
                  </a:lnTo>
                  <a:lnTo>
                    <a:pt x="720" y="334"/>
                  </a:lnTo>
                  <a:lnTo>
                    <a:pt x="722" y="356"/>
                  </a:lnTo>
                  <a:lnTo>
                    <a:pt x="723" y="377"/>
                  </a:lnTo>
                  <a:lnTo>
                    <a:pt x="723" y="421"/>
                  </a:lnTo>
                  <a:lnTo>
                    <a:pt x="167" y="421"/>
                  </a:lnTo>
                  <a:lnTo>
                    <a:pt x="167" y="421"/>
                  </a:lnTo>
                  <a:lnTo>
                    <a:pt x="170" y="440"/>
                  </a:lnTo>
                  <a:lnTo>
                    <a:pt x="175" y="459"/>
                  </a:lnTo>
                  <a:lnTo>
                    <a:pt x="183" y="476"/>
                  </a:lnTo>
                  <a:lnTo>
                    <a:pt x="191" y="493"/>
                  </a:lnTo>
                  <a:lnTo>
                    <a:pt x="200" y="507"/>
                  </a:lnTo>
                  <a:lnTo>
                    <a:pt x="211" y="522"/>
                  </a:lnTo>
                  <a:lnTo>
                    <a:pt x="223" y="535"/>
                  </a:lnTo>
                  <a:lnTo>
                    <a:pt x="236" y="548"/>
                  </a:lnTo>
                  <a:lnTo>
                    <a:pt x="251" y="557"/>
                  </a:lnTo>
                  <a:lnTo>
                    <a:pt x="267" y="567"/>
                  </a:lnTo>
                  <a:lnTo>
                    <a:pt x="282" y="576"/>
                  </a:lnTo>
                  <a:lnTo>
                    <a:pt x="299" y="583"/>
                  </a:lnTo>
                  <a:lnTo>
                    <a:pt x="318" y="588"/>
                  </a:lnTo>
                  <a:lnTo>
                    <a:pt x="337" y="592"/>
                  </a:lnTo>
                  <a:lnTo>
                    <a:pt x="357" y="594"/>
                  </a:lnTo>
                  <a:lnTo>
                    <a:pt x="376" y="595"/>
                  </a:lnTo>
                  <a:lnTo>
                    <a:pt x="376" y="595"/>
                  </a:lnTo>
                  <a:lnTo>
                    <a:pt x="393" y="595"/>
                  </a:lnTo>
                  <a:lnTo>
                    <a:pt x="408" y="594"/>
                  </a:lnTo>
                  <a:lnTo>
                    <a:pt x="424" y="592"/>
                  </a:lnTo>
                  <a:lnTo>
                    <a:pt x="438" y="588"/>
                  </a:lnTo>
                  <a:lnTo>
                    <a:pt x="452" y="584"/>
                  </a:lnTo>
                  <a:lnTo>
                    <a:pt x="465" y="581"/>
                  </a:lnTo>
                  <a:lnTo>
                    <a:pt x="478" y="574"/>
                  </a:lnTo>
                  <a:lnTo>
                    <a:pt x="491" y="570"/>
                  </a:lnTo>
                  <a:lnTo>
                    <a:pt x="513" y="557"/>
                  </a:lnTo>
                  <a:lnTo>
                    <a:pt x="533" y="543"/>
                  </a:lnTo>
                  <a:lnTo>
                    <a:pt x="551" y="528"/>
                  </a:lnTo>
                  <a:lnTo>
                    <a:pt x="566" y="512"/>
                  </a:lnTo>
                  <a:lnTo>
                    <a:pt x="674" y="627"/>
                  </a:lnTo>
                  <a:lnTo>
                    <a:pt x="674" y="627"/>
                  </a:lnTo>
                  <a:lnTo>
                    <a:pt x="662" y="640"/>
                  </a:lnTo>
                  <a:lnTo>
                    <a:pt x="649" y="654"/>
                  </a:lnTo>
                  <a:lnTo>
                    <a:pt x="634" y="666"/>
                  </a:lnTo>
                  <a:lnTo>
                    <a:pt x="620" y="678"/>
                  </a:lnTo>
                  <a:lnTo>
                    <a:pt x="604" y="689"/>
                  </a:lnTo>
                  <a:lnTo>
                    <a:pt x="587" y="700"/>
                  </a:lnTo>
                  <a:lnTo>
                    <a:pt x="569" y="710"/>
                  </a:lnTo>
                  <a:lnTo>
                    <a:pt x="550" y="718"/>
                  </a:lnTo>
                  <a:lnTo>
                    <a:pt x="531" y="727"/>
                  </a:lnTo>
                  <a:lnTo>
                    <a:pt x="511" y="734"/>
                  </a:lnTo>
                  <a:lnTo>
                    <a:pt x="489" y="740"/>
                  </a:lnTo>
                  <a:lnTo>
                    <a:pt x="469" y="745"/>
                  </a:lnTo>
                  <a:lnTo>
                    <a:pt x="447" y="749"/>
                  </a:lnTo>
                  <a:lnTo>
                    <a:pt x="424" y="752"/>
                  </a:lnTo>
                  <a:lnTo>
                    <a:pt x="400" y="754"/>
                  </a:lnTo>
                  <a:lnTo>
                    <a:pt x="376" y="755"/>
                  </a:lnTo>
                  <a:lnTo>
                    <a:pt x="376" y="755"/>
                  </a:lnTo>
                  <a:lnTo>
                    <a:pt x="357" y="754"/>
                  </a:lnTo>
                  <a:lnTo>
                    <a:pt x="337" y="752"/>
                  </a:lnTo>
                  <a:lnTo>
                    <a:pt x="318" y="750"/>
                  </a:lnTo>
                  <a:lnTo>
                    <a:pt x="298" y="748"/>
                  </a:lnTo>
                  <a:lnTo>
                    <a:pt x="280" y="743"/>
                  </a:lnTo>
                  <a:lnTo>
                    <a:pt x="262" y="738"/>
                  </a:lnTo>
                  <a:lnTo>
                    <a:pt x="243" y="732"/>
                  </a:lnTo>
                  <a:lnTo>
                    <a:pt x="226" y="726"/>
                  </a:lnTo>
                  <a:lnTo>
                    <a:pt x="209" y="718"/>
                  </a:lnTo>
                  <a:lnTo>
                    <a:pt x="193" y="710"/>
                  </a:lnTo>
                  <a:lnTo>
                    <a:pt x="178" y="701"/>
                  </a:lnTo>
                  <a:lnTo>
                    <a:pt x="162" y="691"/>
                  </a:lnTo>
                  <a:lnTo>
                    <a:pt x="147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3" y="620"/>
                  </a:lnTo>
                  <a:lnTo>
                    <a:pt x="72" y="605"/>
                  </a:lnTo>
                  <a:lnTo>
                    <a:pt x="62" y="590"/>
                  </a:lnTo>
                  <a:lnTo>
                    <a:pt x="52" y="576"/>
                  </a:lnTo>
                  <a:lnTo>
                    <a:pt x="44" y="560"/>
                  </a:lnTo>
                  <a:lnTo>
                    <a:pt x="35" y="543"/>
                  </a:lnTo>
                  <a:lnTo>
                    <a:pt x="28" y="527"/>
                  </a:lnTo>
                  <a:lnTo>
                    <a:pt x="22" y="509"/>
                  </a:lnTo>
                  <a:lnTo>
                    <a:pt x="16" y="492"/>
                  </a:lnTo>
                  <a:lnTo>
                    <a:pt x="11" y="473"/>
                  </a:lnTo>
                  <a:lnTo>
                    <a:pt x="7" y="455"/>
                  </a:lnTo>
                  <a:lnTo>
                    <a:pt x="4" y="435"/>
                  </a:lnTo>
                  <a:lnTo>
                    <a:pt x="1" y="417"/>
                  </a:lnTo>
                  <a:lnTo>
                    <a:pt x="0" y="398"/>
                  </a:lnTo>
                  <a:lnTo>
                    <a:pt x="0" y="3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6"/>
            <p:cNvSpPr>
              <a:spLocks/>
            </p:cNvSpPr>
            <p:nvPr userDrawn="1"/>
          </p:nvSpPr>
          <p:spPr bwMode="auto">
            <a:xfrm>
              <a:off x="2400" y="2055"/>
              <a:ext cx="209" cy="250"/>
            </a:xfrm>
            <a:custGeom>
              <a:avLst/>
              <a:gdLst>
                <a:gd name="T0" fmla="*/ 458 w 628"/>
                <a:gd name="T1" fmla="*/ 752 h 752"/>
                <a:gd name="T2" fmla="*/ 458 w 628"/>
                <a:gd name="T3" fmla="*/ 315 h 752"/>
                <a:gd name="T4" fmla="*/ 454 w 628"/>
                <a:gd name="T5" fmla="*/ 285 h 752"/>
                <a:gd name="T6" fmla="*/ 445 w 628"/>
                <a:gd name="T7" fmla="*/ 259 h 752"/>
                <a:gd name="T8" fmla="*/ 432 w 628"/>
                <a:gd name="T9" fmla="*/ 234 h 752"/>
                <a:gd name="T10" fmla="*/ 415 w 628"/>
                <a:gd name="T11" fmla="*/ 212 h 752"/>
                <a:gd name="T12" fmla="*/ 394 w 628"/>
                <a:gd name="T13" fmla="*/ 195 h 752"/>
                <a:gd name="T14" fmla="*/ 370 w 628"/>
                <a:gd name="T15" fmla="*/ 182 h 752"/>
                <a:gd name="T16" fmla="*/ 342 w 628"/>
                <a:gd name="T17" fmla="*/ 173 h 752"/>
                <a:gd name="T18" fmla="*/ 314 w 628"/>
                <a:gd name="T19" fmla="*/ 171 h 752"/>
                <a:gd name="T20" fmla="*/ 299 w 628"/>
                <a:gd name="T21" fmla="*/ 171 h 752"/>
                <a:gd name="T22" fmla="*/ 271 w 628"/>
                <a:gd name="T23" fmla="*/ 177 h 752"/>
                <a:gd name="T24" fmla="*/ 244 w 628"/>
                <a:gd name="T25" fmla="*/ 188 h 752"/>
                <a:gd name="T26" fmla="*/ 222 w 628"/>
                <a:gd name="T27" fmla="*/ 204 h 752"/>
                <a:gd name="T28" fmla="*/ 203 w 628"/>
                <a:gd name="T29" fmla="*/ 223 h 752"/>
                <a:gd name="T30" fmla="*/ 187 w 628"/>
                <a:gd name="T31" fmla="*/ 245 h 752"/>
                <a:gd name="T32" fmla="*/ 176 w 628"/>
                <a:gd name="T33" fmla="*/ 272 h 752"/>
                <a:gd name="T34" fmla="*/ 170 w 628"/>
                <a:gd name="T35" fmla="*/ 300 h 752"/>
                <a:gd name="T36" fmla="*/ 170 w 628"/>
                <a:gd name="T37" fmla="*/ 752 h 752"/>
                <a:gd name="T38" fmla="*/ 0 w 628"/>
                <a:gd name="T39" fmla="*/ 315 h 752"/>
                <a:gd name="T40" fmla="*/ 0 w 628"/>
                <a:gd name="T41" fmla="*/ 298 h 752"/>
                <a:gd name="T42" fmla="*/ 3 w 628"/>
                <a:gd name="T43" fmla="*/ 266 h 752"/>
                <a:gd name="T44" fmla="*/ 9 w 628"/>
                <a:gd name="T45" fmla="*/ 235 h 752"/>
                <a:gd name="T46" fmla="*/ 18 w 628"/>
                <a:gd name="T47" fmla="*/ 206 h 752"/>
                <a:gd name="T48" fmla="*/ 30 w 628"/>
                <a:gd name="T49" fmla="*/ 178 h 752"/>
                <a:gd name="T50" fmla="*/ 45 w 628"/>
                <a:gd name="T51" fmla="*/ 151 h 752"/>
                <a:gd name="T52" fmla="*/ 71 w 628"/>
                <a:gd name="T53" fmla="*/ 115 h 752"/>
                <a:gd name="T54" fmla="*/ 114 w 628"/>
                <a:gd name="T55" fmla="*/ 72 h 752"/>
                <a:gd name="T56" fmla="*/ 151 w 628"/>
                <a:gd name="T57" fmla="*/ 45 h 752"/>
                <a:gd name="T58" fmla="*/ 177 w 628"/>
                <a:gd name="T59" fmla="*/ 31 h 752"/>
                <a:gd name="T60" fmla="*/ 205 w 628"/>
                <a:gd name="T61" fmla="*/ 18 h 752"/>
                <a:gd name="T62" fmla="*/ 235 w 628"/>
                <a:gd name="T63" fmla="*/ 10 h 752"/>
                <a:gd name="T64" fmla="*/ 265 w 628"/>
                <a:gd name="T65" fmla="*/ 4 h 752"/>
                <a:gd name="T66" fmla="*/ 297 w 628"/>
                <a:gd name="T67" fmla="*/ 0 h 752"/>
                <a:gd name="T68" fmla="*/ 314 w 628"/>
                <a:gd name="T69" fmla="*/ 0 h 752"/>
                <a:gd name="T70" fmla="*/ 345 w 628"/>
                <a:gd name="T71" fmla="*/ 1 h 752"/>
                <a:gd name="T72" fmla="*/ 377 w 628"/>
                <a:gd name="T73" fmla="*/ 6 h 752"/>
                <a:gd name="T74" fmla="*/ 406 w 628"/>
                <a:gd name="T75" fmla="*/ 14 h 752"/>
                <a:gd name="T76" fmla="*/ 436 w 628"/>
                <a:gd name="T77" fmla="*/ 25 h 752"/>
                <a:gd name="T78" fmla="*/ 464 w 628"/>
                <a:gd name="T79" fmla="*/ 38 h 752"/>
                <a:gd name="T80" fmla="*/ 489 w 628"/>
                <a:gd name="T81" fmla="*/ 54 h 752"/>
                <a:gd name="T82" fmla="*/ 535 w 628"/>
                <a:gd name="T83" fmla="*/ 92 h 752"/>
                <a:gd name="T84" fmla="*/ 574 w 628"/>
                <a:gd name="T85" fmla="*/ 139 h 752"/>
                <a:gd name="T86" fmla="*/ 590 w 628"/>
                <a:gd name="T87" fmla="*/ 165 h 752"/>
                <a:gd name="T88" fmla="*/ 602 w 628"/>
                <a:gd name="T89" fmla="*/ 192 h 752"/>
                <a:gd name="T90" fmla="*/ 613 w 628"/>
                <a:gd name="T91" fmla="*/ 221 h 752"/>
                <a:gd name="T92" fmla="*/ 621 w 628"/>
                <a:gd name="T93" fmla="*/ 251 h 752"/>
                <a:gd name="T94" fmla="*/ 626 w 628"/>
                <a:gd name="T95" fmla="*/ 282 h 752"/>
                <a:gd name="T96" fmla="*/ 628 w 628"/>
                <a:gd name="T97" fmla="*/ 315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28" h="752">
                  <a:moveTo>
                    <a:pt x="628" y="752"/>
                  </a:moveTo>
                  <a:lnTo>
                    <a:pt x="458" y="752"/>
                  </a:lnTo>
                  <a:lnTo>
                    <a:pt x="458" y="315"/>
                  </a:lnTo>
                  <a:lnTo>
                    <a:pt x="458" y="315"/>
                  </a:lnTo>
                  <a:lnTo>
                    <a:pt x="456" y="300"/>
                  </a:lnTo>
                  <a:lnTo>
                    <a:pt x="454" y="285"/>
                  </a:lnTo>
                  <a:lnTo>
                    <a:pt x="450" y="272"/>
                  </a:lnTo>
                  <a:lnTo>
                    <a:pt x="445" y="259"/>
                  </a:lnTo>
                  <a:lnTo>
                    <a:pt x="439" y="245"/>
                  </a:lnTo>
                  <a:lnTo>
                    <a:pt x="432" y="234"/>
                  </a:lnTo>
                  <a:lnTo>
                    <a:pt x="425" y="223"/>
                  </a:lnTo>
                  <a:lnTo>
                    <a:pt x="415" y="212"/>
                  </a:lnTo>
                  <a:lnTo>
                    <a:pt x="405" y="204"/>
                  </a:lnTo>
                  <a:lnTo>
                    <a:pt x="394" y="195"/>
                  </a:lnTo>
                  <a:lnTo>
                    <a:pt x="382" y="188"/>
                  </a:lnTo>
                  <a:lnTo>
                    <a:pt x="370" y="182"/>
                  </a:lnTo>
                  <a:lnTo>
                    <a:pt x="356" y="177"/>
                  </a:lnTo>
                  <a:lnTo>
                    <a:pt x="342" y="173"/>
                  </a:lnTo>
                  <a:lnTo>
                    <a:pt x="328" y="171"/>
                  </a:lnTo>
                  <a:lnTo>
                    <a:pt x="314" y="171"/>
                  </a:lnTo>
                  <a:lnTo>
                    <a:pt x="314" y="171"/>
                  </a:lnTo>
                  <a:lnTo>
                    <a:pt x="299" y="171"/>
                  </a:lnTo>
                  <a:lnTo>
                    <a:pt x="285" y="173"/>
                  </a:lnTo>
                  <a:lnTo>
                    <a:pt x="271" y="177"/>
                  </a:lnTo>
                  <a:lnTo>
                    <a:pt x="258" y="182"/>
                  </a:lnTo>
                  <a:lnTo>
                    <a:pt x="244" y="188"/>
                  </a:lnTo>
                  <a:lnTo>
                    <a:pt x="233" y="195"/>
                  </a:lnTo>
                  <a:lnTo>
                    <a:pt x="222" y="204"/>
                  </a:lnTo>
                  <a:lnTo>
                    <a:pt x="212" y="212"/>
                  </a:lnTo>
                  <a:lnTo>
                    <a:pt x="203" y="223"/>
                  </a:lnTo>
                  <a:lnTo>
                    <a:pt x="194" y="234"/>
                  </a:lnTo>
                  <a:lnTo>
                    <a:pt x="187" y="245"/>
                  </a:lnTo>
                  <a:lnTo>
                    <a:pt x="181" y="259"/>
                  </a:lnTo>
                  <a:lnTo>
                    <a:pt x="176" y="272"/>
                  </a:lnTo>
                  <a:lnTo>
                    <a:pt x="173" y="285"/>
                  </a:lnTo>
                  <a:lnTo>
                    <a:pt x="170" y="300"/>
                  </a:lnTo>
                  <a:lnTo>
                    <a:pt x="170" y="315"/>
                  </a:lnTo>
                  <a:lnTo>
                    <a:pt x="170" y="752"/>
                  </a:lnTo>
                  <a:lnTo>
                    <a:pt x="0" y="752"/>
                  </a:lnTo>
                  <a:lnTo>
                    <a:pt x="0" y="315"/>
                  </a:lnTo>
                  <a:lnTo>
                    <a:pt x="0" y="315"/>
                  </a:lnTo>
                  <a:lnTo>
                    <a:pt x="0" y="298"/>
                  </a:lnTo>
                  <a:lnTo>
                    <a:pt x="1" y="282"/>
                  </a:lnTo>
                  <a:lnTo>
                    <a:pt x="3" y="266"/>
                  </a:lnTo>
                  <a:lnTo>
                    <a:pt x="6" y="251"/>
                  </a:lnTo>
                  <a:lnTo>
                    <a:pt x="9" y="235"/>
                  </a:lnTo>
                  <a:lnTo>
                    <a:pt x="13" y="221"/>
                  </a:lnTo>
                  <a:lnTo>
                    <a:pt x="18" y="206"/>
                  </a:lnTo>
                  <a:lnTo>
                    <a:pt x="24" y="192"/>
                  </a:lnTo>
                  <a:lnTo>
                    <a:pt x="30" y="178"/>
                  </a:lnTo>
                  <a:lnTo>
                    <a:pt x="37" y="165"/>
                  </a:lnTo>
                  <a:lnTo>
                    <a:pt x="45" y="151"/>
                  </a:lnTo>
                  <a:lnTo>
                    <a:pt x="53" y="139"/>
                  </a:lnTo>
                  <a:lnTo>
                    <a:pt x="71" y="115"/>
                  </a:lnTo>
                  <a:lnTo>
                    <a:pt x="91" y="92"/>
                  </a:lnTo>
                  <a:lnTo>
                    <a:pt x="114" y="72"/>
                  </a:lnTo>
                  <a:lnTo>
                    <a:pt x="137" y="54"/>
                  </a:lnTo>
                  <a:lnTo>
                    <a:pt x="151" y="45"/>
                  </a:lnTo>
                  <a:lnTo>
                    <a:pt x="164" y="38"/>
                  </a:lnTo>
                  <a:lnTo>
                    <a:pt x="177" y="31"/>
                  </a:lnTo>
                  <a:lnTo>
                    <a:pt x="191" y="25"/>
                  </a:lnTo>
                  <a:lnTo>
                    <a:pt x="205" y="18"/>
                  </a:lnTo>
                  <a:lnTo>
                    <a:pt x="220" y="14"/>
                  </a:lnTo>
                  <a:lnTo>
                    <a:pt x="235" y="10"/>
                  </a:lnTo>
                  <a:lnTo>
                    <a:pt x="251" y="6"/>
                  </a:lnTo>
                  <a:lnTo>
                    <a:pt x="265" y="4"/>
                  </a:lnTo>
                  <a:lnTo>
                    <a:pt x="281" y="1"/>
                  </a:lnTo>
                  <a:lnTo>
                    <a:pt x="297" y="0"/>
                  </a:lnTo>
                  <a:lnTo>
                    <a:pt x="314" y="0"/>
                  </a:lnTo>
                  <a:lnTo>
                    <a:pt x="314" y="0"/>
                  </a:lnTo>
                  <a:lnTo>
                    <a:pt x="330" y="0"/>
                  </a:lnTo>
                  <a:lnTo>
                    <a:pt x="345" y="1"/>
                  </a:lnTo>
                  <a:lnTo>
                    <a:pt x="361" y="4"/>
                  </a:lnTo>
                  <a:lnTo>
                    <a:pt x="377" y="6"/>
                  </a:lnTo>
                  <a:lnTo>
                    <a:pt x="392" y="10"/>
                  </a:lnTo>
                  <a:lnTo>
                    <a:pt x="406" y="14"/>
                  </a:lnTo>
                  <a:lnTo>
                    <a:pt x="421" y="18"/>
                  </a:lnTo>
                  <a:lnTo>
                    <a:pt x="436" y="25"/>
                  </a:lnTo>
                  <a:lnTo>
                    <a:pt x="449" y="31"/>
                  </a:lnTo>
                  <a:lnTo>
                    <a:pt x="464" y="38"/>
                  </a:lnTo>
                  <a:lnTo>
                    <a:pt x="476" y="45"/>
                  </a:lnTo>
                  <a:lnTo>
                    <a:pt x="489" y="54"/>
                  </a:lnTo>
                  <a:lnTo>
                    <a:pt x="514" y="72"/>
                  </a:lnTo>
                  <a:lnTo>
                    <a:pt x="535" y="92"/>
                  </a:lnTo>
                  <a:lnTo>
                    <a:pt x="556" y="115"/>
                  </a:lnTo>
                  <a:lnTo>
                    <a:pt x="574" y="139"/>
                  </a:lnTo>
                  <a:lnTo>
                    <a:pt x="582" y="151"/>
                  </a:lnTo>
                  <a:lnTo>
                    <a:pt x="590" y="165"/>
                  </a:lnTo>
                  <a:lnTo>
                    <a:pt x="596" y="178"/>
                  </a:lnTo>
                  <a:lnTo>
                    <a:pt x="602" y="192"/>
                  </a:lnTo>
                  <a:lnTo>
                    <a:pt x="609" y="206"/>
                  </a:lnTo>
                  <a:lnTo>
                    <a:pt x="613" y="221"/>
                  </a:lnTo>
                  <a:lnTo>
                    <a:pt x="618" y="235"/>
                  </a:lnTo>
                  <a:lnTo>
                    <a:pt x="621" y="251"/>
                  </a:lnTo>
                  <a:lnTo>
                    <a:pt x="624" y="266"/>
                  </a:lnTo>
                  <a:lnTo>
                    <a:pt x="626" y="282"/>
                  </a:lnTo>
                  <a:lnTo>
                    <a:pt x="627" y="298"/>
                  </a:lnTo>
                  <a:lnTo>
                    <a:pt x="628" y="315"/>
                  </a:lnTo>
                  <a:lnTo>
                    <a:pt x="628" y="752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7"/>
            <p:cNvSpPr>
              <a:spLocks/>
            </p:cNvSpPr>
            <p:nvPr userDrawn="1"/>
          </p:nvSpPr>
          <p:spPr bwMode="auto">
            <a:xfrm>
              <a:off x="1694" y="2055"/>
              <a:ext cx="87" cy="86"/>
            </a:xfrm>
            <a:custGeom>
              <a:avLst/>
              <a:gdLst>
                <a:gd name="T0" fmla="*/ 259 w 259"/>
                <a:gd name="T1" fmla="*/ 130 h 259"/>
                <a:gd name="T2" fmla="*/ 256 w 259"/>
                <a:gd name="T3" fmla="*/ 155 h 259"/>
                <a:gd name="T4" fmla="*/ 249 w 259"/>
                <a:gd name="T5" fmla="*/ 180 h 259"/>
                <a:gd name="T6" fmla="*/ 237 w 259"/>
                <a:gd name="T7" fmla="*/ 202 h 259"/>
                <a:gd name="T8" fmla="*/ 221 w 259"/>
                <a:gd name="T9" fmla="*/ 221 h 259"/>
                <a:gd name="T10" fmla="*/ 201 w 259"/>
                <a:gd name="T11" fmla="*/ 237 h 259"/>
                <a:gd name="T12" fmla="*/ 179 w 259"/>
                <a:gd name="T13" fmla="*/ 248 h 259"/>
                <a:gd name="T14" fmla="*/ 155 w 259"/>
                <a:gd name="T15" fmla="*/ 256 h 259"/>
                <a:gd name="T16" fmla="*/ 130 w 259"/>
                <a:gd name="T17" fmla="*/ 259 h 259"/>
                <a:gd name="T18" fmla="*/ 116 w 259"/>
                <a:gd name="T19" fmla="*/ 258 h 259"/>
                <a:gd name="T20" fmla="*/ 91 w 259"/>
                <a:gd name="T21" fmla="*/ 253 h 259"/>
                <a:gd name="T22" fmla="*/ 67 w 259"/>
                <a:gd name="T23" fmla="*/ 243 h 259"/>
                <a:gd name="T24" fmla="*/ 48 w 259"/>
                <a:gd name="T25" fmla="*/ 230 h 259"/>
                <a:gd name="T26" fmla="*/ 30 w 259"/>
                <a:gd name="T27" fmla="*/ 211 h 259"/>
                <a:gd name="T28" fmla="*/ 16 w 259"/>
                <a:gd name="T29" fmla="*/ 191 h 259"/>
                <a:gd name="T30" fmla="*/ 7 w 259"/>
                <a:gd name="T31" fmla="*/ 167 h 259"/>
                <a:gd name="T32" fmla="*/ 0 w 259"/>
                <a:gd name="T33" fmla="*/ 143 h 259"/>
                <a:gd name="T34" fmla="*/ 0 w 259"/>
                <a:gd name="T35" fmla="*/ 130 h 259"/>
                <a:gd name="T36" fmla="*/ 3 w 259"/>
                <a:gd name="T37" fmla="*/ 103 h 259"/>
                <a:gd name="T38" fmla="*/ 10 w 259"/>
                <a:gd name="T39" fmla="*/ 78 h 259"/>
                <a:gd name="T40" fmla="*/ 22 w 259"/>
                <a:gd name="T41" fmla="*/ 56 h 259"/>
                <a:gd name="T42" fmla="*/ 38 w 259"/>
                <a:gd name="T43" fmla="*/ 38 h 259"/>
                <a:gd name="T44" fmla="*/ 58 w 259"/>
                <a:gd name="T45" fmla="*/ 22 h 259"/>
                <a:gd name="T46" fmla="*/ 80 w 259"/>
                <a:gd name="T47" fmla="*/ 10 h 259"/>
                <a:gd name="T48" fmla="*/ 104 w 259"/>
                <a:gd name="T49" fmla="*/ 3 h 259"/>
                <a:gd name="T50" fmla="*/ 130 w 259"/>
                <a:gd name="T51" fmla="*/ 0 h 259"/>
                <a:gd name="T52" fmla="*/ 143 w 259"/>
                <a:gd name="T53" fmla="*/ 0 h 259"/>
                <a:gd name="T54" fmla="*/ 167 w 259"/>
                <a:gd name="T55" fmla="*/ 5 h 259"/>
                <a:gd name="T56" fmla="*/ 190 w 259"/>
                <a:gd name="T57" fmla="*/ 15 h 259"/>
                <a:gd name="T58" fmla="*/ 211 w 259"/>
                <a:gd name="T59" fmla="*/ 30 h 259"/>
                <a:gd name="T60" fmla="*/ 229 w 259"/>
                <a:gd name="T61" fmla="*/ 47 h 259"/>
                <a:gd name="T62" fmla="*/ 243 w 259"/>
                <a:gd name="T63" fmla="*/ 67 h 259"/>
                <a:gd name="T64" fmla="*/ 253 w 259"/>
                <a:gd name="T65" fmla="*/ 91 h 259"/>
                <a:gd name="T66" fmla="*/ 257 w 259"/>
                <a:gd name="T67" fmla="*/ 11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9" h="259">
                  <a:moveTo>
                    <a:pt x="259" y="130"/>
                  </a:moveTo>
                  <a:lnTo>
                    <a:pt x="259" y="130"/>
                  </a:lnTo>
                  <a:lnTo>
                    <a:pt x="257" y="143"/>
                  </a:lnTo>
                  <a:lnTo>
                    <a:pt x="256" y="155"/>
                  </a:lnTo>
                  <a:lnTo>
                    <a:pt x="253" y="167"/>
                  </a:lnTo>
                  <a:lnTo>
                    <a:pt x="249" y="180"/>
                  </a:lnTo>
                  <a:lnTo>
                    <a:pt x="243" y="191"/>
                  </a:lnTo>
                  <a:lnTo>
                    <a:pt x="237" y="202"/>
                  </a:lnTo>
                  <a:lnTo>
                    <a:pt x="229" y="211"/>
                  </a:lnTo>
                  <a:lnTo>
                    <a:pt x="221" y="221"/>
                  </a:lnTo>
                  <a:lnTo>
                    <a:pt x="211" y="230"/>
                  </a:lnTo>
                  <a:lnTo>
                    <a:pt x="201" y="237"/>
                  </a:lnTo>
                  <a:lnTo>
                    <a:pt x="190" y="243"/>
                  </a:lnTo>
                  <a:lnTo>
                    <a:pt x="179" y="248"/>
                  </a:lnTo>
                  <a:lnTo>
                    <a:pt x="167" y="253"/>
                  </a:lnTo>
                  <a:lnTo>
                    <a:pt x="155" y="256"/>
                  </a:lnTo>
                  <a:lnTo>
                    <a:pt x="143" y="258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16" y="258"/>
                  </a:lnTo>
                  <a:lnTo>
                    <a:pt x="104" y="256"/>
                  </a:lnTo>
                  <a:lnTo>
                    <a:pt x="91" y="253"/>
                  </a:lnTo>
                  <a:lnTo>
                    <a:pt x="80" y="248"/>
                  </a:lnTo>
                  <a:lnTo>
                    <a:pt x="67" y="243"/>
                  </a:lnTo>
                  <a:lnTo>
                    <a:pt x="58" y="237"/>
                  </a:lnTo>
                  <a:lnTo>
                    <a:pt x="48" y="230"/>
                  </a:lnTo>
                  <a:lnTo>
                    <a:pt x="38" y="221"/>
                  </a:lnTo>
                  <a:lnTo>
                    <a:pt x="30" y="211"/>
                  </a:lnTo>
                  <a:lnTo>
                    <a:pt x="22" y="202"/>
                  </a:lnTo>
                  <a:lnTo>
                    <a:pt x="16" y="191"/>
                  </a:lnTo>
                  <a:lnTo>
                    <a:pt x="10" y="180"/>
                  </a:lnTo>
                  <a:lnTo>
                    <a:pt x="7" y="167"/>
                  </a:lnTo>
                  <a:lnTo>
                    <a:pt x="3" y="155"/>
                  </a:lnTo>
                  <a:lnTo>
                    <a:pt x="0" y="143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3" y="103"/>
                  </a:lnTo>
                  <a:lnTo>
                    <a:pt x="7" y="91"/>
                  </a:lnTo>
                  <a:lnTo>
                    <a:pt x="10" y="78"/>
                  </a:lnTo>
                  <a:lnTo>
                    <a:pt x="16" y="67"/>
                  </a:lnTo>
                  <a:lnTo>
                    <a:pt x="22" y="56"/>
                  </a:lnTo>
                  <a:lnTo>
                    <a:pt x="30" y="47"/>
                  </a:lnTo>
                  <a:lnTo>
                    <a:pt x="38" y="38"/>
                  </a:lnTo>
                  <a:lnTo>
                    <a:pt x="48" y="30"/>
                  </a:lnTo>
                  <a:lnTo>
                    <a:pt x="58" y="22"/>
                  </a:lnTo>
                  <a:lnTo>
                    <a:pt x="67" y="15"/>
                  </a:lnTo>
                  <a:lnTo>
                    <a:pt x="80" y="10"/>
                  </a:lnTo>
                  <a:lnTo>
                    <a:pt x="91" y="5"/>
                  </a:lnTo>
                  <a:lnTo>
                    <a:pt x="104" y="3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43" y="0"/>
                  </a:lnTo>
                  <a:lnTo>
                    <a:pt x="155" y="3"/>
                  </a:lnTo>
                  <a:lnTo>
                    <a:pt x="167" y="5"/>
                  </a:lnTo>
                  <a:lnTo>
                    <a:pt x="179" y="10"/>
                  </a:lnTo>
                  <a:lnTo>
                    <a:pt x="190" y="15"/>
                  </a:lnTo>
                  <a:lnTo>
                    <a:pt x="201" y="22"/>
                  </a:lnTo>
                  <a:lnTo>
                    <a:pt x="211" y="30"/>
                  </a:lnTo>
                  <a:lnTo>
                    <a:pt x="221" y="38"/>
                  </a:lnTo>
                  <a:lnTo>
                    <a:pt x="229" y="47"/>
                  </a:lnTo>
                  <a:lnTo>
                    <a:pt x="237" y="56"/>
                  </a:lnTo>
                  <a:lnTo>
                    <a:pt x="243" y="67"/>
                  </a:lnTo>
                  <a:lnTo>
                    <a:pt x="249" y="78"/>
                  </a:lnTo>
                  <a:lnTo>
                    <a:pt x="253" y="91"/>
                  </a:lnTo>
                  <a:lnTo>
                    <a:pt x="256" y="103"/>
                  </a:lnTo>
                  <a:lnTo>
                    <a:pt x="257" y="116"/>
                  </a:lnTo>
                  <a:lnTo>
                    <a:pt x="259" y="13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8"/>
            <p:cNvSpPr>
              <a:spLocks/>
            </p:cNvSpPr>
            <p:nvPr userDrawn="1"/>
          </p:nvSpPr>
          <p:spPr bwMode="auto">
            <a:xfrm>
              <a:off x="1694" y="2055"/>
              <a:ext cx="87" cy="86"/>
            </a:xfrm>
            <a:custGeom>
              <a:avLst/>
              <a:gdLst>
                <a:gd name="T0" fmla="*/ 259 w 259"/>
                <a:gd name="T1" fmla="*/ 130 h 259"/>
                <a:gd name="T2" fmla="*/ 256 w 259"/>
                <a:gd name="T3" fmla="*/ 155 h 259"/>
                <a:gd name="T4" fmla="*/ 249 w 259"/>
                <a:gd name="T5" fmla="*/ 180 h 259"/>
                <a:gd name="T6" fmla="*/ 237 w 259"/>
                <a:gd name="T7" fmla="*/ 202 h 259"/>
                <a:gd name="T8" fmla="*/ 221 w 259"/>
                <a:gd name="T9" fmla="*/ 221 h 259"/>
                <a:gd name="T10" fmla="*/ 201 w 259"/>
                <a:gd name="T11" fmla="*/ 237 h 259"/>
                <a:gd name="T12" fmla="*/ 179 w 259"/>
                <a:gd name="T13" fmla="*/ 248 h 259"/>
                <a:gd name="T14" fmla="*/ 155 w 259"/>
                <a:gd name="T15" fmla="*/ 256 h 259"/>
                <a:gd name="T16" fmla="*/ 130 w 259"/>
                <a:gd name="T17" fmla="*/ 259 h 259"/>
                <a:gd name="T18" fmla="*/ 116 w 259"/>
                <a:gd name="T19" fmla="*/ 258 h 259"/>
                <a:gd name="T20" fmla="*/ 91 w 259"/>
                <a:gd name="T21" fmla="*/ 253 h 259"/>
                <a:gd name="T22" fmla="*/ 67 w 259"/>
                <a:gd name="T23" fmla="*/ 243 h 259"/>
                <a:gd name="T24" fmla="*/ 48 w 259"/>
                <a:gd name="T25" fmla="*/ 230 h 259"/>
                <a:gd name="T26" fmla="*/ 30 w 259"/>
                <a:gd name="T27" fmla="*/ 211 h 259"/>
                <a:gd name="T28" fmla="*/ 16 w 259"/>
                <a:gd name="T29" fmla="*/ 191 h 259"/>
                <a:gd name="T30" fmla="*/ 7 w 259"/>
                <a:gd name="T31" fmla="*/ 167 h 259"/>
                <a:gd name="T32" fmla="*/ 0 w 259"/>
                <a:gd name="T33" fmla="*/ 143 h 259"/>
                <a:gd name="T34" fmla="*/ 0 w 259"/>
                <a:gd name="T35" fmla="*/ 130 h 259"/>
                <a:gd name="T36" fmla="*/ 3 w 259"/>
                <a:gd name="T37" fmla="*/ 103 h 259"/>
                <a:gd name="T38" fmla="*/ 10 w 259"/>
                <a:gd name="T39" fmla="*/ 78 h 259"/>
                <a:gd name="T40" fmla="*/ 22 w 259"/>
                <a:gd name="T41" fmla="*/ 56 h 259"/>
                <a:gd name="T42" fmla="*/ 38 w 259"/>
                <a:gd name="T43" fmla="*/ 38 h 259"/>
                <a:gd name="T44" fmla="*/ 58 w 259"/>
                <a:gd name="T45" fmla="*/ 22 h 259"/>
                <a:gd name="T46" fmla="*/ 80 w 259"/>
                <a:gd name="T47" fmla="*/ 10 h 259"/>
                <a:gd name="T48" fmla="*/ 104 w 259"/>
                <a:gd name="T49" fmla="*/ 3 h 259"/>
                <a:gd name="T50" fmla="*/ 130 w 259"/>
                <a:gd name="T51" fmla="*/ 0 h 259"/>
                <a:gd name="T52" fmla="*/ 143 w 259"/>
                <a:gd name="T53" fmla="*/ 0 h 259"/>
                <a:gd name="T54" fmla="*/ 167 w 259"/>
                <a:gd name="T55" fmla="*/ 5 h 259"/>
                <a:gd name="T56" fmla="*/ 190 w 259"/>
                <a:gd name="T57" fmla="*/ 15 h 259"/>
                <a:gd name="T58" fmla="*/ 211 w 259"/>
                <a:gd name="T59" fmla="*/ 30 h 259"/>
                <a:gd name="T60" fmla="*/ 229 w 259"/>
                <a:gd name="T61" fmla="*/ 47 h 259"/>
                <a:gd name="T62" fmla="*/ 243 w 259"/>
                <a:gd name="T63" fmla="*/ 67 h 259"/>
                <a:gd name="T64" fmla="*/ 253 w 259"/>
                <a:gd name="T65" fmla="*/ 91 h 259"/>
                <a:gd name="T66" fmla="*/ 257 w 259"/>
                <a:gd name="T67" fmla="*/ 11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9" h="259">
                  <a:moveTo>
                    <a:pt x="259" y="130"/>
                  </a:moveTo>
                  <a:lnTo>
                    <a:pt x="259" y="130"/>
                  </a:lnTo>
                  <a:lnTo>
                    <a:pt x="257" y="143"/>
                  </a:lnTo>
                  <a:lnTo>
                    <a:pt x="256" y="155"/>
                  </a:lnTo>
                  <a:lnTo>
                    <a:pt x="253" y="167"/>
                  </a:lnTo>
                  <a:lnTo>
                    <a:pt x="249" y="180"/>
                  </a:lnTo>
                  <a:lnTo>
                    <a:pt x="243" y="191"/>
                  </a:lnTo>
                  <a:lnTo>
                    <a:pt x="237" y="202"/>
                  </a:lnTo>
                  <a:lnTo>
                    <a:pt x="229" y="211"/>
                  </a:lnTo>
                  <a:lnTo>
                    <a:pt x="221" y="221"/>
                  </a:lnTo>
                  <a:lnTo>
                    <a:pt x="211" y="230"/>
                  </a:lnTo>
                  <a:lnTo>
                    <a:pt x="201" y="237"/>
                  </a:lnTo>
                  <a:lnTo>
                    <a:pt x="190" y="243"/>
                  </a:lnTo>
                  <a:lnTo>
                    <a:pt x="179" y="248"/>
                  </a:lnTo>
                  <a:lnTo>
                    <a:pt x="167" y="253"/>
                  </a:lnTo>
                  <a:lnTo>
                    <a:pt x="155" y="256"/>
                  </a:lnTo>
                  <a:lnTo>
                    <a:pt x="143" y="258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16" y="258"/>
                  </a:lnTo>
                  <a:lnTo>
                    <a:pt x="104" y="256"/>
                  </a:lnTo>
                  <a:lnTo>
                    <a:pt x="91" y="253"/>
                  </a:lnTo>
                  <a:lnTo>
                    <a:pt x="80" y="248"/>
                  </a:lnTo>
                  <a:lnTo>
                    <a:pt x="67" y="243"/>
                  </a:lnTo>
                  <a:lnTo>
                    <a:pt x="58" y="237"/>
                  </a:lnTo>
                  <a:lnTo>
                    <a:pt x="48" y="230"/>
                  </a:lnTo>
                  <a:lnTo>
                    <a:pt x="38" y="221"/>
                  </a:lnTo>
                  <a:lnTo>
                    <a:pt x="30" y="211"/>
                  </a:lnTo>
                  <a:lnTo>
                    <a:pt x="22" y="202"/>
                  </a:lnTo>
                  <a:lnTo>
                    <a:pt x="16" y="191"/>
                  </a:lnTo>
                  <a:lnTo>
                    <a:pt x="10" y="180"/>
                  </a:lnTo>
                  <a:lnTo>
                    <a:pt x="7" y="167"/>
                  </a:lnTo>
                  <a:lnTo>
                    <a:pt x="3" y="155"/>
                  </a:lnTo>
                  <a:lnTo>
                    <a:pt x="0" y="143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3" y="103"/>
                  </a:lnTo>
                  <a:lnTo>
                    <a:pt x="7" y="91"/>
                  </a:lnTo>
                  <a:lnTo>
                    <a:pt x="10" y="78"/>
                  </a:lnTo>
                  <a:lnTo>
                    <a:pt x="16" y="67"/>
                  </a:lnTo>
                  <a:lnTo>
                    <a:pt x="22" y="56"/>
                  </a:lnTo>
                  <a:lnTo>
                    <a:pt x="30" y="47"/>
                  </a:lnTo>
                  <a:lnTo>
                    <a:pt x="38" y="38"/>
                  </a:lnTo>
                  <a:lnTo>
                    <a:pt x="48" y="30"/>
                  </a:lnTo>
                  <a:lnTo>
                    <a:pt x="58" y="22"/>
                  </a:lnTo>
                  <a:lnTo>
                    <a:pt x="67" y="15"/>
                  </a:lnTo>
                  <a:lnTo>
                    <a:pt x="80" y="10"/>
                  </a:lnTo>
                  <a:lnTo>
                    <a:pt x="91" y="5"/>
                  </a:lnTo>
                  <a:lnTo>
                    <a:pt x="104" y="3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43" y="0"/>
                  </a:lnTo>
                  <a:lnTo>
                    <a:pt x="155" y="3"/>
                  </a:lnTo>
                  <a:lnTo>
                    <a:pt x="167" y="5"/>
                  </a:lnTo>
                  <a:lnTo>
                    <a:pt x="179" y="10"/>
                  </a:lnTo>
                  <a:lnTo>
                    <a:pt x="190" y="15"/>
                  </a:lnTo>
                  <a:lnTo>
                    <a:pt x="201" y="22"/>
                  </a:lnTo>
                  <a:lnTo>
                    <a:pt x="211" y="30"/>
                  </a:lnTo>
                  <a:lnTo>
                    <a:pt x="221" y="38"/>
                  </a:lnTo>
                  <a:lnTo>
                    <a:pt x="229" y="47"/>
                  </a:lnTo>
                  <a:lnTo>
                    <a:pt x="237" y="56"/>
                  </a:lnTo>
                  <a:lnTo>
                    <a:pt x="243" y="67"/>
                  </a:lnTo>
                  <a:lnTo>
                    <a:pt x="249" y="78"/>
                  </a:lnTo>
                  <a:lnTo>
                    <a:pt x="253" y="91"/>
                  </a:lnTo>
                  <a:lnTo>
                    <a:pt x="256" y="103"/>
                  </a:lnTo>
                  <a:lnTo>
                    <a:pt x="257" y="116"/>
                  </a:lnTo>
                  <a:lnTo>
                    <a:pt x="259" y="1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9"/>
            <p:cNvSpPr>
              <a:spLocks noEditPoints="1"/>
            </p:cNvSpPr>
            <p:nvPr userDrawn="1"/>
          </p:nvSpPr>
          <p:spPr bwMode="auto">
            <a:xfrm>
              <a:off x="1148" y="2410"/>
              <a:ext cx="45" cy="68"/>
            </a:xfrm>
            <a:custGeom>
              <a:avLst/>
              <a:gdLst>
                <a:gd name="T0" fmla="*/ 103 w 134"/>
                <a:gd name="T1" fmla="*/ 88 h 205"/>
                <a:gd name="T2" fmla="*/ 114 w 134"/>
                <a:gd name="T3" fmla="*/ 96 h 205"/>
                <a:gd name="T4" fmla="*/ 125 w 134"/>
                <a:gd name="T5" fmla="*/ 107 h 205"/>
                <a:gd name="T6" fmla="*/ 131 w 134"/>
                <a:gd name="T7" fmla="*/ 123 h 205"/>
                <a:gd name="T8" fmla="*/ 134 w 134"/>
                <a:gd name="T9" fmla="*/ 140 h 205"/>
                <a:gd name="T10" fmla="*/ 133 w 134"/>
                <a:gd name="T11" fmla="*/ 153 h 205"/>
                <a:gd name="T12" fmla="*/ 122 w 134"/>
                <a:gd name="T13" fmla="*/ 177 h 205"/>
                <a:gd name="T14" fmla="*/ 105 w 134"/>
                <a:gd name="T15" fmla="*/ 194 h 205"/>
                <a:gd name="T16" fmla="*/ 82 w 134"/>
                <a:gd name="T17" fmla="*/ 203 h 205"/>
                <a:gd name="T18" fmla="*/ 0 w 134"/>
                <a:gd name="T19" fmla="*/ 205 h 205"/>
                <a:gd name="T20" fmla="*/ 67 w 134"/>
                <a:gd name="T21" fmla="*/ 0 h 205"/>
                <a:gd name="T22" fmla="*/ 80 w 134"/>
                <a:gd name="T23" fmla="*/ 1 h 205"/>
                <a:gd name="T24" fmla="*/ 99 w 134"/>
                <a:gd name="T25" fmla="*/ 8 h 205"/>
                <a:gd name="T26" fmla="*/ 114 w 134"/>
                <a:gd name="T27" fmla="*/ 23 h 205"/>
                <a:gd name="T28" fmla="*/ 121 w 134"/>
                <a:gd name="T29" fmla="*/ 41 h 205"/>
                <a:gd name="T30" fmla="*/ 121 w 134"/>
                <a:gd name="T31" fmla="*/ 53 h 205"/>
                <a:gd name="T32" fmla="*/ 120 w 134"/>
                <a:gd name="T33" fmla="*/ 64 h 205"/>
                <a:gd name="T34" fmla="*/ 110 w 134"/>
                <a:gd name="T35" fmla="*/ 83 h 205"/>
                <a:gd name="T36" fmla="*/ 103 w 134"/>
                <a:gd name="T37" fmla="*/ 88 h 205"/>
                <a:gd name="T38" fmla="*/ 67 w 134"/>
                <a:gd name="T39" fmla="*/ 75 h 205"/>
                <a:gd name="T40" fmla="*/ 72 w 134"/>
                <a:gd name="T41" fmla="*/ 74 h 205"/>
                <a:gd name="T42" fmla="*/ 81 w 134"/>
                <a:gd name="T43" fmla="*/ 72 h 205"/>
                <a:gd name="T44" fmla="*/ 86 w 134"/>
                <a:gd name="T45" fmla="*/ 66 h 205"/>
                <a:gd name="T46" fmla="*/ 89 w 134"/>
                <a:gd name="T47" fmla="*/ 58 h 205"/>
                <a:gd name="T48" fmla="*/ 89 w 134"/>
                <a:gd name="T49" fmla="*/ 53 h 205"/>
                <a:gd name="T50" fmla="*/ 88 w 134"/>
                <a:gd name="T51" fmla="*/ 44 h 205"/>
                <a:gd name="T52" fmla="*/ 83 w 134"/>
                <a:gd name="T53" fmla="*/ 38 h 205"/>
                <a:gd name="T54" fmla="*/ 76 w 134"/>
                <a:gd name="T55" fmla="*/ 33 h 205"/>
                <a:gd name="T56" fmla="*/ 67 w 134"/>
                <a:gd name="T57" fmla="*/ 31 h 205"/>
                <a:gd name="T58" fmla="*/ 33 w 134"/>
                <a:gd name="T59" fmla="*/ 75 h 205"/>
                <a:gd name="T60" fmla="*/ 67 w 134"/>
                <a:gd name="T61" fmla="*/ 174 h 205"/>
                <a:gd name="T62" fmla="*/ 75 w 134"/>
                <a:gd name="T63" fmla="*/ 173 h 205"/>
                <a:gd name="T64" fmla="*/ 87 w 134"/>
                <a:gd name="T65" fmla="*/ 168 h 205"/>
                <a:gd name="T66" fmla="*/ 97 w 134"/>
                <a:gd name="T67" fmla="*/ 160 h 205"/>
                <a:gd name="T68" fmla="*/ 100 w 134"/>
                <a:gd name="T69" fmla="*/ 147 h 205"/>
                <a:gd name="T70" fmla="*/ 101 w 134"/>
                <a:gd name="T71" fmla="*/ 140 h 205"/>
                <a:gd name="T72" fmla="*/ 99 w 134"/>
                <a:gd name="T73" fmla="*/ 127 h 205"/>
                <a:gd name="T74" fmla="*/ 92 w 134"/>
                <a:gd name="T75" fmla="*/ 116 h 205"/>
                <a:gd name="T76" fmla="*/ 82 w 134"/>
                <a:gd name="T77" fmla="*/ 108 h 205"/>
                <a:gd name="T78" fmla="*/ 67 w 134"/>
                <a:gd name="T79" fmla="*/ 106 h 205"/>
                <a:gd name="T80" fmla="*/ 33 w 134"/>
                <a:gd name="T81" fmla="*/ 17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4" h="205">
                  <a:moveTo>
                    <a:pt x="103" y="88"/>
                  </a:moveTo>
                  <a:lnTo>
                    <a:pt x="103" y="88"/>
                  </a:lnTo>
                  <a:lnTo>
                    <a:pt x="109" y="91"/>
                  </a:lnTo>
                  <a:lnTo>
                    <a:pt x="114" y="96"/>
                  </a:lnTo>
                  <a:lnTo>
                    <a:pt x="120" y="101"/>
                  </a:lnTo>
                  <a:lnTo>
                    <a:pt x="125" y="107"/>
                  </a:lnTo>
                  <a:lnTo>
                    <a:pt x="128" y="114"/>
                  </a:lnTo>
                  <a:lnTo>
                    <a:pt x="131" y="123"/>
                  </a:lnTo>
                  <a:lnTo>
                    <a:pt x="133" y="130"/>
                  </a:lnTo>
                  <a:lnTo>
                    <a:pt x="134" y="140"/>
                  </a:lnTo>
                  <a:lnTo>
                    <a:pt x="134" y="140"/>
                  </a:lnTo>
                  <a:lnTo>
                    <a:pt x="133" y="153"/>
                  </a:lnTo>
                  <a:lnTo>
                    <a:pt x="128" y="166"/>
                  </a:lnTo>
                  <a:lnTo>
                    <a:pt x="122" y="177"/>
                  </a:lnTo>
                  <a:lnTo>
                    <a:pt x="115" y="186"/>
                  </a:lnTo>
                  <a:lnTo>
                    <a:pt x="105" y="194"/>
                  </a:lnTo>
                  <a:lnTo>
                    <a:pt x="94" y="200"/>
                  </a:lnTo>
                  <a:lnTo>
                    <a:pt x="82" y="203"/>
                  </a:lnTo>
                  <a:lnTo>
                    <a:pt x="69" y="205"/>
                  </a:lnTo>
                  <a:lnTo>
                    <a:pt x="0" y="205"/>
                  </a:lnTo>
                  <a:lnTo>
                    <a:pt x="0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80" y="1"/>
                  </a:lnTo>
                  <a:lnTo>
                    <a:pt x="89" y="3"/>
                  </a:lnTo>
                  <a:lnTo>
                    <a:pt x="99" y="8"/>
                  </a:lnTo>
                  <a:lnTo>
                    <a:pt x="106" y="14"/>
                  </a:lnTo>
                  <a:lnTo>
                    <a:pt x="114" y="23"/>
                  </a:lnTo>
                  <a:lnTo>
                    <a:pt x="117" y="31"/>
                  </a:lnTo>
                  <a:lnTo>
                    <a:pt x="121" y="41"/>
                  </a:lnTo>
                  <a:lnTo>
                    <a:pt x="121" y="53"/>
                  </a:lnTo>
                  <a:lnTo>
                    <a:pt x="121" y="53"/>
                  </a:lnTo>
                  <a:lnTo>
                    <a:pt x="121" y="60"/>
                  </a:lnTo>
                  <a:lnTo>
                    <a:pt x="120" y="64"/>
                  </a:lnTo>
                  <a:lnTo>
                    <a:pt x="116" y="74"/>
                  </a:lnTo>
                  <a:lnTo>
                    <a:pt x="110" y="83"/>
                  </a:lnTo>
                  <a:lnTo>
                    <a:pt x="103" y="88"/>
                  </a:lnTo>
                  <a:lnTo>
                    <a:pt x="103" y="88"/>
                  </a:lnTo>
                  <a:close/>
                  <a:moveTo>
                    <a:pt x="33" y="75"/>
                  </a:moveTo>
                  <a:lnTo>
                    <a:pt x="67" y="75"/>
                  </a:lnTo>
                  <a:lnTo>
                    <a:pt x="67" y="75"/>
                  </a:lnTo>
                  <a:lnTo>
                    <a:pt x="72" y="74"/>
                  </a:lnTo>
                  <a:lnTo>
                    <a:pt x="76" y="73"/>
                  </a:lnTo>
                  <a:lnTo>
                    <a:pt x="81" y="72"/>
                  </a:lnTo>
                  <a:lnTo>
                    <a:pt x="83" y="69"/>
                  </a:lnTo>
                  <a:lnTo>
                    <a:pt x="86" y="66"/>
                  </a:lnTo>
                  <a:lnTo>
                    <a:pt x="88" y="62"/>
                  </a:lnTo>
                  <a:lnTo>
                    <a:pt x="89" y="58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49"/>
                  </a:lnTo>
                  <a:lnTo>
                    <a:pt x="88" y="44"/>
                  </a:lnTo>
                  <a:lnTo>
                    <a:pt x="86" y="40"/>
                  </a:lnTo>
                  <a:lnTo>
                    <a:pt x="83" y="38"/>
                  </a:lnTo>
                  <a:lnTo>
                    <a:pt x="81" y="34"/>
                  </a:lnTo>
                  <a:lnTo>
                    <a:pt x="76" y="33"/>
                  </a:lnTo>
                  <a:lnTo>
                    <a:pt x="72" y="31"/>
                  </a:lnTo>
                  <a:lnTo>
                    <a:pt x="67" y="31"/>
                  </a:lnTo>
                  <a:lnTo>
                    <a:pt x="33" y="31"/>
                  </a:lnTo>
                  <a:lnTo>
                    <a:pt x="33" y="75"/>
                  </a:lnTo>
                  <a:close/>
                  <a:moveTo>
                    <a:pt x="33" y="174"/>
                  </a:moveTo>
                  <a:lnTo>
                    <a:pt x="67" y="174"/>
                  </a:lnTo>
                  <a:lnTo>
                    <a:pt x="67" y="174"/>
                  </a:lnTo>
                  <a:lnTo>
                    <a:pt x="75" y="173"/>
                  </a:lnTo>
                  <a:lnTo>
                    <a:pt x="82" y="172"/>
                  </a:lnTo>
                  <a:lnTo>
                    <a:pt x="87" y="168"/>
                  </a:lnTo>
                  <a:lnTo>
                    <a:pt x="92" y="164"/>
                  </a:lnTo>
                  <a:lnTo>
                    <a:pt x="97" y="160"/>
                  </a:lnTo>
                  <a:lnTo>
                    <a:pt x="99" y="153"/>
                  </a:lnTo>
                  <a:lnTo>
                    <a:pt x="100" y="147"/>
                  </a:lnTo>
                  <a:lnTo>
                    <a:pt x="101" y="140"/>
                  </a:lnTo>
                  <a:lnTo>
                    <a:pt x="101" y="140"/>
                  </a:lnTo>
                  <a:lnTo>
                    <a:pt x="100" y="133"/>
                  </a:lnTo>
                  <a:lnTo>
                    <a:pt x="99" y="127"/>
                  </a:lnTo>
                  <a:lnTo>
                    <a:pt x="97" y="120"/>
                  </a:lnTo>
                  <a:lnTo>
                    <a:pt x="92" y="116"/>
                  </a:lnTo>
                  <a:lnTo>
                    <a:pt x="87" y="111"/>
                  </a:lnTo>
                  <a:lnTo>
                    <a:pt x="82" y="108"/>
                  </a:lnTo>
                  <a:lnTo>
                    <a:pt x="75" y="107"/>
                  </a:lnTo>
                  <a:lnTo>
                    <a:pt x="67" y="106"/>
                  </a:lnTo>
                  <a:lnTo>
                    <a:pt x="33" y="106"/>
                  </a:lnTo>
                  <a:lnTo>
                    <a:pt x="33" y="17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0"/>
            <p:cNvSpPr>
              <a:spLocks noEditPoints="1"/>
            </p:cNvSpPr>
            <p:nvPr userDrawn="1"/>
          </p:nvSpPr>
          <p:spPr bwMode="auto">
            <a:xfrm>
              <a:off x="1201" y="2429"/>
              <a:ext cx="50" cy="50"/>
            </a:xfrm>
            <a:custGeom>
              <a:avLst/>
              <a:gdLst>
                <a:gd name="T0" fmla="*/ 34 w 148"/>
                <a:gd name="T1" fmla="*/ 85 h 149"/>
                <a:gd name="T2" fmla="*/ 39 w 148"/>
                <a:gd name="T3" fmla="*/ 99 h 149"/>
                <a:gd name="T4" fmla="*/ 47 w 148"/>
                <a:gd name="T5" fmla="*/ 110 h 149"/>
                <a:gd name="T6" fmla="*/ 60 w 148"/>
                <a:gd name="T7" fmla="*/ 116 h 149"/>
                <a:gd name="T8" fmla="*/ 75 w 148"/>
                <a:gd name="T9" fmla="*/ 120 h 149"/>
                <a:gd name="T10" fmla="*/ 85 w 148"/>
                <a:gd name="T11" fmla="*/ 118 h 149"/>
                <a:gd name="T12" fmla="*/ 102 w 148"/>
                <a:gd name="T13" fmla="*/ 111 h 149"/>
                <a:gd name="T14" fmla="*/ 146 w 148"/>
                <a:gd name="T15" fmla="*/ 105 h 149"/>
                <a:gd name="T16" fmla="*/ 141 w 148"/>
                <a:gd name="T17" fmla="*/ 115 h 149"/>
                <a:gd name="T18" fmla="*/ 128 w 148"/>
                <a:gd name="T19" fmla="*/ 131 h 149"/>
                <a:gd name="T20" fmla="*/ 109 w 148"/>
                <a:gd name="T21" fmla="*/ 143 h 149"/>
                <a:gd name="T22" fmla="*/ 86 w 148"/>
                <a:gd name="T23" fmla="*/ 149 h 149"/>
                <a:gd name="T24" fmla="*/ 75 w 148"/>
                <a:gd name="T25" fmla="*/ 149 h 149"/>
                <a:gd name="T26" fmla="*/ 60 w 148"/>
                <a:gd name="T27" fmla="*/ 148 h 149"/>
                <a:gd name="T28" fmla="*/ 45 w 148"/>
                <a:gd name="T29" fmla="*/ 144 h 149"/>
                <a:gd name="T30" fmla="*/ 22 w 148"/>
                <a:gd name="T31" fmla="*/ 128 h 149"/>
                <a:gd name="T32" fmla="*/ 6 w 148"/>
                <a:gd name="T33" fmla="*/ 104 h 149"/>
                <a:gd name="T34" fmla="*/ 1 w 148"/>
                <a:gd name="T35" fmla="*/ 90 h 149"/>
                <a:gd name="T36" fmla="*/ 0 w 148"/>
                <a:gd name="T37" fmla="*/ 74 h 149"/>
                <a:gd name="T38" fmla="*/ 0 w 148"/>
                <a:gd name="T39" fmla="*/ 67 h 149"/>
                <a:gd name="T40" fmla="*/ 6 w 148"/>
                <a:gd name="T41" fmla="*/ 45 h 149"/>
                <a:gd name="T42" fmla="*/ 22 w 148"/>
                <a:gd name="T43" fmla="*/ 22 h 149"/>
                <a:gd name="T44" fmla="*/ 45 w 148"/>
                <a:gd name="T45" fmla="*/ 6 h 149"/>
                <a:gd name="T46" fmla="*/ 58 w 148"/>
                <a:gd name="T47" fmla="*/ 1 h 149"/>
                <a:gd name="T48" fmla="*/ 74 w 148"/>
                <a:gd name="T49" fmla="*/ 0 h 149"/>
                <a:gd name="T50" fmla="*/ 81 w 148"/>
                <a:gd name="T51" fmla="*/ 0 h 149"/>
                <a:gd name="T52" fmla="*/ 96 w 148"/>
                <a:gd name="T53" fmla="*/ 4 h 149"/>
                <a:gd name="T54" fmla="*/ 116 w 148"/>
                <a:gd name="T55" fmla="*/ 12 h 149"/>
                <a:gd name="T56" fmla="*/ 135 w 148"/>
                <a:gd name="T57" fmla="*/ 33 h 149"/>
                <a:gd name="T58" fmla="*/ 146 w 148"/>
                <a:gd name="T59" fmla="*/ 60 h 149"/>
                <a:gd name="T60" fmla="*/ 148 w 148"/>
                <a:gd name="T61" fmla="*/ 74 h 149"/>
                <a:gd name="T62" fmla="*/ 147 w 148"/>
                <a:gd name="T63" fmla="*/ 85 h 149"/>
                <a:gd name="T64" fmla="*/ 35 w 148"/>
                <a:gd name="T65" fmla="*/ 57 h 149"/>
                <a:gd name="T66" fmla="*/ 113 w 148"/>
                <a:gd name="T67" fmla="*/ 57 h 149"/>
                <a:gd name="T68" fmla="*/ 107 w 148"/>
                <a:gd name="T69" fmla="*/ 46 h 149"/>
                <a:gd name="T70" fmla="*/ 99 w 148"/>
                <a:gd name="T71" fmla="*/ 38 h 149"/>
                <a:gd name="T72" fmla="*/ 88 w 148"/>
                <a:gd name="T73" fmla="*/ 32 h 149"/>
                <a:gd name="T74" fmla="*/ 74 w 148"/>
                <a:gd name="T75" fmla="*/ 29 h 149"/>
                <a:gd name="T76" fmla="*/ 67 w 148"/>
                <a:gd name="T77" fmla="*/ 31 h 149"/>
                <a:gd name="T78" fmla="*/ 55 w 148"/>
                <a:gd name="T79" fmla="*/ 34 h 149"/>
                <a:gd name="T80" fmla="*/ 45 w 148"/>
                <a:gd name="T81" fmla="*/ 42 h 149"/>
                <a:gd name="T82" fmla="*/ 38 w 148"/>
                <a:gd name="T83" fmla="*/ 51 h 149"/>
                <a:gd name="T84" fmla="*/ 35 w 148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9">
                  <a:moveTo>
                    <a:pt x="34" y="85"/>
                  </a:moveTo>
                  <a:lnTo>
                    <a:pt x="34" y="85"/>
                  </a:lnTo>
                  <a:lnTo>
                    <a:pt x="35" y="93"/>
                  </a:lnTo>
                  <a:lnTo>
                    <a:pt x="39" y="99"/>
                  </a:lnTo>
                  <a:lnTo>
                    <a:pt x="42" y="105"/>
                  </a:lnTo>
                  <a:lnTo>
                    <a:pt x="47" y="110"/>
                  </a:lnTo>
                  <a:lnTo>
                    <a:pt x="53" y="113"/>
                  </a:lnTo>
                  <a:lnTo>
                    <a:pt x="60" y="116"/>
                  </a:lnTo>
                  <a:lnTo>
                    <a:pt x="67" y="118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85" y="118"/>
                  </a:lnTo>
                  <a:lnTo>
                    <a:pt x="95" y="116"/>
                  </a:lnTo>
                  <a:lnTo>
                    <a:pt x="102" y="111"/>
                  </a:lnTo>
                  <a:lnTo>
                    <a:pt x="108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1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19" y="137"/>
                  </a:lnTo>
                  <a:lnTo>
                    <a:pt x="109" y="143"/>
                  </a:lnTo>
                  <a:lnTo>
                    <a:pt x="99" y="146"/>
                  </a:lnTo>
                  <a:lnTo>
                    <a:pt x="86" y="149"/>
                  </a:lnTo>
                  <a:lnTo>
                    <a:pt x="75" y="149"/>
                  </a:lnTo>
                  <a:lnTo>
                    <a:pt x="75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2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4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2" y="4"/>
                  </a:lnTo>
                  <a:lnTo>
                    <a:pt x="58" y="1"/>
                  </a:lnTo>
                  <a:lnTo>
                    <a:pt x="67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3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5" y="33"/>
                  </a:lnTo>
                  <a:lnTo>
                    <a:pt x="142" y="45"/>
                  </a:lnTo>
                  <a:lnTo>
                    <a:pt x="146" y="60"/>
                  </a:lnTo>
                  <a:lnTo>
                    <a:pt x="147" y="67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7" y="85"/>
                  </a:lnTo>
                  <a:lnTo>
                    <a:pt x="34" y="85"/>
                  </a:lnTo>
                  <a:close/>
                  <a:moveTo>
                    <a:pt x="35" y="57"/>
                  </a:moveTo>
                  <a:lnTo>
                    <a:pt x="113" y="57"/>
                  </a:lnTo>
                  <a:lnTo>
                    <a:pt x="113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3" y="42"/>
                  </a:lnTo>
                  <a:lnTo>
                    <a:pt x="99" y="38"/>
                  </a:lnTo>
                  <a:lnTo>
                    <a:pt x="92" y="34"/>
                  </a:lnTo>
                  <a:lnTo>
                    <a:pt x="88" y="32"/>
                  </a:lnTo>
                  <a:lnTo>
                    <a:pt x="80" y="31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5" y="57"/>
                  </a:lnTo>
                  <a:lnTo>
                    <a:pt x="35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"/>
            <p:cNvSpPr>
              <a:spLocks/>
            </p:cNvSpPr>
            <p:nvPr userDrawn="1"/>
          </p:nvSpPr>
          <p:spPr bwMode="auto">
            <a:xfrm>
              <a:off x="1261" y="2409"/>
              <a:ext cx="11" cy="69"/>
            </a:xfrm>
            <a:custGeom>
              <a:avLst/>
              <a:gdLst>
                <a:gd name="T0" fmla="*/ 0 w 33"/>
                <a:gd name="T1" fmla="*/ 4 h 209"/>
                <a:gd name="T2" fmla="*/ 33 w 33"/>
                <a:gd name="T3" fmla="*/ 0 h 209"/>
                <a:gd name="T4" fmla="*/ 33 w 33"/>
                <a:gd name="T5" fmla="*/ 209 h 209"/>
                <a:gd name="T6" fmla="*/ 0 w 33"/>
                <a:gd name="T7" fmla="*/ 209 h 209"/>
                <a:gd name="T8" fmla="*/ 0 w 33"/>
                <a:gd name="T9" fmla="*/ 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9">
                  <a:moveTo>
                    <a:pt x="0" y="4"/>
                  </a:moveTo>
                  <a:lnTo>
                    <a:pt x="33" y="0"/>
                  </a:lnTo>
                  <a:lnTo>
                    <a:pt x="33" y="209"/>
                  </a:lnTo>
                  <a:lnTo>
                    <a:pt x="0" y="20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/>
            <p:cNvSpPr>
              <a:spLocks noEditPoints="1"/>
            </p:cNvSpPr>
            <p:nvPr userDrawn="1"/>
          </p:nvSpPr>
          <p:spPr bwMode="auto">
            <a:xfrm>
              <a:off x="1280" y="2429"/>
              <a:ext cx="46" cy="74"/>
            </a:xfrm>
            <a:custGeom>
              <a:avLst/>
              <a:gdLst>
                <a:gd name="T0" fmla="*/ 75 w 137"/>
                <a:gd name="T1" fmla="*/ 0 h 222"/>
                <a:gd name="T2" fmla="*/ 97 w 137"/>
                <a:gd name="T3" fmla="*/ 9 h 222"/>
                <a:gd name="T4" fmla="*/ 128 w 137"/>
                <a:gd name="T5" fmla="*/ 59 h 222"/>
                <a:gd name="T6" fmla="*/ 123 w 137"/>
                <a:gd name="T7" fmla="*/ 83 h 222"/>
                <a:gd name="T8" fmla="*/ 109 w 137"/>
                <a:gd name="T9" fmla="*/ 101 h 222"/>
                <a:gd name="T10" fmla="*/ 125 w 137"/>
                <a:gd name="T11" fmla="*/ 118 h 222"/>
                <a:gd name="T12" fmla="*/ 134 w 137"/>
                <a:gd name="T13" fmla="*/ 139 h 222"/>
                <a:gd name="T14" fmla="*/ 137 w 137"/>
                <a:gd name="T15" fmla="*/ 155 h 222"/>
                <a:gd name="T16" fmla="*/ 125 w 137"/>
                <a:gd name="T17" fmla="*/ 194 h 222"/>
                <a:gd name="T18" fmla="*/ 95 w 137"/>
                <a:gd name="T19" fmla="*/ 217 h 222"/>
                <a:gd name="T20" fmla="*/ 69 w 137"/>
                <a:gd name="T21" fmla="*/ 222 h 222"/>
                <a:gd name="T22" fmla="*/ 32 w 137"/>
                <a:gd name="T23" fmla="*/ 213 h 222"/>
                <a:gd name="T24" fmla="*/ 9 w 137"/>
                <a:gd name="T25" fmla="*/ 189 h 222"/>
                <a:gd name="T26" fmla="*/ 33 w 137"/>
                <a:gd name="T27" fmla="*/ 167 h 222"/>
                <a:gd name="T28" fmla="*/ 38 w 137"/>
                <a:gd name="T29" fmla="*/ 177 h 222"/>
                <a:gd name="T30" fmla="*/ 49 w 137"/>
                <a:gd name="T31" fmla="*/ 188 h 222"/>
                <a:gd name="T32" fmla="*/ 69 w 137"/>
                <a:gd name="T33" fmla="*/ 192 h 222"/>
                <a:gd name="T34" fmla="*/ 83 w 137"/>
                <a:gd name="T35" fmla="*/ 189 h 222"/>
                <a:gd name="T36" fmla="*/ 98 w 137"/>
                <a:gd name="T37" fmla="*/ 177 h 222"/>
                <a:gd name="T38" fmla="*/ 104 w 137"/>
                <a:gd name="T39" fmla="*/ 155 h 222"/>
                <a:gd name="T40" fmla="*/ 101 w 137"/>
                <a:gd name="T41" fmla="*/ 140 h 222"/>
                <a:gd name="T42" fmla="*/ 89 w 137"/>
                <a:gd name="T43" fmla="*/ 124 h 222"/>
                <a:gd name="T44" fmla="*/ 69 w 137"/>
                <a:gd name="T45" fmla="*/ 118 h 222"/>
                <a:gd name="T46" fmla="*/ 58 w 137"/>
                <a:gd name="T47" fmla="*/ 120 h 222"/>
                <a:gd name="T48" fmla="*/ 36 w 137"/>
                <a:gd name="T49" fmla="*/ 138 h 222"/>
                <a:gd name="T50" fmla="*/ 19 w 137"/>
                <a:gd name="T51" fmla="*/ 107 h 222"/>
                <a:gd name="T52" fmla="*/ 19 w 137"/>
                <a:gd name="T53" fmla="*/ 93 h 222"/>
                <a:gd name="T54" fmla="*/ 8 w 137"/>
                <a:gd name="T55" fmla="*/ 59 h 222"/>
                <a:gd name="T56" fmla="*/ 11 w 137"/>
                <a:gd name="T57" fmla="*/ 35 h 222"/>
                <a:gd name="T58" fmla="*/ 32 w 137"/>
                <a:gd name="T59" fmla="*/ 10 h 222"/>
                <a:gd name="T60" fmla="*/ 66 w 137"/>
                <a:gd name="T61" fmla="*/ 0 h 222"/>
                <a:gd name="T62" fmla="*/ 69 w 137"/>
                <a:gd name="T63" fmla="*/ 88 h 222"/>
                <a:gd name="T64" fmla="*/ 84 w 137"/>
                <a:gd name="T65" fmla="*/ 83 h 222"/>
                <a:gd name="T66" fmla="*/ 94 w 137"/>
                <a:gd name="T67" fmla="*/ 71 h 222"/>
                <a:gd name="T68" fmla="*/ 97 w 137"/>
                <a:gd name="T69" fmla="*/ 59 h 222"/>
                <a:gd name="T70" fmla="*/ 92 w 137"/>
                <a:gd name="T71" fmla="*/ 43 h 222"/>
                <a:gd name="T72" fmla="*/ 79 w 137"/>
                <a:gd name="T73" fmla="*/ 32 h 222"/>
                <a:gd name="T74" fmla="*/ 69 w 137"/>
                <a:gd name="T75" fmla="*/ 31 h 222"/>
                <a:gd name="T76" fmla="*/ 51 w 137"/>
                <a:gd name="T77" fmla="*/ 34 h 222"/>
                <a:gd name="T78" fmla="*/ 42 w 137"/>
                <a:gd name="T79" fmla="*/ 48 h 222"/>
                <a:gd name="T80" fmla="*/ 39 w 137"/>
                <a:gd name="T81" fmla="*/ 59 h 222"/>
                <a:gd name="T82" fmla="*/ 44 w 137"/>
                <a:gd name="T83" fmla="*/ 76 h 222"/>
                <a:gd name="T84" fmla="*/ 56 w 137"/>
                <a:gd name="T85" fmla="*/ 85 h 222"/>
                <a:gd name="T86" fmla="*/ 69 w 137"/>
                <a:gd name="T87" fmla="*/ 88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7" h="222">
                  <a:moveTo>
                    <a:pt x="66" y="0"/>
                  </a:moveTo>
                  <a:lnTo>
                    <a:pt x="66" y="0"/>
                  </a:lnTo>
                  <a:lnTo>
                    <a:pt x="75" y="0"/>
                  </a:lnTo>
                  <a:lnTo>
                    <a:pt x="82" y="1"/>
                  </a:lnTo>
                  <a:lnTo>
                    <a:pt x="89" y="5"/>
                  </a:lnTo>
                  <a:lnTo>
                    <a:pt x="97" y="9"/>
                  </a:lnTo>
                  <a:lnTo>
                    <a:pt x="97" y="1"/>
                  </a:lnTo>
                  <a:lnTo>
                    <a:pt x="128" y="1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27" y="72"/>
                  </a:lnTo>
                  <a:lnTo>
                    <a:pt x="123" y="83"/>
                  </a:lnTo>
                  <a:lnTo>
                    <a:pt x="117" y="93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15" y="106"/>
                  </a:lnTo>
                  <a:lnTo>
                    <a:pt x="120" y="112"/>
                  </a:lnTo>
                  <a:lnTo>
                    <a:pt x="125" y="118"/>
                  </a:lnTo>
                  <a:lnTo>
                    <a:pt x="129" y="124"/>
                  </a:lnTo>
                  <a:lnTo>
                    <a:pt x="132" y="132"/>
                  </a:lnTo>
                  <a:lnTo>
                    <a:pt x="134" y="139"/>
                  </a:lnTo>
                  <a:lnTo>
                    <a:pt x="136" y="146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4" y="170"/>
                  </a:lnTo>
                  <a:lnTo>
                    <a:pt x="131" y="183"/>
                  </a:lnTo>
                  <a:lnTo>
                    <a:pt x="125" y="194"/>
                  </a:lnTo>
                  <a:lnTo>
                    <a:pt x="116" y="204"/>
                  </a:lnTo>
                  <a:lnTo>
                    <a:pt x="106" y="212"/>
                  </a:lnTo>
                  <a:lnTo>
                    <a:pt x="95" y="217"/>
                  </a:lnTo>
                  <a:lnTo>
                    <a:pt x="82" y="221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55" y="221"/>
                  </a:lnTo>
                  <a:lnTo>
                    <a:pt x="43" y="218"/>
                  </a:lnTo>
                  <a:lnTo>
                    <a:pt x="32" y="213"/>
                  </a:lnTo>
                  <a:lnTo>
                    <a:pt x="22" y="207"/>
                  </a:lnTo>
                  <a:lnTo>
                    <a:pt x="15" y="199"/>
                  </a:lnTo>
                  <a:lnTo>
                    <a:pt x="9" y="189"/>
                  </a:lnTo>
                  <a:lnTo>
                    <a:pt x="3" y="178"/>
                  </a:lnTo>
                  <a:lnTo>
                    <a:pt x="0" y="167"/>
                  </a:lnTo>
                  <a:lnTo>
                    <a:pt x="33" y="167"/>
                  </a:lnTo>
                  <a:lnTo>
                    <a:pt x="33" y="167"/>
                  </a:lnTo>
                  <a:lnTo>
                    <a:pt x="36" y="172"/>
                  </a:lnTo>
                  <a:lnTo>
                    <a:pt x="38" y="177"/>
                  </a:lnTo>
                  <a:lnTo>
                    <a:pt x="42" y="181"/>
                  </a:lnTo>
                  <a:lnTo>
                    <a:pt x="45" y="184"/>
                  </a:lnTo>
                  <a:lnTo>
                    <a:pt x="49" y="188"/>
                  </a:lnTo>
                  <a:lnTo>
                    <a:pt x="55" y="190"/>
                  </a:lnTo>
                  <a:lnTo>
                    <a:pt x="61" y="192"/>
                  </a:lnTo>
                  <a:lnTo>
                    <a:pt x="69" y="192"/>
                  </a:lnTo>
                  <a:lnTo>
                    <a:pt x="69" y="192"/>
                  </a:lnTo>
                  <a:lnTo>
                    <a:pt x="76" y="192"/>
                  </a:lnTo>
                  <a:lnTo>
                    <a:pt x="83" y="189"/>
                  </a:lnTo>
                  <a:lnTo>
                    <a:pt x="89" y="187"/>
                  </a:lnTo>
                  <a:lnTo>
                    <a:pt x="94" y="182"/>
                  </a:lnTo>
                  <a:lnTo>
                    <a:pt x="98" y="177"/>
                  </a:lnTo>
                  <a:lnTo>
                    <a:pt x="101" y="170"/>
                  </a:lnTo>
                  <a:lnTo>
                    <a:pt x="103" y="162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3" y="148"/>
                  </a:lnTo>
                  <a:lnTo>
                    <a:pt x="101" y="140"/>
                  </a:lnTo>
                  <a:lnTo>
                    <a:pt x="98" y="134"/>
                  </a:lnTo>
                  <a:lnTo>
                    <a:pt x="94" y="128"/>
                  </a:lnTo>
                  <a:lnTo>
                    <a:pt x="89" y="124"/>
                  </a:lnTo>
                  <a:lnTo>
                    <a:pt x="83" y="121"/>
                  </a:lnTo>
                  <a:lnTo>
                    <a:pt x="76" y="118"/>
                  </a:lnTo>
                  <a:lnTo>
                    <a:pt x="69" y="118"/>
                  </a:lnTo>
                  <a:lnTo>
                    <a:pt x="69" y="118"/>
                  </a:lnTo>
                  <a:lnTo>
                    <a:pt x="62" y="118"/>
                  </a:lnTo>
                  <a:lnTo>
                    <a:pt x="58" y="120"/>
                  </a:lnTo>
                  <a:lnTo>
                    <a:pt x="49" y="123"/>
                  </a:lnTo>
                  <a:lnTo>
                    <a:pt x="42" y="129"/>
                  </a:lnTo>
                  <a:lnTo>
                    <a:pt x="36" y="138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9" y="107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19" y="93"/>
                  </a:lnTo>
                  <a:lnTo>
                    <a:pt x="13" y="83"/>
                  </a:lnTo>
                  <a:lnTo>
                    <a:pt x="9" y="72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9" y="48"/>
                  </a:lnTo>
                  <a:lnTo>
                    <a:pt x="11" y="35"/>
                  </a:lnTo>
                  <a:lnTo>
                    <a:pt x="17" y="26"/>
                  </a:lnTo>
                  <a:lnTo>
                    <a:pt x="23" y="17"/>
                  </a:lnTo>
                  <a:lnTo>
                    <a:pt x="32" y="10"/>
                  </a:lnTo>
                  <a:lnTo>
                    <a:pt x="43" y="5"/>
                  </a:lnTo>
                  <a:lnTo>
                    <a:pt x="54" y="1"/>
                  </a:lnTo>
                  <a:lnTo>
                    <a:pt x="66" y="0"/>
                  </a:lnTo>
                  <a:lnTo>
                    <a:pt x="66" y="0"/>
                  </a:lnTo>
                  <a:close/>
                  <a:moveTo>
                    <a:pt x="69" y="88"/>
                  </a:moveTo>
                  <a:lnTo>
                    <a:pt x="69" y="88"/>
                  </a:lnTo>
                  <a:lnTo>
                    <a:pt x="73" y="87"/>
                  </a:lnTo>
                  <a:lnTo>
                    <a:pt x="79" y="85"/>
                  </a:lnTo>
                  <a:lnTo>
                    <a:pt x="84" y="83"/>
                  </a:lnTo>
                  <a:lnTo>
                    <a:pt x="88" y="79"/>
                  </a:lnTo>
                  <a:lnTo>
                    <a:pt x="92" y="76"/>
                  </a:lnTo>
                  <a:lnTo>
                    <a:pt x="94" y="71"/>
                  </a:lnTo>
                  <a:lnTo>
                    <a:pt x="95" y="66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5" y="53"/>
                  </a:lnTo>
                  <a:lnTo>
                    <a:pt x="94" y="48"/>
                  </a:lnTo>
                  <a:lnTo>
                    <a:pt x="92" y="43"/>
                  </a:lnTo>
                  <a:lnTo>
                    <a:pt x="88" y="38"/>
                  </a:lnTo>
                  <a:lnTo>
                    <a:pt x="84" y="34"/>
                  </a:lnTo>
                  <a:lnTo>
                    <a:pt x="79" y="32"/>
                  </a:lnTo>
                  <a:lnTo>
                    <a:pt x="73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2" y="31"/>
                  </a:lnTo>
                  <a:lnTo>
                    <a:pt x="56" y="32"/>
                  </a:lnTo>
                  <a:lnTo>
                    <a:pt x="51" y="34"/>
                  </a:lnTo>
                  <a:lnTo>
                    <a:pt x="48" y="38"/>
                  </a:lnTo>
                  <a:lnTo>
                    <a:pt x="44" y="43"/>
                  </a:lnTo>
                  <a:lnTo>
                    <a:pt x="42" y="48"/>
                  </a:lnTo>
                  <a:lnTo>
                    <a:pt x="41" y="53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1" y="66"/>
                  </a:lnTo>
                  <a:lnTo>
                    <a:pt x="42" y="71"/>
                  </a:lnTo>
                  <a:lnTo>
                    <a:pt x="44" y="76"/>
                  </a:lnTo>
                  <a:lnTo>
                    <a:pt x="48" y="79"/>
                  </a:lnTo>
                  <a:lnTo>
                    <a:pt x="51" y="83"/>
                  </a:lnTo>
                  <a:lnTo>
                    <a:pt x="56" y="85"/>
                  </a:lnTo>
                  <a:lnTo>
                    <a:pt x="62" y="87"/>
                  </a:lnTo>
                  <a:lnTo>
                    <a:pt x="69" y="88"/>
                  </a:lnTo>
                  <a:lnTo>
                    <a:pt x="69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"/>
            <p:cNvSpPr>
              <a:spLocks noEditPoints="1"/>
            </p:cNvSpPr>
            <p:nvPr userDrawn="1"/>
          </p:nvSpPr>
          <p:spPr bwMode="auto">
            <a:xfrm>
              <a:off x="1335" y="2410"/>
              <a:ext cx="14" cy="68"/>
            </a:xfrm>
            <a:custGeom>
              <a:avLst/>
              <a:gdLst>
                <a:gd name="T0" fmla="*/ 22 w 42"/>
                <a:gd name="T1" fmla="*/ 0 h 206"/>
                <a:gd name="T2" fmla="*/ 22 w 42"/>
                <a:gd name="T3" fmla="*/ 0 h 206"/>
                <a:gd name="T4" fmla="*/ 25 w 42"/>
                <a:gd name="T5" fmla="*/ 0 h 206"/>
                <a:gd name="T6" fmla="*/ 29 w 42"/>
                <a:gd name="T7" fmla="*/ 1 h 206"/>
                <a:gd name="T8" fmla="*/ 33 w 42"/>
                <a:gd name="T9" fmla="*/ 3 h 206"/>
                <a:gd name="T10" fmla="*/ 36 w 42"/>
                <a:gd name="T11" fmla="*/ 6 h 206"/>
                <a:gd name="T12" fmla="*/ 39 w 42"/>
                <a:gd name="T13" fmla="*/ 9 h 206"/>
                <a:gd name="T14" fmla="*/ 41 w 42"/>
                <a:gd name="T15" fmla="*/ 13 h 206"/>
                <a:gd name="T16" fmla="*/ 42 w 42"/>
                <a:gd name="T17" fmla="*/ 17 h 206"/>
                <a:gd name="T18" fmla="*/ 42 w 42"/>
                <a:gd name="T19" fmla="*/ 22 h 206"/>
                <a:gd name="T20" fmla="*/ 42 w 42"/>
                <a:gd name="T21" fmla="*/ 22 h 206"/>
                <a:gd name="T22" fmla="*/ 42 w 42"/>
                <a:gd name="T23" fmla="*/ 26 h 206"/>
                <a:gd name="T24" fmla="*/ 41 w 42"/>
                <a:gd name="T25" fmla="*/ 30 h 206"/>
                <a:gd name="T26" fmla="*/ 39 w 42"/>
                <a:gd name="T27" fmla="*/ 34 h 206"/>
                <a:gd name="T28" fmla="*/ 36 w 42"/>
                <a:gd name="T29" fmla="*/ 37 h 206"/>
                <a:gd name="T30" fmla="*/ 33 w 42"/>
                <a:gd name="T31" fmla="*/ 40 h 206"/>
                <a:gd name="T32" fmla="*/ 29 w 42"/>
                <a:gd name="T33" fmla="*/ 41 h 206"/>
                <a:gd name="T34" fmla="*/ 25 w 42"/>
                <a:gd name="T35" fmla="*/ 42 h 206"/>
                <a:gd name="T36" fmla="*/ 22 w 42"/>
                <a:gd name="T37" fmla="*/ 43 h 206"/>
                <a:gd name="T38" fmla="*/ 22 w 42"/>
                <a:gd name="T39" fmla="*/ 43 h 206"/>
                <a:gd name="T40" fmla="*/ 17 w 42"/>
                <a:gd name="T41" fmla="*/ 42 h 206"/>
                <a:gd name="T42" fmla="*/ 13 w 42"/>
                <a:gd name="T43" fmla="*/ 41 h 206"/>
                <a:gd name="T44" fmla="*/ 9 w 42"/>
                <a:gd name="T45" fmla="*/ 40 h 206"/>
                <a:gd name="T46" fmla="*/ 6 w 42"/>
                <a:gd name="T47" fmla="*/ 37 h 206"/>
                <a:gd name="T48" fmla="*/ 3 w 42"/>
                <a:gd name="T49" fmla="*/ 34 h 206"/>
                <a:gd name="T50" fmla="*/ 1 w 42"/>
                <a:gd name="T51" fmla="*/ 30 h 206"/>
                <a:gd name="T52" fmla="*/ 0 w 42"/>
                <a:gd name="T53" fmla="*/ 26 h 206"/>
                <a:gd name="T54" fmla="*/ 0 w 42"/>
                <a:gd name="T55" fmla="*/ 22 h 206"/>
                <a:gd name="T56" fmla="*/ 0 w 42"/>
                <a:gd name="T57" fmla="*/ 22 h 206"/>
                <a:gd name="T58" fmla="*/ 0 w 42"/>
                <a:gd name="T59" fmla="*/ 17 h 206"/>
                <a:gd name="T60" fmla="*/ 1 w 42"/>
                <a:gd name="T61" fmla="*/ 13 h 206"/>
                <a:gd name="T62" fmla="*/ 3 w 42"/>
                <a:gd name="T63" fmla="*/ 9 h 206"/>
                <a:gd name="T64" fmla="*/ 6 w 42"/>
                <a:gd name="T65" fmla="*/ 6 h 206"/>
                <a:gd name="T66" fmla="*/ 9 w 42"/>
                <a:gd name="T67" fmla="*/ 3 h 206"/>
                <a:gd name="T68" fmla="*/ 13 w 42"/>
                <a:gd name="T69" fmla="*/ 1 h 206"/>
                <a:gd name="T70" fmla="*/ 17 w 42"/>
                <a:gd name="T71" fmla="*/ 0 h 206"/>
                <a:gd name="T72" fmla="*/ 22 w 42"/>
                <a:gd name="T73" fmla="*/ 0 h 206"/>
                <a:gd name="T74" fmla="*/ 22 w 42"/>
                <a:gd name="T75" fmla="*/ 0 h 206"/>
                <a:gd name="T76" fmla="*/ 5 w 42"/>
                <a:gd name="T77" fmla="*/ 59 h 206"/>
                <a:gd name="T78" fmla="*/ 37 w 42"/>
                <a:gd name="T79" fmla="*/ 59 h 206"/>
                <a:gd name="T80" fmla="*/ 37 w 42"/>
                <a:gd name="T81" fmla="*/ 206 h 206"/>
                <a:gd name="T82" fmla="*/ 5 w 42"/>
                <a:gd name="T83" fmla="*/ 206 h 206"/>
                <a:gd name="T84" fmla="*/ 5 w 42"/>
                <a:gd name="T85" fmla="*/ 5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" h="206">
                  <a:moveTo>
                    <a:pt x="22" y="0"/>
                  </a:moveTo>
                  <a:lnTo>
                    <a:pt x="22" y="0"/>
                  </a:lnTo>
                  <a:lnTo>
                    <a:pt x="25" y="0"/>
                  </a:lnTo>
                  <a:lnTo>
                    <a:pt x="29" y="1"/>
                  </a:lnTo>
                  <a:lnTo>
                    <a:pt x="33" y="3"/>
                  </a:lnTo>
                  <a:lnTo>
                    <a:pt x="36" y="6"/>
                  </a:lnTo>
                  <a:lnTo>
                    <a:pt x="39" y="9"/>
                  </a:lnTo>
                  <a:lnTo>
                    <a:pt x="41" y="13"/>
                  </a:lnTo>
                  <a:lnTo>
                    <a:pt x="42" y="17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6" y="37"/>
                  </a:lnTo>
                  <a:lnTo>
                    <a:pt x="33" y="40"/>
                  </a:lnTo>
                  <a:lnTo>
                    <a:pt x="29" y="41"/>
                  </a:lnTo>
                  <a:lnTo>
                    <a:pt x="25" y="42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7" y="42"/>
                  </a:lnTo>
                  <a:lnTo>
                    <a:pt x="13" y="41"/>
                  </a:lnTo>
                  <a:lnTo>
                    <a:pt x="9" y="40"/>
                  </a:lnTo>
                  <a:lnTo>
                    <a:pt x="6" y="37"/>
                  </a:lnTo>
                  <a:lnTo>
                    <a:pt x="3" y="34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9"/>
                  </a:lnTo>
                  <a:lnTo>
                    <a:pt x="6" y="6"/>
                  </a:lnTo>
                  <a:lnTo>
                    <a:pt x="9" y="3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5" y="59"/>
                  </a:moveTo>
                  <a:lnTo>
                    <a:pt x="37" y="59"/>
                  </a:lnTo>
                  <a:lnTo>
                    <a:pt x="37" y="206"/>
                  </a:lnTo>
                  <a:lnTo>
                    <a:pt x="5" y="206"/>
                  </a:lnTo>
                  <a:lnTo>
                    <a:pt x="5" y="5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/>
            <p:cNvSpPr>
              <a:spLocks noEditPoints="1"/>
            </p:cNvSpPr>
            <p:nvPr userDrawn="1"/>
          </p:nvSpPr>
          <p:spPr bwMode="auto">
            <a:xfrm>
              <a:off x="1357" y="2429"/>
              <a:ext cx="49" cy="50"/>
            </a:xfrm>
            <a:custGeom>
              <a:avLst/>
              <a:gdLst>
                <a:gd name="T0" fmla="*/ 148 w 148"/>
                <a:gd name="T1" fmla="*/ 148 h 149"/>
                <a:gd name="T2" fmla="*/ 116 w 148"/>
                <a:gd name="T3" fmla="*/ 133 h 149"/>
                <a:gd name="T4" fmla="*/ 109 w 148"/>
                <a:gd name="T5" fmla="*/ 138 h 149"/>
                <a:gd name="T6" fmla="*/ 88 w 148"/>
                <a:gd name="T7" fmla="*/ 148 h 149"/>
                <a:gd name="T8" fmla="*/ 74 w 148"/>
                <a:gd name="T9" fmla="*/ 149 h 149"/>
                <a:gd name="T10" fmla="*/ 59 w 148"/>
                <a:gd name="T11" fmla="*/ 148 h 149"/>
                <a:gd name="T12" fmla="*/ 32 w 148"/>
                <a:gd name="T13" fmla="*/ 138 h 149"/>
                <a:gd name="T14" fmla="*/ 13 w 148"/>
                <a:gd name="T15" fmla="*/ 117 h 149"/>
                <a:gd name="T16" fmla="*/ 4 w 148"/>
                <a:gd name="T17" fmla="*/ 98 h 149"/>
                <a:gd name="T18" fmla="*/ 0 w 148"/>
                <a:gd name="T19" fmla="*/ 83 h 149"/>
                <a:gd name="T20" fmla="*/ 0 w 148"/>
                <a:gd name="T21" fmla="*/ 74 h 149"/>
                <a:gd name="T22" fmla="*/ 2 w 148"/>
                <a:gd name="T23" fmla="*/ 59 h 149"/>
                <a:gd name="T24" fmla="*/ 7 w 148"/>
                <a:gd name="T25" fmla="*/ 44 h 149"/>
                <a:gd name="T26" fmla="*/ 21 w 148"/>
                <a:gd name="T27" fmla="*/ 21 h 149"/>
                <a:gd name="T28" fmla="*/ 44 w 148"/>
                <a:gd name="T29" fmla="*/ 5 h 149"/>
                <a:gd name="T30" fmla="*/ 74 w 148"/>
                <a:gd name="T31" fmla="*/ 0 h 149"/>
                <a:gd name="T32" fmla="*/ 81 w 148"/>
                <a:gd name="T33" fmla="*/ 0 h 149"/>
                <a:gd name="T34" fmla="*/ 99 w 148"/>
                <a:gd name="T35" fmla="*/ 5 h 149"/>
                <a:gd name="T36" fmla="*/ 116 w 148"/>
                <a:gd name="T37" fmla="*/ 17 h 149"/>
                <a:gd name="T38" fmla="*/ 148 w 148"/>
                <a:gd name="T39" fmla="*/ 1 h 149"/>
                <a:gd name="T40" fmla="*/ 75 w 148"/>
                <a:gd name="T41" fmla="*/ 31 h 149"/>
                <a:gd name="T42" fmla="*/ 58 w 148"/>
                <a:gd name="T43" fmla="*/ 34 h 149"/>
                <a:gd name="T44" fmla="*/ 44 w 148"/>
                <a:gd name="T45" fmla="*/ 44 h 149"/>
                <a:gd name="T46" fmla="*/ 36 w 148"/>
                <a:gd name="T47" fmla="*/ 57 h 149"/>
                <a:gd name="T48" fmla="*/ 32 w 148"/>
                <a:gd name="T49" fmla="*/ 74 h 149"/>
                <a:gd name="T50" fmla="*/ 33 w 148"/>
                <a:gd name="T51" fmla="*/ 83 h 149"/>
                <a:gd name="T52" fmla="*/ 39 w 148"/>
                <a:gd name="T53" fmla="*/ 99 h 149"/>
                <a:gd name="T54" fmla="*/ 50 w 148"/>
                <a:gd name="T55" fmla="*/ 111 h 149"/>
                <a:gd name="T56" fmla="*/ 66 w 148"/>
                <a:gd name="T57" fmla="*/ 117 h 149"/>
                <a:gd name="T58" fmla="*/ 75 w 148"/>
                <a:gd name="T59" fmla="*/ 118 h 149"/>
                <a:gd name="T60" fmla="*/ 92 w 148"/>
                <a:gd name="T61" fmla="*/ 115 h 149"/>
                <a:gd name="T62" fmla="*/ 105 w 148"/>
                <a:gd name="T63" fmla="*/ 105 h 149"/>
                <a:gd name="T64" fmla="*/ 114 w 148"/>
                <a:gd name="T65" fmla="*/ 92 h 149"/>
                <a:gd name="T66" fmla="*/ 117 w 148"/>
                <a:gd name="T67" fmla="*/ 74 h 149"/>
                <a:gd name="T68" fmla="*/ 116 w 148"/>
                <a:gd name="T69" fmla="*/ 66 h 149"/>
                <a:gd name="T70" fmla="*/ 110 w 148"/>
                <a:gd name="T71" fmla="*/ 50 h 149"/>
                <a:gd name="T72" fmla="*/ 99 w 148"/>
                <a:gd name="T73" fmla="*/ 38 h 149"/>
                <a:gd name="T74" fmla="*/ 83 w 148"/>
                <a:gd name="T75" fmla="*/ 32 h 149"/>
                <a:gd name="T76" fmla="*/ 75 w 148"/>
                <a:gd name="T77" fmla="*/ 3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8" h="149">
                  <a:moveTo>
                    <a:pt x="148" y="1"/>
                  </a:moveTo>
                  <a:lnTo>
                    <a:pt x="148" y="148"/>
                  </a:lnTo>
                  <a:lnTo>
                    <a:pt x="116" y="148"/>
                  </a:lnTo>
                  <a:lnTo>
                    <a:pt x="116" y="133"/>
                  </a:lnTo>
                  <a:lnTo>
                    <a:pt x="116" y="133"/>
                  </a:lnTo>
                  <a:lnTo>
                    <a:pt x="109" y="138"/>
                  </a:lnTo>
                  <a:lnTo>
                    <a:pt x="100" y="144"/>
                  </a:lnTo>
                  <a:lnTo>
                    <a:pt x="88" y="148"/>
                  </a:lnTo>
                  <a:lnTo>
                    <a:pt x="81" y="149"/>
                  </a:lnTo>
                  <a:lnTo>
                    <a:pt x="74" y="149"/>
                  </a:lnTo>
                  <a:lnTo>
                    <a:pt x="74" y="149"/>
                  </a:lnTo>
                  <a:lnTo>
                    <a:pt x="59" y="148"/>
                  </a:lnTo>
                  <a:lnTo>
                    <a:pt x="44" y="144"/>
                  </a:lnTo>
                  <a:lnTo>
                    <a:pt x="32" y="138"/>
                  </a:lnTo>
                  <a:lnTo>
                    <a:pt x="21" y="128"/>
                  </a:lnTo>
                  <a:lnTo>
                    <a:pt x="13" y="117"/>
                  </a:lnTo>
                  <a:lnTo>
                    <a:pt x="7" y="105"/>
                  </a:lnTo>
                  <a:lnTo>
                    <a:pt x="4" y="98"/>
                  </a:lnTo>
                  <a:lnTo>
                    <a:pt x="2" y="90"/>
                  </a:lnTo>
                  <a:lnTo>
                    <a:pt x="0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2" y="59"/>
                  </a:lnTo>
                  <a:lnTo>
                    <a:pt x="4" y="51"/>
                  </a:lnTo>
                  <a:lnTo>
                    <a:pt x="7" y="44"/>
                  </a:lnTo>
                  <a:lnTo>
                    <a:pt x="13" y="32"/>
                  </a:lnTo>
                  <a:lnTo>
                    <a:pt x="21" y="21"/>
                  </a:lnTo>
                  <a:lnTo>
                    <a:pt x="32" y="12"/>
                  </a:lnTo>
                  <a:lnTo>
                    <a:pt x="44" y="5"/>
                  </a:lnTo>
                  <a:lnTo>
                    <a:pt x="59" y="1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9" y="5"/>
                  </a:lnTo>
                  <a:lnTo>
                    <a:pt x="109" y="11"/>
                  </a:lnTo>
                  <a:lnTo>
                    <a:pt x="116" y="17"/>
                  </a:lnTo>
                  <a:lnTo>
                    <a:pt x="116" y="1"/>
                  </a:lnTo>
                  <a:lnTo>
                    <a:pt x="148" y="1"/>
                  </a:lnTo>
                  <a:close/>
                  <a:moveTo>
                    <a:pt x="75" y="31"/>
                  </a:moveTo>
                  <a:lnTo>
                    <a:pt x="75" y="31"/>
                  </a:lnTo>
                  <a:lnTo>
                    <a:pt x="66" y="32"/>
                  </a:lnTo>
                  <a:lnTo>
                    <a:pt x="58" y="34"/>
                  </a:lnTo>
                  <a:lnTo>
                    <a:pt x="50" y="38"/>
                  </a:lnTo>
                  <a:lnTo>
                    <a:pt x="44" y="44"/>
                  </a:lnTo>
                  <a:lnTo>
                    <a:pt x="39" y="50"/>
                  </a:lnTo>
                  <a:lnTo>
                    <a:pt x="36" y="57"/>
                  </a:lnTo>
                  <a:lnTo>
                    <a:pt x="33" y="66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3" y="83"/>
                  </a:lnTo>
                  <a:lnTo>
                    <a:pt x="36" y="92"/>
                  </a:lnTo>
                  <a:lnTo>
                    <a:pt x="39" y="99"/>
                  </a:lnTo>
                  <a:lnTo>
                    <a:pt x="44" y="105"/>
                  </a:lnTo>
                  <a:lnTo>
                    <a:pt x="50" y="111"/>
                  </a:lnTo>
                  <a:lnTo>
                    <a:pt x="58" y="115"/>
                  </a:lnTo>
                  <a:lnTo>
                    <a:pt x="66" y="117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83" y="117"/>
                  </a:lnTo>
                  <a:lnTo>
                    <a:pt x="92" y="115"/>
                  </a:lnTo>
                  <a:lnTo>
                    <a:pt x="99" y="111"/>
                  </a:lnTo>
                  <a:lnTo>
                    <a:pt x="105" y="105"/>
                  </a:lnTo>
                  <a:lnTo>
                    <a:pt x="110" y="99"/>
                  </a:lnTo>
                  <a:lnTo>
                    <a:pt x="114" y="92"/>
                  </a:lnTo>
                  <a:lnTo>
                    <a:pt x="116" y="83"/>
                  </a:lnTo>
                  <a:lnTo>
                    <a:pt x="117" y="74"/>
                  </a:lnTo>
                  <a:lnTo>
                    <a:pt x="117" y="74"/>
                  </a:lnTo>
                  <a:lnTo>
                    <a:pt x="116" y="66"/>
                  </a:lnTo>
                  <a:lnTo>
                    <a:pt x="114" y="57"/>
                  </a:lnTo>
                  <a:lnTo>
                    <a:pt x="110" y="50"/>
                  </a:lnTo>
                  <a:lnTo>
                    <a:pt x="105" y="44"/>
                  </a:lnTo>
                  <a:lnTo>
                    <a:pt x="99" y="38"/>
                  </a:lnTo>
                  <a:lnTo>
                    <a:pt x="92" y="34"/>
                  </a:lnTo>
                  <a:lnTo>
                    <a:pt x="83" y="32"/>
                  </a:lnTo>
                  <a:lnTo>
                    <a:pt x="75" y="31"/>
                  </a:lnTo>
                  <a:lnTo>
                    <a:pt x="75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/>
            <p:cNvSpPr>
              <a:spLocks/>
            </p:cNvSpPr>
            <p:nvPr userDrawn="1"/>
          </p:nvSpPr>
          <p:spPr bwMode="auto">
            <a:xfrm>
              <a:off x="1419" y="2429"/>
              <a:ext cx="42" cy="49"/>
            </a:xfrm>
            <a:custGeom>
              <a:avLst/>
              <a:gdLst>
                <a:gd name="T0" fmla="*/ 0 w 127"/>
                <a:gd name="T1" fmla="*/ 1 h 148"/>
                <a:gd name="T2" fmla="*/ 31 w 127"/>
                <a:gd name="T3" fmla="*/ 1 h 148"/>
                <a:gd name="T4" fmla="*/ 31 w 127"/>
                <a:gd name="T5" fmla="*/ 18 h 148"/>
                <a:gd name="T6" fmla="*/ 31 w 127"/>
                <a:gd name="T7" fmla="*/ 18 h 148"/>
                <a:gd name="T8" fmla="*/ 37 w 127"/>
                <a:gd name="T9" fmla="*/ 12 h 148"/>
                <a:gd name="T10" fmla="*/ 46 w 127"/>
                <a:gd name="T11" fmla="*/ 6 h 148"/>
                <a:gd name="T12" fmla="*/ 52 w 127"/>
                <a:gd name="T13" fmla="*/ 4 h 148"/>
                <a:gd name="T14" fmla="*/ 58 w 127"/>
                <a:gd name="T15" fmla="*/ 1 h 148"/>
                <a:gd name="T16" fmla="*/ 64 w 127"/>
                <a:gd name="T17" fmla="*/ 0 h 148"/>
                <a:gd name="T18" fmla="*/ 71 w 127"/>
                <a:gd name="T19" fmla="*/ 0 h 148"/>
                <a:gd name="T20" fmla="*/ 71 w 127"/>
                <a:gd name="T21" fmla="*/ 0 h 148"/>
                <a:gd name="T22" fmla="*/ 85 w 127"/>
                <a:gd name="T23" fmla="*/ 1 h 148"/>
                <a:gd name="T24" fmla="*/ 96 w 127"/>
                <a:gd name="T25" fmla="*/ 4 h 148"/>
                <a:gd name="T26" fmla="*/ 106 w 127"/>
                <a:gd name="T27" fmla="*/ 9 h 148"/>
                <a:gd name="T28" fmla="*/ 113 w 127"/>
                <a:gd name="T29" fmla="*/ 16 h 148"/>
                <a:gd name="T30" fmla="*/ 119 w 127"/>
                <a:gd name="T31" fmla="*/ 24 h 148"/>
                <a:gd name="T32" fmla="*/ 124 w 127"/>
                <a:gd name="T33" fmla="*/ 34 h 148"/>
                <a:gd name="T34" fmla="*/ 126 w 127"/>
                <a:gd name="T35" fmla="*/ 46 h 148"/>
                <a:gd name="T36" fmla="*/ 127 w 127"/>
                <a:gd name="T37" fmla="*/ 60 h 148"/>
                <a:gd name="T38" fmla="*/ 127 w 127"/>
                <a:gd name="T39" fmla="*/ 148 h 148"/>
                <a:gd name="T40" fmla="*/ 96 w 127"/>
                <a:gd name="T41" fmla="*/ 148 h 148"/>
                <a:gd name="T42" fmla="*/ 96 w 127"/>
                <a:gd name="T43" fmla="*/ 67 h 148"/>
                <a:gd name="T44" fmla="*/ 96 w 127"/>
                <a:gd name="T45" fmla="*/ 67 h 148"/>
                <a:gd name="T46" fmla="*/ 95 w 127"/>
                <a:gd name="T47" fmla="*/ 59 h 148"/>
                <a:gd name="T48" fmla="*/ 93 w 127"/>
                <a:gd name="T49" fmla="*/ 50 h 148"/>
                <a:gd name="T50" fmla="*/ 91 w 127"/>
                <a:gd name="T51" fmla="*/ 44 h 148"/>
                <a:gd name="T52" fmla="*/ 87 w 127"/>
                <a:gd name="T53" fmla="*/ 39 h 148"/>
                <a:gd name="T54" fmla="*/ 82 w 127"/>
                <a:gd name="T55" fmla="*/ 35 h 148"/>
                <a:gd name="T56" fmla="*/ 78 w 127"/>
                <a:gd name="T57" fmla="*/ 32 h 148"/>
                <a:gd name="T58" fmla="*/ 71 w 127"/>
                <a:gd name="T59" fmla="*/ 31 h 148"/>
                <a:gd name="T60" fmla="*/ 64 w 127"/>
                <a:gd name="T61" fmla="*/ 31 h 148"/>
                <a:gd name="T62" fmla="*/ 64 w 127"/>
                <a:gd name="T63" fmla="*/ 31 h 148"/>
                <a:gd name="T64" fmla="*/ 56 w 127"/>
                <a:gd name="T65" fmla="*/ 31 h 148"/>
                <a:gd name="T66" fmla="*/ 50 w 127"/>
                <a:gd name="T67" fmla="*/ 33 h 148"/>
                <a:gd name="T68" fmla="*/ 45 w 127"/>
                <a:gd name="T69" fmla="*/ 37 h 148"/>
                <a:gd name="T70" fmla="*/ 40 w 127"/>
                <a:gd name="T71" fmla="*/ 40 h 148"/>
                <a:gd name="T72" fmla="*/ 36 w 127"/>
                <a:gd name="T73" fmla="*/ 46 h 148"/>
                <a:gd name="T74" fmla="*/ 34 w 127"/>
                <a:gd name="T75" fmla="*/ 53 h 148"/>
                <a:gd name="T76" fmla="*/ 32 w 127"/>
                <a:gd name="T77" fmla="*/ 60 h 148"/>
                <a:gd name="T78" fmla="*/ 31 w 127"/>
                <a:gd name="T79" fmla="*/ 67 h 148"/>
                <a:gd name="T80" fmla="*/ 31 w 127"/>
                <a:gd name="T81" fmla="*/ 148 h 148"/>
                <a:gd name="T82" fmla="*/ 0 w 127"/>
                <a:gd name="T83" fmla="*/ 148 h 148"/>
                <a:gd name="T84" fmla="*/ 0 w 127"/>
                <a:gd name="T85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" h="148">
                  <a:moveTo>
                    <a:pt x="0" y="1"/>
                  </a:moveTo>
                  <a:lnTo>
                    <a:pt x="31" y="1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7" y="12"/>
                  </a:lnTo>
                  <a:lnTo>
                    <a:pt x="46" y="6"/>
                  </a:lnTo>
                  <a:lnTo>
                    <a:pt x="52" y="4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85" y="1"/>
                  </a:lnTo>
                  <a:lnTo>
                    <a:pt x="96" y="4"/>
                  </a:lnTo>
                  <a:lnTo>
                    <a:pt x="106" y="9"/>
                  </a:lnTo>
                  <a:lnTo>
                    <a:pt x="113" y="16"/>
                  </a:lnTo>
                  <a:lnTo>
                    <a:pt x="119" y="24"/>
                  </a:lnTo>
                  <a:lnTo>
                    <a:pt x="124" y="34"/>
                  </a:lnTo>
                  <a:lnTo>
                    <a:pt x="126" y="46"/>
                  </a:lnTo>
                  <a:lnTo>
                    <a:pt x="127" y="60"/>
                  </a:lnTo>
                  <a:lnTo>
                    <a:pt x="127" y="148"/>
                  </a:lnTo>
                  <a:lnTo>
                    <a:pt x="96" y="148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5" y="59"/>
                  </a:lnTo>
                  <a:lnTo>
                    <a:pt x="93" y="50"/>
                  </a:lnTo>
                  <a:lnTo>
                    <a:pt x="91" y="44"/>
                  </a:lnTo>
                  <a:lnTo>
                    <a:pt x="87" y="39"/>
                  </a:lnTo>
                  <a:lnTo>
                    <a:pt x="82" y="35"/>
                  </a:lnTo>
                  <a:lnTo>
                    <a:pt x="78" y="32"/>
                  </a:lnTo>
                  <a:lnTo>
                    <a:pt x="71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56" y="31"/>
                  </a:lnTo>
                  <a:lnTo>
                    <a:pt x="50" y="33"/>
                  </a:lnTo>
                  <a:lnTo>
                    <a:pt x="45" y="37"/>
                  </a:lnTo>
                  <a:lnTo>
                    <a:pt x="40" y="40"/>
                  </a:lnTo>
                  <a:lnTo>
                    <a:pt x="36" y="46"/>
                  </a:lnTo>
                  <a:lnTo>
                    <a:pt x="34" y="53"/>
                  </a:lnTo>
                  <a:lnTo>
                    <a:pt x="32" y="60"/>
                  </a:lnTo>
                  <a:lnTo>
                    <a:pt x="31" y="67"/>
                  </a:lnTo>
                  <a:lnTo>
                    <a:pt x="31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/>
            <p:cNvSpPr>
              <a:spLocks/>
            </p:cNvSpPr>
            <p:nvPr userDrawn="1"/>
          </p:nvSpPr>
          <p:spPr bwMode="auto">
            <a:xfrm>
              <a:off x="1504" y="2410"/>
              <a:ext cx="44" cy="68"/>
            </a:xfrm>
            <a:custGeom>
              <a:avLst/>
              <a:gdLst>
                <a:gd name="T0" fmla="*/ 0 w 134"/>
                <a:gd name="T1" fmla="*/ 0 h 205"/>
                <a:gd name="T2" fmla="*/ 37 w 134"/>
                <a:gd name="T3" fmla="*/ 0 h 205"/>
                <a:gd name="T4" fmla="*/ 102 w 134"/>
                <a:gd name="T5" fmla="*/ 141 h 205"/>
                <a:gd name="T6" fmla="*/ 102 w 134"/>
                <a:gd name="T7" fmla="*/ 0 h 205"/>
                <a:gd name="T8" fmla="*/ 134 w 134"/>
                <a:gd name="T9" fmla="*/ 0 h 205"/>
                <a:gd name="T10" fmla="*/ 134 w 134"/>
                <a:gd name="T11" fmla="*/ 205 h 205"/>
                <a:gd name="T12" fmla="*/ 99 w 134"/>
                <a:gd name="T13" fmla="*/ 205 h 205"/>
                <a:gd name="T14" fmla="*/ 33 w 134"/>
                <a:gd name="T15" fmla="*/ 64 h 205"/>
                <a:gd name="T16" fmla="*/ 33 w 134"/>
                <a:gd name="T17" fmla="*/ 205 h 205"/>
                <a:gd name="T18" fmla="*/ 0 w 134"/>
                <a:gd name="T19" fmla="*/ 205 h 205"/>
                <a:gd name="T20" fmla="*/ 0 w 134"/>
                <a:gd name="T21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" h="205">
                  <a:moveTo>
                    <a:pt x="0" y="0"/>
                  </a:moveTo>
                  <a:lnTo>
                    <a:pt x="37" y="0"/>
                  </a:lnTo>
                  <a:lnTo>
                    <a:pt x="102" y="141"/>
                  </a:lnTo>
                  <a:lnTo>
                    <a:pt x="102" y="0"/>
                  </a:lnTo>
                  <a:lnTo>
                    <a:pt x="134" y="0"/>
                  </a:lnTo>
                  <a:lnTo>
                    <a:pt x="134" y="205"/>
                  </a:lnTo>
                  <a:lnTo>
                    <a:pt x="99" y="205"/>
                  </a:lnTo>
                  <a:lnTo>
                    <a:pt x="33" y="64"/>
                  </a:lnTo>
                  <a:lnTo>
                    <a:pt x="33" y="205"/>
                  </a:lnTo>
                  <a:lnTo>
                    <a:pt x="0" y="2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/>
            <p:cNvSpPr>
              <a:spLocks/>
            </p:cNvSpPr>
            <p:nvPr userDrawn="1"/>
          </p:nvSpPr>
          <p:spPr bwMode="auto">
            <a:xfrm>
              <a:off x="1562" y="2429"/>
              <a:ext cx="42" cy="50"/>
            </a:xfrm>
            <a:custGeom>
              <a:avLst/>
              <a:gdLst>
                <a:gd name="T0" fmla="*/ 128 w 128"/>
                <a:gd name="T1" fmla="*/ 147 h 148"/>
                <a:gd name="T2" fmla="*/ 96 w 128"/>
                <a:gd name="T3" fmla="*/ 147 h 148"/>
                <a:gd name="T4" fmla="*/ 96 w 128"/>
                <a:gd name="T5" fmla="*/ 130 h 148"/>
                <a:gd name="T6" fmla="*/ 96 w 128"/>
                <a:gd name="T7" fmla="*/ 130 h 148"/>
                <a:gd name="T8" fmla="*/ 89 w 128"/>
                <a:gd name="T9" fmla="*/ 137 h 148"/>
                <a:gd name="T10" fmla="*/ 81 w 128"/>
                <a:gd name="T11" fmla="*/ 143 h 148"/>
                <a:gd name="T12" fmla="*/ 76 w 128"/>
                <a:gd name="T13" fmla="*/ 145 h 148"/>
                <a:gd name="T14" fmla="*/ 70 w 128"/>
                <a:gd name="T15" fmla="*/ 147 h 148"/>
                <a:gd name="T16" fmla="*/ 64 w 128"/>
                <a:gd name="T17" fmla="*/ 148 h 148"/>
                <a:gd name="T18" fmla="*/ 56 w 128"/>
                <a:gd name="T19" fmla="*/ 148 h 148"/>
                <a:gd name="T20" fmla="*/ 56 w 128"/>
                <a:gd name="T21" fmla="*/ 148 h 148"/>
                <a:gd name="T22" fmla="*/ 43 w 128"/>
                <a:gd name="T23" fmla="*/ 148 h 148"/>
                <a:gd name="T24" fmla="*/ 32 w 128"/>
                <a:gd name="T25" fmla="*/ 144 h 148"/>
                <a:gd name="T26" fmla="*/ 22 w 128"/>
                <a:gd name="T27" fmla="*/ 139 h 148"/>
                <a:gd name="T28" fmla="*/ 15 w 128"/>
                <a:gd name="T29" fmla="*/ 133 h 148"/>
                <a:gd name="T30" fmla="*/ 8 w 128"/>
                <a:gd name="T31" fmla="*/ 125 h 148"/>
                <a:gd name="T32" fmla="*/ 4 w 128"/>
                <a:gd name="T33" fmla="*/ 114 h 148"/>
                <a:gd name="T34" fmla="*/ 0 w 128"/>
                <a:gd name="T35" fmla="*/ 102 h 148"/>
                <a:gd name="T36" fmla="*/ 0 w 128"/>
                <a:gd name="T37" fmla="*/ 88 h 148"/>
                <a:gd name="T38" fmla="*/ 0 w 128"/>
                <a:gd name="T39" fmla="*/ 0 h 148"/>
                <a:gd name="T40" fmla="*/ 32 w 128"/>
                <a:gd name="T41" fmla="*/ 0 h 148"/>
                <a:gd name="T42" fmla="*/ 32 w 128"/>
                <a:gd name="T43" fmla="*/ 81 h 148"/>
                <a:gd name="T44" fmla="*/ 32 w 128"/>
                <a:gd name="T45" fmla="*/ 81 h 148"/>
                <a:gd name="T46" fmla="*/ 32 w 128"/>
                <a:gd name="T47" fmla="*/ 91 h 148"/>
                <a:gd name="T48" fmla="*/ 34 w 128"/>
                <a:gd name="T49" fmla="*/ 98 h 148"/>
                <a:gd name="T50" fmla="*/ 37 w 128"/>
                <a:gd name="T51" fmla="*/ 104 h 148"/>
                <a:gd name="T52" fmla="*/ 40 w 128"/>
                <a:gd name="T53" fmla="*/ 109 h 148"/>
                <a:gd name="T54" fmla="*/ 44 w 128"/>
                <a:gd name="T55" fmla="*/ 114 h 148"/>
                <a:gd name="T56" fmla="*/ 50 w 128"/>
                <a:gd name="T57" fmla="*/ 116 h 148"/>
                <a:gd name="T58" fmla="*/ 56 w 128"/>
                <a:gd name="T59" fmla="*/ 117 h 148"/>
                <a:gd name="T60" fmla="*/ 64 w 128"/>
                <a:gd name="T61" fmla="*/ 119 h 148"/>
                <a:gd name="T62" fmla="*/ 64 w 128"/>
                <a:gd name="T63" fmla="*/ 119 h 148"/>
                <a:gd name="T64" fmla="*/ 71 w 128"/>
                <a:gd name="T65" fmla="*/ 117 h 148"/>
                <a:gd name="T66" fmla="*/ 78 w 128"/>
                <a:gd name="T67" fmla="*/ 115 h 148"/>
                <a:gd name="T68" fmla="*/ 83 w 128"/>
                <a:gd name="T69" fmla="*/ 112 h 148"/>
                <a:gd name="T70" fmla="*/ 88 w 128"/>
                <a:gd name="T71" fmla="*/ 108 h 148"/>
                <a:gd name="T72" fmla="*/ 92 w 128"/>
                <a:gd name="T73" fmla="*/ 103 h 148"/>
                <a:gd name="T74" fmla="*/ 94 w 128"/>
                <a:gd name="T75" fmla="*/ 97 h 148"/>
                <a:gd name="T76" fmla="*/ 95 w 128"/>
                <a:gd name="T77" fmla="*/ 89 h 148"/>
                <a:gd name="T78" fmla="*/ 96 w 128"/>
                <a:gd name="T79" fmla="*/ 81 h 148"/>
                <a:gd name="T80" fmla="*/ 96 w 128"/>
                <a:gd name="T81" fmla="*/ 0 h 148"/>
                <a:gd name="T82" fmla="*/ 128 w 128"/>
                <a:gd name="T83" fmla="*/ 0 h 148"/>
                <a:gd name="T84" fmla="*/ 128 w 128"/>
                <a:gd name="T85" fmla="*/ 14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" h="148">
                  <a:moveTo>
                    <a:pt x="128" y="147"/>
                  </a:moveTo>
                  <a:lnTo>
                    <a:pt x="96" y="147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89" y="137"/>
                  </a:lnTo>
                  <a:lnTo>
                    <a:pt x="81" y="143"/>
                  </a:lnTo>
                  <a:lnTo>
                    <a:pt x="76" y="145"/>
                  </a:lnTo>
                  <a:lnTo>
                    <a:pt x="70" y="147"/>
                  </a:lnTo>
                  <a:lnTo>
                    <a:pt x="64" y="148"/>
                  </a:lnTo>
                  <a:lnTo>
                    <a:pt x="56" y="148"/>
                  </a:lnTo>
                  <a:lnTo>
                    <a:pt x="56" y="148"/>
                  </a:lnTo>
                  <a:lnTo>
                    <a:pt x="43" y="148"/>
                  </a:lnTo>
                  <a:lnTo>
                    <a:pt x="32" y="144"/>
                  </a:lnTo>
                  <a:lnTo>
                    <a:pt x="22" y="139"/>
                  </a:lnTo>
                  <a:lnTo>
                    <a:pt x="15" y="133"/>
                  </a:lnTo>
                  <a:lnTo>
                    <a:pt x="8" y="125"/>
                  </a:lnTo>
                  <a:lnTo>
                    <a:pt x="4" y="114"/>
                  </a:lnTo>
                  <a:lnTo>
                    <a:pt x="0" y="102"/>
                  </a:lnTo>
                  <a:lnTo>
                    <a:pt x="0" y="8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91"/>
                  </a:lnTo>
                  <a:lnTo>
                    <a:pt x="34" y="98"/>
                  </a:lnTo>
                  <a:lnTo>
                    <a:pt x="37" y="104"/>
                  </a:lnTo>
                  <a:lnTo>
                    <a:pt x="40" y="109"/>
                  </a:lnTo>
                  <a:lnTo>
                    <a:pt x="44" y="114"/>
                  </a:lnTo>
                  <a:lnTo>
                    <a:pt x="50" y="116"/>
                  </a:lnTo>
                  <a:lnTo>
                    <a:pt x="56" y="117"/>
                  </a:lnTo>
                  <a:lnTo>
                    <a:pt x="64" y="119"/>
                  </a:lnTo>
                  <a:lnTo>
                    <a:pt x="64" y="119"/>
                  </a:lnTo>
                  <a:lnTo>
                    <a:pt x="71" y="117"/>
                  </a:lnTo>
                  <a:lnTo>
                    <a:pt x="78" y="115"/>
                  </a:lnTo>
                  <a:lnTo>
                    <a:pt x="83" y="112"/>
                  </a:lnTo>
                  <a:lnTo>
                    <a:pt x="88" y="108"/>
                  </a:lnTo>
                  <a:lnTo>
                    <a:pt x="92" y="103"/>
                  </a:lnTo>
                  <a:lnTo>
                    <a:pt x="94" y="97"/>
                  </a:lnTo>
                  <a:lnTo>
                    <a:pt x="95" y="89"/>
                  </a:lnTo>
                  <a:lnTo>
                    <a:pt x="96" y="81"/>
                  </a:lnTo>
                  <a:lnTo>
                    <a:pt x="96" y="0"/>
                  </a:lnTo>
                  <a:lnTo>
                    <a:pt x="128" y="0"/>
                  </a:lnTo>
                  <a:lnTo>
                    <a:pt x="128" y="1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/>
            <p:cNvSpPr>
              <a:spLocks/>
            </p:cNvSpPr>
            <p:nvPr userDrawn="1"/>
          </p:nvSpPr>
          <p:spPr bwMode="auto">
            <a:xfrm>
              <a:off x="1615" y="2429"/>
              <a:ext cx="50" cy="50"/>
            </a:xfrm>
            <a:custGeom>
              <a:avLst/>
              <a:gdLst>
                <a:gd name="T0" fmla="*/ 75 w 150"/>
                <a:gd name="T1" fmla="*/ 120 h 149"/>
                <a:gd name="T2" fmla="*/ 92 w 150"/>
                <a:gd name="T3" fmla="*/ 116 h 149"/>
                <a:gd name="T4" fmla="*/ 106 w 150"/>
                <a:gd name="T5" fmla="*/ 106 h 149"/>
                <a:gd name="T6" fmla="*/ 114 w 150"/>
                <a:gd name="T7" fmla="*/ 93 h 149"/>
                <a:gd name="T8" fmla="*/ 117 w 150"/>
                <a:gd name="T9" fmla="*/ 74 h 149"/>
                <a:gd name="T10" fmla="*/ 150 w 150"/>
                <a:gd name="T11" fmla="*/ 74 h 149"/>
                <a:gd name="T12" fmla="*/ 147 w 150"/>
                <a:gd name="T13" fmla="*/ 90 h 149"/>
                <a:gd name="T14" fmla="*/ 143 w 150"/>
                <a:gd name="T15" fmla="*/ 104 h 149"/>
                <a:gd name="T16" fmla="*/ 128 w 150"/>
                <a:gd name="T17" fmla="*/ 128 h 149"/>
                <a:gd name="T18" fmla="*/ 104 w 150"/>
                <a:gd name="T19" fmla="*/ 144 h 149"/>
                <a:gd name="T20" fmla="*/ 90 w 150"/>
                <a:gd name="T21" fmla="*/ 148 h 149"/>
                <a:gd name="T22" fmla="*/ 75 w 150"/>
                <a:gd name="T23" fmla="*/ 149 h 149"/>
                <a:gd name="T24" fmla="*/ 67 w 150"/>
                <a:gd name="T25" fmla="*/ 149 h 149"/>
                <a:gd name="T26" fmla="*/ 52 w 150"/>
                <a:gd name="T27" fmla="*/ 146 h 149"/>
                <a:gd name="T28" fmla="*/ 33 w 150"/>
                <a:gd name="T29" fmla="*/ 137 h 149"/>
                <a:gd name="T30" fmla="*/ 12 w 150"/>
                <a:gd name="T31" fmla="*/ 117 h 149"/>
                <a:gd name="T32" fmla="*/ 3 w 150"/>
                <a:gd name="T33" fmla="*/ 98 h 149"/>
                <a:gd name="T34" fmla="*/ 1 w 150"/>
                <a:gd name="T35" fmla="*/ 83 h 149"/>
                <a:gd name="T36" fmla="*/ 0 w 150"/>
                <a:gd name="T37" fmla="*/ 74 h 149"/>
                <a:gd name="T38" fmla="*/ 1 w 150"/>
                <a:gd name="T39" fmla="*/ 59 h 149"/>
                <a:gd name="T40" fmla="*/ 6 w 150"/>
                <a:gd name="T41" fmla="*/ 45 h 149"/>
                <a:gd name="T42" fmla="*/ 22 w 150"/>
                <a:gd name="T43" fmla="*/ 21 h 149"/>
                <a:gd name="T44" fmla="*/ 45 w 150"/>
                <a:gd name="T45" fmla="*/ 5 h 149"/>
                <a:gd name="T46" fmla="*/ 59 w 150"/>
                <a:gd name="T47" fmla="*/ 1 h 149"/>
                <a:gd name="T48" fmla="*/ 75 w 150"/>
                <a:gd name="T49" fmla="*/ 0 h 149"/>
                <a:gd name="T50" fmla="*/ 83 w 150"/>
                <a:gd name="T51" fmla="*/ 0 h 149"/>
                <a:gd name="T52" fmla="*/ 98 w 150"/>
                <a:gd name="T53" fmla="*/ 4 h 149"/>
                <a:gd name="T54" fmla="*/ 112 w 150"/>
                <a:gd name="T55" fmla="*/ 9 h 149"/>
                <a:gd name="T56" fmla="*/ 128 w 150"/>
                <a:gd name="T57" fmla="*/ 22 h 149"/>
                <a:gd name="T58" fmla="*/ 104 w 150"/>
                <a:gd name="T59" fmla="*/ 43 h 149"/>
                <a:gd name="T60" fmla="*/ 91 w 150"/>
                <a:gd name="T61" fmla="*/ 34 h 149"/>
                <a:gd name="T62" fmla="*/ 75 w 150"/>
                <a:gd name="T63" fmla="*/ 31 h 149"/>
                <a:gd name="T64" fmla="*/ 66 w 150"/>
                <a:gd name="T65" fmla="*/ 31 h 149"/>
                <a:gd name="T66" fmla="*/ 51 w 150"/>
                <a:gd name="T67" fmla="*/ 38 h 149"/>
                <a:gd name="T68" fmla="*/ 40 w 150"/>
                <a:gd name="T69" fmla="*/ 49 h 149"/>
                <a:gd name="T70" fmla="*/ 34 w 150"/>
                <a:gd name="T71" fmla="*/ 65 h 149"/>
                <a:gd name="T72" fmla="*/ 33 w 150"/>
                <a:gd name="T73" fmla="*/ 74 h 149"/>
                <a:gd name="T74" fmla="*/ 36 w 150"/>
                <a:gd name="T75" fmla="*/ 93 h 149"/>
                <a:gd name="T76" fmla="*/ 45 w 150"/>
                <a:gd name="T77" fmla="*/ 106 h 149"/>
                <a:gd name="T78" fmla="*/ 57 w 150"/>
                <a:gd name="T79" fmla="*/ 116 h 149"/>
                <a:gd name="T80" fmla="*/ 75 w 150"/>
                <a:gd name="T81" fmla="*/ 12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49">
                  <a:moveTo>
                    <a:pt x="75" y="120"/>
                  </a:moveTo>
                  <a:lnTo>
                    <a:pt x="75" y="120"/>
                  </a:lnTo>
                  <a:lnTo>
                    <a:pt x="84" y="118"/>
                  </a:lnTo>
                  <a:lnTo>
                    <a:pt x="92" y="116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1" y="100"/>
                  </a:lnTo>
                  <a:lnTo>
                    <a:pt x="114" y="93"/>
                  </a:lnTo>
                  <a:lnTo>
                    <a:pt x="117" y="84"/>
                  </a:lnTo>
                  <a:lnTo>
                    <a:pt x="117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48" y="83"/>
                  </a:lnTo>
                  <a:lnTo>
                    <a:pt x="147" y="90"/>
                  </a:lnTo>
                  <a:lnTo>
                    <a:pt x="146" y="98"/>
                  </a:lnTo>
                  <a:lnTo>
                    <a:pt x="143" y="104"/>
                  </a:lnTo>
                  <a:lnTo>
                    <a:pt x="136" y="117"/>
                  </a:lnTo>
                  <a:lnTo>
                    <a:pt x="128" y="128"/>
                  </a:lnTo>
                  <a:lnTo>
                    <a:pt x="117" y="137"/>
                  </a:lnTo>
                  <a:lnTo>
                    <a:pt x="104" y="144"/>
                  </a:lnTo>
                  <a:lnTo>
                    <a:pt x="97" y="146"/>
                  </a:lnTo>
                  <a:lnTo>
                    <a:pt x="90" y="148"/>
                  </a:lnTo>
                  <a:lnTo>
                    <a:pt x="83" y="149"/>
                  </a:lnTo>
                  <a:lnTo>
                    <a:pt x="75" y="149"/>
                  </a:lnTo>
                  <a:lnTo>
                    <a:pt x="75" y="149"/>
                  </a:lnTo>
                  <a:lnTo>
                    <a:pt x="67" y="149"/>
                  </a:lnTo>
                  <a:lnTo>
                    <a:pt x="59" y="148"/>
                  </a:lnTo>
                  <a:lnTo>
                    <a:pt x="52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7"/>
                  </a:lnTo>
                  <a:lnTo>
                    <a:pt x="6" y="105"/>
                  </a:lnTo>
                  <a:lnTo>
                    <a:pt x="3" y="98"/>
                  </a:lnTo>
                  <a:lnTo>
                    <a:pt x="1" y="90"/>
                  </a:lnTo>
                  <a:lnTo>
                    <a:pt x="1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" y="67"/>
                  </a:lnTo>
                  <a:lnTo>
                    <a:pt x="1" y="59"/>
                  </a:lnTo>
                  <a:lnTo>
                    <a:pt x="3" y="51"/>
                  </a:lnTo>
                  <a:lnTo>
                    <a:pt x="6" y="45"/>
                  </a:lnTo>
                  <a:lnTo>
                    <a:pt x="12" y="32"/>
                  </a:lnTo>
                  <a:lnTo>
                    <a:pt x="22" y="21"/>
                  </a:lnTo>
                  <a:lnTo>
                    <a:pt x="33" y="12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3" y="0"/>
                  </a:lnTo>
                  <a:lnTo>
                    <a:pt x="91" y="1"/>
                  </a:lnTo>
                  <a:lnTo>
                    <a:pt x="98" y="4"/>
                  </a:lnTo>
                  <a:lnTo>
                    <a:pt x="104" y="6"/>
                  </a:lnTo>
                  <a:lnTo>
                    <a:pt x="112" y="9"/>
                  </a:lnTo>
                  <a:lnTo>
                    <a:pt x="118" y="12"/>
                  </a:lnTo>
                  <a:lnTo>
                    <a:pt x="128" y="22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98" y="38"/>
                  </a:lnTo>
                  <a:lnTo>
                    <a:pt x="91" y="34"/>
                  </a:lnTo>
                  <a:lnTo>
                    <a:pt x="84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66" y="31"/>
                  </a:lnTo>
                  <a:lnTo>
                    <a:pt x="57" y="33"/>
                  </a:lnTo>
                  <a:lnTo>
                    <a:pt x="51" y="38"/>
                  </a:lnTo>
                  <a:lnTo>
                    <a:pt x="45" y="43"/>
                  </a:lnTo>
                  <a:lnTo>
                    <a:pt x="40" y="49"/>
                  </a:lnTo>
                  <a:lnTo>
                    <a:pt x="36" y="56"/>
                  </a:lnTo>
                  <a:lnTo>
                    <a:pt x="34" y="6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84"/>
                  </a:lnTo>
                  <a:lnTo>
                    <a:pt x="36" y="93"/>
                  </a:lnTo>
                  <a:lnTo>
                    <a:pt x="40" y="100"/>
                  </a:lnTo>
                  <a:lnTo>
                    <a:pt x="45" y="106"/>
                  </a:lnTo>
                  <a:lnTo>
                    <a:pt x="51" y="112"/>
                  </a:lnTo>
                  <a:lnTo>
                    <a:pt x="57" y="116"/>
                  </a:lnTo>
                  <a:lnTo>
                    <a:pt x="66" y="118"/>
                  </a:lnTo>
                  <a:lnTo>
                    <a:pt x="75" y="120"/>
                  </a:lnTo>
                  <a:lnTo>
                    <a:pt x="75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9"/>
            <p:cNvSpPr>
              <a:spLocks/>
            </p:cNvSpPr>
            <p:nvPr userDrawn="1"/>
          </p:nvSpPr>
          <p:spPr bwMode="auto">
            <a:xfrm>
              <a:off x="1674" y="2409"/>
              <a:ext cx="10" cy="69"/>
            </a:xfrm>
            <a:custGeom>
              <a:avLst/>
              <a:gdLst>
                <a:gd name="T0" fmla="*/ 0 w 32"/>
                <a:gd name="T1" fmla="*/ 4 h 209"/>
                <a:gd name="T2" fmla="*/ 32 w 32"/>
                <a:gd name="T3" fmla="*/ 0 h 209"/>
                <a:gd name="T4" fmla="*/ 32 w 32"/>
                <a:gd name="T5" fmla="*/ 209 h 209"/>
                <a:gd name="T6" fmla="*/ 0 w 32"/>
                <a:gd name="T7" fmla="*/ 209 h 209"/>
                <a:gd name="T8" fmla="*/ 0 w 32"/>
                <a:gd name="T9" fmla="*/ 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9">
                  <a:moveTo>
                    <a:pt x="0" y="4"/>
                  </a:moveTo>
                  <a:lnTo>
                    <a:pt x="32" y="0"/>
                  </a:lnTo>
                  <a:lnTo>
                    <a:pt x="32" y="209"/>
                  </a:lnTo>
                  <a:lnTo>
                    <a:pt x="0" y="20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0"/>
            <p:cNvSpPr>
              <a:spLocks noEditPoints="1"/>
            </p:cNvSpPr>
            <p:nvPr userDrawn="1"/>
          </p:nvSpPr>
          <p:spPr bwMode="auto">
            <a:xfrm>
              <a:off x="1694" y="2429"/>
              <a:ext cx="50" cy="50"/>
            </a:xfrm>
            <a:custGeom>
              <a:avLst/>
              <a:gdLst>
                <a:gd name="T0" fmla="*/ 35 w 149"/>
                <a:gd name="T1" fmla="*/ 85 h 149"/>
                <a:gd name="T2" fmla="*/ 39 w 149"/>
                <a:gd name="T3" fmla="*/ 99 h 149"/>
                <a:gd name="T4" fmla="*/ 49 w 149"/>
                <a:gd name="T5" fmla="*/ 110 h 149"/>
                <a:gd name="T6" fmla="*/ 61 w 149"/>
                <a:gd name="T7" fmla="*/ 116 h 149"/>
                <a:gd name="T8" fmla="*/ 76 w 149"/>
                <a:gd name="T9" fmla="*/ 120 h 149"/>
                <a:gd name="T10" fmla="*/ 87 w 149"/>
                <a:gd name="T11" fmla="*/ 118 h 149"/>
                <a:gd name="T12" fmla="*/ 103 w 149"/>
                <a:gd name="T13" fmla="*/ 111 h 149"/>
                <a:gd name="T14" fmla="*/ 147 w 149"/>
                <a:gd name="T15" fmla="*/ 105 h 149"/>
                <a:gd name="T16" fmla="*/ 143 w 149"/>
                <a:gd name="T17" fmla="*/ 115 h 149"/>
                <a:gd name="T18" fmla="*/ 130 w 149"/>
                <a:gd name="T19" fmla="*/ 131 h 149"/>
                <a:gd name="T20" fmla="*/ 110 w 149"/>
                <a:gd name="T21" fmla="*/ 143 h 149"/>
                <a:gd name="T22" fmla="*/ 88 w 149"/>
                <a:gd name="T23" fmla="*/ 149 h 149"/>
                <a:gd name="T24" fmla="*/ 76 w 149"/>
                <a:gd name="T25" fmla="*/ 149 h 149"/>
                <a:gd name="T26" fmla="*/ 60 w 149"/>
                <a:gd name="T27" fmla="*/ 148 h 149"/>
                <a:gd name="T28" fmla="*/ 47 w 149"/>
                <a:gd name="T29" fmla="*/ 144 h 149"/>
                <a:gd name="T30" fmla="*/ 22 w 149"/>
                <a:gd name="T31" fmla="*/ 128 h 149"/>
                <a:gd name="T32" fmla="*/ 7 w 149"/>
                <a:gd name="T33" fmla="*/ 104 h 149"/>
                <a:gd name="T34" fmla="*/ 3 w 149"/>
                <a:gd name="T35" fmla="*/ 90 h 149"/>
                <a:gd name="T36" fmla="*/ 0 w 149"/>
                <a:gd name="T37" fmla="*/ 74 h 149"/>
                <a:gd name="T38" fmla="*/ 2 w 149"/>
                <a:gd name="T39" fmla="*/ 67 h 149"/>
                <a:gd name="T40" fmla="*/ 7 w 149"/>
                <a:gd name="T41" fmla="*/ 45 h 149"/>
                <a:gd name="T42" fmla="*/ 22 w 149"/>
                <a:gd name="T43" fmla="*/ 22 h 149"/>
                <a:gd name="T44" fmla="*/ 45 w 149"/>
                <a:gd name="T45" fmla="*/ 6 h 149"/>
                <a:gd name="T46" fmla="*/ 60 w 149"/>
                <a:gd name="T47" fmla="*/ 1 h 149"/>
                <a:gd name="T48" fmla="*/ 75 w 149"/>
                <a:gd name="T49" fmla="*/ 0 h 149"/>
                <a:gd name="T50" fmla="*/ 83 w 149"/>
                <a:gd name="T51" fmla="*/ 0 h 149"/>
                <a:gd name="T52" fmla="*/ 98 w 149"/>
                <a:gd name="T53" fmla="*/ 4 h 149"/>
                <a:gd name="T54" fmla="*/ 116 w 149"/>
                <a:gd name="T55" fmla="*/ 12 h 149"/>
                <a:gd name="T56" fmla="*/ 137 w 149"/>
                <a:gd name="T57" fmla="*/ 33 h 149"/>
                <a:gd name="T58" fmla="*/ 148 w 149"/>
                <a:gd name="T59" fmla="*/ 60 h 149"/>
                <a:gd name="T60" fmla="*/ 149 w 149"/>
                <a:gd name="T61" fmla="*/ 74 h 149"/>
                <a:gd name="T62" fmla="*/ 148 w 149"/>
                <a:gd name="T63" fmla="*/ 85 h 149"/>
                <a:gd name="T64" fmla="*/ 36 w 149"/>
                <a:gd name="T65" fmla="*/ 57 h 149"/>
                <a:gd name="T66" fmla="*/ 114 w 149"/>
                <a:gd name="T67" fmla="*/ 57 h 149"/>
                <a:gd name="T68" fmla="*/ 109 w 149"/>
                <a:gd name="T69" fmla="*/ 46 h 149"/>
                <a:gd name="T70" fmla="*/ 99 w 149"/>
                <a:gd name="T71" fmla="*/ 38 h 149"/>
                <a:gd name="T72" fmla="*/ 88 w 149"/>
                <a:gd name="T73" fmla="*/ 32 h 149"/>
                <a:gd name="T74" fmla="*/ 75 w 149"/>
                <a:gd name="T75" fmla="*/ 29 h 149"/>
                <a:gd name="T76" fmla="*/ 69 w 149"/>
                <a:gd name="T77" fmla="*/ 31 h 149"/>
                <a:gd name="T78" fmla="*/ 56 w 149"/>
                <a:gd name="T79" fmla="*/ 34 h 149"/>
                <a:gd name="T80" fmla="*/ 45 w 149"/>
                <a:gd name="T81" fmla="*/ 42 h 149"/>
                <a:gd name="T82" fmla="*/ 38 w 149"/>
                <a:gd name="T83" fmla="*/ 51 h 149"/>
                <a:gd name="T84" fmla="*/ 36 w 149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149">
                  <a:moveTo>
                    <a:pt x="35" y="85"/>
                  </a:moveTo>
                  <a:lnTo>
                    <a:pt x="35" y="85"/>
                  </a:lnTo>
                  <a:lnTo>
                    <a:pt x="37" y="93"/>
                  </a:lnTo>
                  <a:lnTo>
                    <a:pt x="39" y="99"/>
                  </a:lnTo>
                  <a:lnTo>
                    <a:pt x="44" y="105"/>
                  </a:lnTo>
                  <a:lnTo>
                    <a:pt x="49" y="110"/>
                  </a:lnTo>
                  <a:lnTo>
                    <a:pt x="54" y="113"/>
                  </a:lnTo>
                  <a:lnTo>
                    <a:pt x="61" y="116"/>
                  </a:lnTo>
                  <a:lnTo>
                    <a:pt x="69" y="118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7" y="118"/>
                  </a:lnTo>
                  <a:lnTo>
                    <a:pt x="95" y="116"/>
                  </a:lnTo>
                  <a:lnTo>
                    <a:pt x="103" y="111"/>
                  </a:lnTo>
                  <a:lnTo>
                    <a:pt x="109" y="105"/>
                  </a:lnTo>
                  <a:lnTo>
                    <a:pt x="147" y="105"/>
                  </a:lnTo>
                  <a:lnTo>
                    <a:pt x="147" y="105"/>
                  </a:lnTo>
                  <a:lnTo>
                    <a:pt x="143" y="115"/>
                  </a:lnTo>
                  <a:lnTo>
                    <a:pt x="137" y="123"/>
                  </a:lnTo>
                  <a:lnTo>
                    <a:pt x="130" y="131"/>
                  </a:lnTo>
                  <a:lnTo>
                    <a:pt x="120" y="137"/>
                  </a:lnTo>
                  <a:lnTo>
                    <a:pt x="110" y="143"/>
                  </a:lnTo>
                  <a:lnTo>
                    <a:pt x="99" y="146"/>
                  </a:lnTo>
                  <a:lnTo>
                    <a:pt x="88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69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7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4" y="116"/>
                  </a:lnTo>
                  <a:lnTo>
                    <a:pt x="7" y="104"/>
                  </a:lnTo>
                  <a:lnTo>
                    <a:pt x="4" y="96"/>
                  </a:lnTo>
                  <a:lnTo>
                    <a:pt x="3" y="90"/>
                  </a:lnTo>
                  <a:lnTo>
                    <a:pt x="2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67"/>
                  </a:lnTo>
                  <a:lnTo>
                    <a:pt x="3" y="60"/>
                  </a:lnTo>
                  <a:lnTo>
                    <a:pt x="7" y="45"/>
                  </a:lnTo>
                  <a:lnTo>
                    <a:pt x="14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3" y="0"/>
                  </a:lnTo>
                  <a:lnTo>
                    <a:pt x="91" y="1"/>
                  </a:lnTo>
                  <a:lnTo>
                    <a:pt x="98" y="4"/>
                  </a:lnTo>
                  <a:lnTo>
                    <a:pt x="104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7" y="33"/>
                  </a:lnTo>
                  <a:lnTo>
                    <a:pt x="143" y="45"/>
                  </a:lnTo>
                  <a:lnTo>
                    <a:pt x="148" y="60"/>
                  </a:lnTo>
                  <a:lnTo>
                    <a:pt x="149" y="6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8" y="85"/>
                  </a:lnTo>
                  <a:lnTo>
                    <a:pt x="35" y="85"/>
                  </a:lnTo>
                  <a:close/>
                  <a:moveTo>
                    <a:pt x="36" y="57"/>
                  </a:moveTo>
                  <a:lnTo>
                    <a:pt x="114" y="57"/>
                  </a:lnTo>
                  <a:lnTo>
                    <a:pt x="114" y="57"/>
                  </a:lnTo>
                  <a:lnTo>
                    <a:pt x="111" y="51"/>
                  </a:lnTo>
                  <a:lnTo>
                    <a:pt x="109" y="46"/>
                  </a:lnTo>
                  <a:lnTo>
                    <a:pt x="104" y="42"/>
                  </a:lnTo>
                  <a:lnTo>
                    <a:pt x="99" y="38"/>
                  </a:lnTo>
                  <a:lnTo>
                    <a:pt x="94" y="34"/>
                  </a:lnTo>
                  <a:lnTo>
                    <a:pt x="88" y="32"/>
                  </a:lnTo>
                  <a:lnTo>
                    <a:pt x="82" y="31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69" y="31"/>
                  </a:lnTo>
                  <a:lnTo>
                    <a:pt x="61" y="32"/>
                  </a:lnTo>
                  <a:lnTo>
                    <a:pt x="56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2" y="46"/>
                  </a:lnTo>
                  <a:lnTo>
                    <a:pt x="38" y="51"/>
                  </a:lnTo>
                  <a:lnTo>
                    <a:pt x="36" y="57"/>
                  </a:lnTo>
                  <a:lnTo>
                    <a:pt x="36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1"/>
            <p:cNvSpPr>
              <a:spLocks noEditPoints="1"/>
            </p:cNvSpPr>
            <p:nvPr userDrawn="1"/>
          </p:nvSpPr>
          <p:spPr bwMode="auto">
            <a:xfrm>
              <a:off x="1751" y="2429"/>
              <a:ext cx="49" cy="50"/>
            </a:xfrm>
            <a:custGeom>
              <a:avLst/>
              <a:gdLst>
                <a:gd name="T0" fmla="*/ 147 w 147"/>
                <a:gd name="T1" fmla="*/ 148 h 149"/>
                <a:gd name="T2" fmla="*/ 114 w 147"/>
                <a:gd name="T3" fmla="*/ 133 h 149"/>
                <a:gd name="T4" fmla="*/ 108 w 147"/>
                <a:gd name="T5" fmla="*/ 138 h 149"/>
                <a:gd name="T6" fmla="*/ 86 w 147"/>
                <a:gd name="T7" fmla="*/ 148 h 149"/>
                <a:gd name="T8" fmla="*/ 73 w 147"/>
                <a:gd name="T9" fmla="*/ 149 h 149"/>
                <a:gd name="T10" fmla="*/ 57 w 147"/>
                <a:gd name="T11" fmla="*/ 148 h 149"/>
                <a:gd name="T12" fmla="*/ 31 w 147"/>
                <a:gd name="T13" fmla="*/ 138 h 149"/>
                <a:gd name="T14" fmla="*/ 12 w 147"/>
                <a:gd name="T15" fmla="*/ 117 h 149"/>
                <a:gd name="T16" fmla="*/ 2 w 147"/>
                <a:gd name="T17" fmla="*/ 98 h 149"/>
                <a:gd name="T18" fmla="*/ 0 w 147"/>
                <a:gd name="T19" fmla="*/ 83 h 149"/>
                <a:gd name="T20" fmla="*/ 0 w 147"/>
                <a:gd name="T21" fmla="*/ 74 h 149"/>
                <a:gd name="T22" fmla="*/ 1 w 147"/>
                <a:gd name="T23" fmla="*/ 59 h 149"/>
                <a:gd name="T24" fmla="*/ 5 w 147"/>
                <a:gd name="T25" fmla="*/ 44 h 149"/>
                <a:gd name="T26" fmla="*/ 20 w 147"/>
                <a:gd name="T27" fmla="*/ 21 h 149"/>
                <a:gd name="T28" fmla="*/ 44 w 147"/>
                <a:gd name="T29" fmla="*/ 5 h 149"/>
                <a:gd name="T30" fmla="*/ 73 w 147"/>
                <a:gd name="T31" fmla="*/ 0 h 149"/>
                <a:gd name="T32" fmla="*/ 80 w 147"/>
                <a:gd name="T33" fmla="*/ 0 h 149"/>
                <a:gd name="T34" fmla="*/ 98 w 147"/>
                <a:gd name="T35" fmla="*/ 5 h 149"/>
                <a:gd name="T36" fmla="*/ 114 w 147"/>
                <a:gd name="T37" fmla="*/ 17 h 149"/>
                <a:gd name="T38" fmla="*/ 147 w 147"/>
                <a:gd name="T39" fmla="*/ 1 h 149"/>
                <a:gd name="T40" fmla="*/ 74 w 147"/>
                <a:gd name="T41" fmla="*/ 31 h 149"/>
                <a:gd name="T42" fmla="*/ 57 w 147"/>
                <a:gd name="T43" fmla="*/ 34 h 149"/>
                <a:gd name="T44" fmla="*/ 44 w 147"/>
                <a:gd name="T45" fmla="*/ 44 h 149"/>
                <a:gd name="T46" fmla="*/ 34 w 147"/>
                <a:gd name="T47" fmla="*/ 57 h 149"/>
                <a:gd name="T48" fmla="*/ 31 w 147"/>
                <a:gd name="T49" fmla="*/ 74 h 149"/>
                <a:gd name="T50" fmla="*/ 31 w 147"/>
                <a:gd name="T51" fmla="*/ 83 h 149"/>
                <a:gd name="T52" fmla="*/ 37 w 147"/>
                <a:gd name="T53" fmla="*/ 99 h 149"/>
                <a:gd name="T54" fmla="*/ 50 w 147"/>
                <a:gd name="T55" fmla="*/ 111 h 149"/>
                <a:gd name="T56" fmla="*/ 65 w 147"/>
                <a:gd name="T57" fmla="*/ 117 h 149"/>
                <a:gd name="T58" fmla="*/ 74 w 147"/>
                <a:gd name="T59" fmla="*/ 118 h 149"/>
                <a:gd name="T60" fmla="*/ 90 w 147"/>
                <a:gd name="T61" fmla="*/ 115 h 149"/>
                <a:gd name="T62" fmla="*/ 103 w 147"/>
                <a:gd name="T63" fmla="*/ 105 h 149"/>
                <a:gd name="T64" fmla="*/ 112 w 147"/>
                <a:gd name="T65" fmla="*/ 92 h 149"/>
                <a:gd name="T66" fmla="*/ 115 w 147"/>
                <a:gd name="T67" fmla="*/ 74 h 149"/>
                <a:gd name="T68" fmla="*/ 114 w 147"/>
                <a:gd name="T69" fmla="*/ 66 h 149"/>
                <a:gd name="T70" fmla="*/ 108 w 147"/>
                <a:gd name="T71" fmla="*/ 50 h 149"/>
                <a:gd name="T72" fmla="*/ 97 w 147"/>
                <a:gd name="T73" fmla="*/ 38 h 149"/>
                <a:gd name="T74" fmla="*/ 83 w 147"/>
                <a:gd name="T75" fmla="*/ 32 h 149"/>
                <a:gd name="T76" fmla="*/ 74 w 147"/>
                <a:gd name="T77" fmla="*/ 3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7" h="149">
                  <a:moveTo>
                    <a:pt x="147" y="1"/>
                  </a:moveTo>
                  <a:lnTo>
                    <a:pt x="147" y="148"/>
                  </a:lnTo>
                  <a:lnTo>
                    <a:pt x="114" y="148"/>
                  </a:lnTo>
                  <a:lnTo>
                    <a:pt x="114" y="133"/>
                  </a:lnTo>
                  <a:lnTo>
                    <a:pt x="114" y="133"/>
                  </a:lnTo>
                  <a:lnTo>
                    <a:pt x="108" y="138"/>
                  </a:lnTo>
                  <a:lnTo>
                    <a:pt x="98" y="144"/>
                  </a:lnTo>
                  <a:lnTo>
                    <a:pt x="86" y="148"/>
                  </a:lnTo>
                  <a:lnTo>
                    <a:pt x="80" y="149"/>
                  </a:lnTo>
                  <a:lnTo>
                    <a:pt x="73" y="149"/>
                  </a:lnTo>
                  <a:lnTo>
                    <a:pt x="73" y="149"/>
                  </a:lnTo>
                  <a:lnTo>
                    <a:pt x="57" y="148"/>
                  </a:lnTo>
                  <a:lnTo>
                    <a:pt x="44" y="144"/>
                  </a:lnTo>
                  <a:lnTo>
                    <a:pt x="31" y="138"/>
                  </a:lnTo>
                  <a:lnTo>
                    <a:pt x="20" y="128"/>
                  </a:lnTo>
                  <a:lnTo>
                    <a:pt x="12" y="117"/>
                  </a:lnTo>
                  <a:lnTo>
                    <a:pt x="5" y="105"/>
                  </a:lnTo>
                  <a:lnTo>
                    <a:pt x="2" y="98"/>
                  </a:lnTo>
                  <a:lnTo>
                    <a:pt x="1" y="90"/>
                  </a:lnTo>
                  <a:lnTo>
                    <a:pt x="0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59"/>
                  </a:lnTo>
                  <a:lnTo>
                    <a:pt x="2" y="51"/>
                  </a:lnTo>
                  <a:lnTo>
                    <a:pt x="5" y="44"/>
                  </a:lnTo>
                  <a:lnTo>
                    <a:pt x="12" y="32"/>
                  </a:lnTo>
                  <a:lnTo>
                    <a:pt x="20" y="21"/>
                  </a:lnTo>
                  <a:lnTo>
                    <a:pt x="31" y="12"/>
                  </a:lnTo>
                  <a:lnTo>
                    <a:pt x="44" y="5"/>
                  </a:lnTo>
                  <a:lnTo>
                    <a:pt x="57" y="1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6" y="1"/>
                  </a:lnTo>
                  <a:lnTo>
                    <a:pt x="98" y="5"/>
                  </a:lnTo>
                  <a:lnTo>
                    <a:pt x="108" y="11"/>
                  </a:lnTo>
                  <a:lnTo>
                    <a:pt x="114" y="17"/>
                  </a:lnTo>
                  <a:lnTo>
                    <a:pt x="114" y="1"/>
                  </a:lnTo>
                  <a:lnTo>
                    <a:pt x="147" y="1"/>
                  </a:lnTo>
                  <a:close/>
                  <a:moveTo>
                    <a:pt x="74" y="31"/>
                  </a:moveTo>
                  <a:lnTo>
                    <a:pt x="74" y="31"/>
                  </a:lnTo>
                  <a:lnTo>
                    <a:pt x="65" y="32"/>
                  </a:lnTo>
                  <a:lnTo>
                    <a:pt x="57" y="34"/>
                  </a:lnTo>
                  <a:lnTo>
                    <a:pt x="50" y="38"/>
                  </a:lnTo>
                  <a:lnTo>
                    <a:pt x="44" y="44"/>
                  </a:lnTo>
                  <a:lnTo>
                    <a:pt x="37" y="50"/>
                  </a:lnTo>
                  <a:lnTo>
                    <a:pt x="34" y="57"/>
                  </a:lnTo>
                  <a:lnTo>
                    <a:pt x="31" y="66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83"/>
                  </a:lnTo>
                  <a:lnTo>
                    <a:pt x="34" y="92"/>
                  </a:lnTo>
                  <a:lnTo>
                    <a:pt x="37" y="99"/>
                  </a:lnTo>
                  <a:lnTo>
                    <a:pt x="44" y="105"/>
                  </a:lnTo>
                  <a:lnTo>
                    <a:pt x="50" y="111"/>
                  </a:lnTo>
                  <a:lnTo>
                    <a:pt x="57" y="115"/>
                  </a:lnTo>
                  <a:lnTo>
                    <a:pt x="65" y="117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3" y="117"/>
                  </a:lnTo>
                  <a:lnTo>
                    <a:pt x="90" y="115"/>
                  </a:lnTo>
                  <a:lnTo>
                    <a:pt x="97" y="111"/>
                  </a:lnTo>
                  <a:lnTo>
                    <a:pt x="103" y="105"/>
                  </a:lnTo>
                  <a:lnTo>
                    <a:pt x="108" y="99"/>
                  </a:lnTo>
                  <a:lnTo>
                    <a:pt x="112" y="92"/>
                  </a:lnTo>
                  <a:lnTo>
                    <a:pt x="114" y="83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4" y="66"/>
                  </a:lnTo>
                  <a:lnTo>
                    <a:pt x="112" y="57"/>
                  </a:lnTo>
                  <a:lnTo>
                    <a:pt x="108" y="50"/>
                  </a:lnTo>
                  <a:lnTo>
                    <a:pt x="103" y="44"/>
                  </a:lnTo>
                  <a:lnTo>
                    <a:pt x="97" y="38"/>
                  </a:lnTo>
                  <a:lnTo>
                    <a:pt x="90" y="34"/>
                  </a:lnTo>
                  <a:lnTo>
                    <a:pt x="83" y="32"/>
                  </a:lnTo>
                  <a:lnTo>
                    <a:pt x="74" y="31"/>
                  </a:lnTo>
                  <a:lnTo>
                    <a:pt x="74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2"/>
            <p:cNvSpPr>
              <a:spLocks/>
            </p:cNvSpPr>
            <p:nvPr userDrawn="1"/>
          </p:nvSpPr>
          <p:spPr bwMode="auto">
            <a:xfrm>
              <a:off x="1812" y="2429"/>
              <a:ext cx="23" cy="49"/>
            </a:xfrm>
            <a:custGeom>
              <a:avLst/>
              <a:gdLst>
                <a:gd name="T0" fmla="*/ 0 w 70"/>
                <a:gd name="T1" fmla="*/ 1 h 148"/>
                <a:gd name="T2" fmla="*/ 32 w 70"/>
                <a:gd name="T3" fmla="*/ 1 h 148"/>
                <a:gd name="T4" fmla="*/ 32 w 70"/>
                <a:gd name="T5" fmla="*/ 17 h 148"/>
                <a:gd name="T6" fmla="*/ 32 w 70"/>
                <a:gd name="T7" fmla="*/ 17 h 148"/>
                <a:gd name="T8" fmla="*/ 38 w 70"/>
                <a:gd name="T9" fmla="*/ 10 h 148"/>
                <a:gd name="T10" fmla="*/ 47 w 70"/>
                <a:gd name="T11" fmla="*/ 5 h 148"/>
                <a:gd name="T12" fmla="*/ 50 w 70"/>
                <a:gd name="T13" fmla="*/ 3 h 148"/>
                <a:gd name="T14" fmla="*/ 56 w 70"/>
                <a:gd name="T15" fmla="*/ 1 h 148"/>
                <a:gd name="T16" fmla="*/ 62 w 70"/>
                <a:gd name="T17" fmla="*/ 0 h 148"/>
                <a:gd name="T18" fmla="*/ 70 w 70"/>
                <a:gd name="T19" fmla="*/ 0 h 148"/>
                <a:gd name="T20" fmla="*/ 70 w 70"/>
                <a:gd name="T21" fmla="*/ 31 h 148"/>
                <a:gd name="T22" fmla="*/ 67 w 70"/>
                <a:gd name="T23" fmla="*/ 31 h 148"/>
                <a:gd name="T24" fmla="*/ 67 w 70"/>
                <a:gd name="T25" fmla="*/ 31 h 148"/>
                <a:gd name="T26" fmla="*/ 60 w 70"/>
                <a:gd name="T27" fmla="*/ 32 h 148"/>
                <a:gd name="T28" fmla="*/ 53 w 70"/>
                <a:gd name="T29" fmla="*/ 33 h 148"/>
                <a:gd name="T30" fmla="*/ 47 w 70"/>
                <a:gd name="T31" fmla="*/ 37 h 148"/>
                <a:gd name="T32" fmla="*/ 42 w 70"/>
                <a:gd name="T33" fmla="*/ 40 h 148"/>
                <a:gd name="T34" fmla="*/ 38 w 70"/>
                <a:gd name="T35" fmla="*/ 46 h 148"/>
                <a:gd name="T36" fmla="*/ 34 w 70"/>
                <a:gd name="T37" fmla="*/ 53 h 148"/>
                <a:gd name="T38" fmla="*/ 33 w 70"/>
                <a:gd name="T39" fmla="*/ 60 h 148"/>
                <a:gd name="T40" fmla="*/ 32 w 70"/>
                <a:gd name="T41" fmla="*/ 67 h 148"/>
                <a:gd name="T42" fmla="*/ 32 w 70"/>
                <a:gd name="T43" fmla="*/ 148 h 148"/>
                <a:gd name="T44" fmla="*/ 0 w 70"/>
                <a:gd name="T45" fmla="*/ 148 h 148"/>
                <a:gd name="T46" fmla="*/ 0 w 70"/>
                <a:gd name="T47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148">
                  <a:moveTo>
                    <a:pt x="0" y="1"/>
                  </a:moveTo>
                  <a:lnTo>
                    <a:pt x="32" y="1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8" y="10"/>
                  </a:lnTo>
                  <a:lnTo>
                    <a:pt x="47" y="5"/>
                  </a:lnTo>
                  <a:lnTo>
                    <a:pt x="50" y="3"/>
                  </a:lnTo>
                  <a:lnTo>
                    <a:pt x="56" y="1"/>
                  </a:lnTo>
                  <a:lnTo>
                    <a:pt x="62" y="0"/>
                  </a:lnTo>
                  <a:lnTo>
                    <a:pt x="70" y="0"/>
                  </a:lnTo>
                  <a:lnTo>
                    <a:pt x="70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0" y="32"/>
                  </a:lnTo>
                  <a:lnTo>
                    <a:pt x="53" y="33"/>
                  </a:lnTo>
                  <a:lnTo>
                    <a:pt x="47" y="37"/>
                  </a:lnTo>
                  <a:lnTo>
                    <a:pt x="42" y="40"/>
                  </a:lnTo>
                  <a:lnTo>
                    <a:pt x="38" y="46"/>
                  </a:lnTo>
                  <a:lnTo>
                    <a:pt x="34" y="53"/>
                  </a:lnTo>
                  <a:lnTo>
                    <a:pt x="33" y="60"/>
                  </a:lnTo>
                  <a:lnTo>
                    <a:pt x="32" y="67"/>
                  </a:lnTo>
                  <a:lnTo>
                    <a:pt x="32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3"/>
            <p:cNvSpPr>
              <a:spLocks noEditPoints="1"/>
            </p:cNvSpPr>
            <p:nvPr userDrawn="1"/>
          </p:nvSpPr>
          <p:spPr bwMode="auto">
            <a:xfrm>
              <a:off x="1873" y="2410"/>
              <a:ext cx="40" cy="68"/>
            </a:xfrm>
            <a:custGeom>
              <a:avLst/>
              <a:gdLst>
                <a:gd name="T0" fmla="*/ 60 w 119"/>
                <a:gd name="T1" fmla="*/ 0 h 205"/>
                <a:gd name="T2" fmla="*/ 60 w 119"/>
                <a:gd name="T3" fmla="*/ 0 h 205"/>
                <a:gd name="T4" fmla="*/ 72 w 119"/>
                <a:gd name="T5" fmla="*/ 1 h 205"/>
                <a:gd name="T6" fmla="*/ 83 w 119"/>
                <a:gd name="T7" fmla="*/ 3 h 205"/>
                <a:gd name="T8" fmla="*/ 93 w 119"/>
                <a:gd name="T9" fmla="*/ 8 h 205"/>
                <a:gd name="T10" fmla="*/ 102 w 119"/>
                <a:gd name="T11" fmla="*/ 16 h 205"/>
                <a:gd name="T12" fmla="*/ 109 w 119"/>
                <a:gd name="T13" fmla="*/ 24 h 205"/>
                <a:gd name="T14" fmla="*/ 114 w 119"/>
                <a:gd name="T15" fmla="*/ 34 h 205"/>
                <a:gd name="T16" fmla="*/ 117 w 119"/>
                <a:gd name="T17" fmla="*/ 45 h 205"/>
                <a:gd name="T18" fmla="*/ 119 w 119"/>
                <a:gd name="T19" fmla="*/ 58 h 205"/>
                <a:gd name="T20" fmla="*/ 119 w 119"/>
                <a:gd name="T21" fmla="*/ 58 h 205"/>
                <a:gd name="T22" fmla="*/ 117 w 119"/>
                <a:gd name="T23" fmla="*/ 71 h 205"/>
                <a:gd name="T24" fmla="*/ 115 w 119"/>
                <a:gd name="T25" fmla="*/ 80 h 205"/>
                <a:gd name="T26" fmla="*/ 110 w 119"/>
                <a:gd name="T27" fmla="*/ 90 h 205"/>
                <a:gd name="T28" fmla="*/ 105 w 119"/>
                <a:gd name="T29" fmla="*/ 97 h 205"/>
                <a:gd name="T30" fmla="*/ 98 w 119"/>
                <a:gd name="T31" fmla="*/ 105 h 205"/>
                <a:gd name="T32" fmla="*/ 91 w 119"/>
                <a:gd name="T33" fmla="*/ 110 h 205"/>
                <a:gd name="T34" fmla="*/ 81 w 119"/>
                <a:gd name="T35" fmla="*/ 113 h 205"/>
                <a:gd name="T36" fmla="*/ 72 w 119"/>
                <a:gd name="T37" fmla="*/ 116 h 205"/>
                <a:gd name="T38" fmla="*/ 119 w 119"/>
                <a:gd name="T39" fmla="*/ 205 h 205"/>
                <a:gd name="T40" fmla="*/ 81 w 119"/>
                <a:gd name="T41" fmla="*/ 205 h 205"/>
                <a:gd name="T42" fmla="*/ 37 w 119"/>
                <a:gd name="T43" fmla="*/ 117 h 205"/>
                <a:gd name="T44" fmla="*/ 33 w 119"/>
                <a:gd name="T45" fmla="*/ 117 h 205"/>
                <a:gd name="T46" fmla="*/ 33 w 119"/>
                <a:gd name="T47" fmla="*/ 205 h 205"/>
                <a:gd name="T48" fmla="*/ 0 w 119"/>
                <a:gd name="T49" fmla="*/ 205 h 205"/>
                <a:gd name="T50" fmla="*/ 0 w 119"/>
                <a:gd name="T51" fmla="*/ 0 h 205"/>
                <a:gd name="T52" fmla="*/ 60 w 119"/>
                <a:gd name="T53" fmla="*/ 0 h 205"/>
                <a:gd name="T54" fmla="*/ 33 w 119"/>
                <a:gd name="T55" fmla="*/ 86 h 205"/>
                <a:gd name="T56" fmla="*/ 60 w 119"/>
                <a:gd name="T57" fmla="*/ 86 h 205"/>
                <a:gd name="T58" fmla="*/ 60 w 119"/>
                <a:gd name="T59" fmla="*/ 86 h 205"/>
                <a:gd name="T60" fmla="*/ 66 w 119"/>
                <a:gd name="T61" fmla="*/ 85 h 205"/>
                <a:gd name="T62" fmla="*/ 72 w 119"/>
                <a:gd name="T63" fmla="*/ 84 h 205"/>
                <a:gd name="T64" fmla="*/ 76 w 119"/>
                <a:gd name="T65" fmla="*/ 81 h 205"/>
                <a:gd name="T66" fmla="*/ 80 w 119"/>
                <a:gd name="T67" fmla="*/ 78 h 205"/>
                <a:gd name="T68" fmla="*/ 83 w 119"/>
                <a:gd name="T69" fmla="*/ 74 h 205"/>
                <a:gd name="T70" fmla="*/ 84 w 119"/>
                <a:gd name="T71" fmla="*/ 69 h 205"/>
                <a:gd name="T72" fmla="*/ 86 w 119"/>
                <a:gd name="T73" fmla="*/ 64 h 205"/>
                <a:gd name="T74" fmla="*/ 87 w 119"/>
                <a:gd name="T75" fmla="*/ 58 h 205"/>
                <a:gd name="T76" fmla="*/ 87 w 119"/>
                <a:gd name="T77" fmla="*/ 58 h 205"/>
                <a:gd name="T78" fmla="*/ 86 w 119"/>
                <a:gd name="T79" fmla="*/ 53 h 205"/>
                <a:gd name="T80" fmla="*/ 84 w 119"/>
                <a:gd name="T81" fmla="*/ 47 h 205"/>
                <a:gd name="T82" fmla="*/ 83 w 119"/>
                <a:gd name="T83" fmla="*/ 42 h 205"/>
                <a:gd name="T84" fmla="*/ 80 w 119"/>
                <a:gd name="T85" fmla="*/ 39 h 205"/>
                <a:gd name="T86" fmla="*/ 76 w 119"/>
                <a:gd name="T87" fmla="*/ 35 h 205"/>
                <a:gd name="T88" fmla="*/ 72 w 119"/>
                <a:gd name="T89" fmla="*/ 33 h 205"/>
                <a:gd name="T90" fmla="*/ 66 w 119"/>
                <a:gd name="T91" fmla="*/ 31 h 205"/>
                <a:gd name="T92" fmla="*/ 60 w 119"/>
                <a:gd name="T93" fmla="*/ 31 h 205"/>
                <a:gd name="T94" fmla="*/ 33 w 119"/>
                <a:gd name="T95" fmla="*/ 31 h 205"/>
                <a:gd name="T96" fmla="*/ 33 w 119"/>
                <a:gd name="T97" fmla="*/ 86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9" h="205">
                  <a:moveTo>
                    <a:pt x="60" y="0"/>
                  </a:moveTo>
                  <a:lnTo>
                    <a:pt x="60" y="0"/>
                  </a:lnTo>
                  <a:lnTo>
                    <a:pt x="72" y="1"/>
                  </a:lnTo>
                  <a:lnTo>
                    <a:pt x="83" y="3"/>
                  </a:lnTo>
                  <a:lnTo>
                    <a:pt x="93" y="8"/>
                  </a:lnTo>
                  <a:lnTo>
                    <a:pt x="102" y="16"/>
                  </a:lnTo>
                  <a:lnTo>
                    <a:pt x="109" y="24"/>
                  </a:lnTo>
                  <a:lnTo>
                    <a:pt x="114" y="34"/>
                  </a:lnTo>
                  <a:lnTo>
                    <a:pt x="117" y="45"/>
                  </a:lnTo>
                  <a:lnTo>
                    <a:pt x="119" y="58"/>
                  </a:lnTo>
                  <a:lnTo>
                    <a:pt x="119" y="58"/>
                  </a:lnTo>
                  <a:lnTo>
                    <a:pt x="117" y="71"/>
                  </a:lnTo>
                  <a:lnTo>
                    <a:pt x="115" y="80"/>
                  </a:lnTo>
                  <a:lnTo>
                    <a:pt x="110" y="90"/>
                  </a:lnTo>
                  <a:lnTo>
                    <a:pt x="105" y="97"/>
                  </a:lnTo>
                  <a:lnTo>
                    <a:pt x="98" y="105"/>
                  </a:lnTo>
                  <a:lnTo>
                    <a:pt x="91" y="110"/>
                  </a:lnTo>
                  <a:lnTo>
                    <a:pt x="81" y="113"/>
                  </a:lnTo>
                  <a:lnTo>
                    <a:pt x="72" y="116"/>
                  </a:lnTo>
                  <a:lnTo>
                    <a:pt x="119" y="205"/>
                  </a:lnTo>
                  <a:lnTo>
                    <a:pt x="81" y="205"/>
                  </a:lnTo>
                  <a:lnTo>
                    <a:pt x="37" y="117"/>
                  </a:lnTo>
                  <a:lnTo>
                    <a:pt x="33" y="117"/>
                  </a:lnTo>
                  <a:lnTo>
                    <a:pt x="33" y="205"/>
                  </a:lnTo>
                  <a:lnTo>
                    <a:pt x="0" y="205"/>
                  </a:lnTo>
                  <a:lnTo>
                    <a:pt x="0" y="0"/>
                  </a:lnTo>
                  <a:lnTo>
                    <a:pt x="60" y="0"/>
                  </a:lnTo>
                  <a:close/>
                  <a:moveTo>
                    <a:pt x="33" y="86"/>
                  </a:moveTo>
                  <a:lnTo>
                    <a:pt x="60" y="86"/>
                  </a:lnTo>
                  <a:lnTo>
                    <a:pt x="60" y="86"/>
                  </a:lnTo>
                  <a:lnTo>
                    <a:pt x="66" y="85"/>
                  </a:lnTo>
                  <a:lnTo>
                    <a:pt x="72" y="84"/>
                  </a:lnTo>
                  <a:lnTo>
                    <a:pt x="76" y="81"/>
                  </a:lnTo>
                  <a:lnTo>
                    <a:pt x="80" y="78"/>
                  </a:lnTo>
                  <a:lnTo>
                    <a:pt x="83" y="74"/>
                  </a:lnTo>
                  <a:lnTo>
                    <a:pt x="84" y="69"/>
                  </a:lnTo>
                  <a:lnTo>
                    <a:pt x="86" y="64"/>
                  </a:lnTo>
                  <a:lnTo>
                    <a:pt x="87" y="58"/>
                  </a:lnTo>
                  <a:lnTo>
                    <a:pt x="87" y="58"/>
                  </a:lnTo>
                  <a:lnTo>
                    <a:pt x="86" y="53"/>
                  </a:lnTo>
                  <a:lnTo>
                    <a:pt x="84" y="47"/>
                  </a:lnTo>
                  <a:lnTo>
                    <a:pt x="83" y="42"/>
                  </a:lnTo>
                  <a:lnTo>
                    <a:pt x="80" y="39"/>
                  </a:lnTo>
                  <a:lnTo>
                    <a:pt x="76" y="35"/>
                  </a:lnTo>
                  <a:lnTo>
                    <a:pt x="72" y="33"/>
                  </a:lnTo>
                  <a:lnTo>
                    <a:pt x="66" y="31"/>
                  </a:lnTo>
                  <a:lnTo>
                    <a:pt x="60" y="31"/>
                  </a:lnTo>
                  <a:lnTo>
                    <a:pt x="33" y="31"/>
                  </a:lnTo>
                  <a:lnTo>
                    <a:pt x="33" y="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4"/>
            <p:cNvSpPr>
              <a:spLocks noEditPoints="1"/>
            </p:cNvSpPr>
            <p:nvPr userDrawn="1"/>
          </p:nvSpPr>
          <p:spPr bwMode="auto">
            <a:xfrm>
              <a:off x="1918" y="2429"/>
              <a:ext cx="49" cy="50"/>
            </a:xfrm>
            <a:custGeom>
              <a:avLst/>
              <a:gdLst>
                <a:gd name="T0" fmla="*/ 34 w 149"/>
                <a:gd name="T1" fmla="*/ 85 h 149"/>
                <a:gd name="T2" fmla="*/ 39 w 149"/>
                <a:gd name="T3" fmla="*/ 99 h 149"/>
                <a:gd name="T4" fmla="*/ 48 w 149"/>
                <a:gd name="T5" fmla="*/ 110 h 149"/>
                <a:gd name="T6" fmla="*/ 60 w 149"/>
                <a:gd name="T7" fmla="*/ 116 h 149"/>
                <a:gd name="T8" fmla="*/ 76 w 149"/>
                <a:gd name="T9" fmla="*/ 120 h 149"/>
                <a:gd name="T10" fmla="*/ 85 w 149"/>
                <a:gd name="T11" fmla="*/ 118 h 149"/>
                <a:gd name="T12" fmla="*/ 102 w 149"/>
                <a:gd name="T13" fmla="*/ 111 h 149"/>
                <a:gd name="T14" fmla="*/ 146 w 149"/>
                <a:gd name="T15" fmla="*/ 105 h 149"/>
                <a:gd name="T16" fmla="*/ 141 w 149"/>
                <a:gd name="T17" fmla="*/ 115 h 149"/>
                <a:gd name="T18" fmla="*/ 128 w 149"/>
                <a:gd name="T19" fmla="*/ 131 h 149"/>
                <a:gd name="T20" fmla="*/ 110 w 149"/>
                <a:gd name="T21" fmla="*/ 143 h 149"/>
                <a:gd name="T22" fmla="*/ 87 w 149"/>
                <a:gd name="T23" fmla="*/ 149 h 149"/>
                <a:gd name="T24" fmla="*/ 76 w 149"/>
                <a:gd name="T25" fmla="*/ 149 h 149"/>
                <a:gd name="T26" fmla="*/ 60 w 149"/>
                <a:gd name="T27" fmla="*/ 148 h 149"/>
                <a:gd name="T28" fmla="*/ 45 w 149"/>
                <a:gd name="T29" fmla="*/ 144 h 149"/>
                <a:gd name="T30" fmla="*/ 22 w 149"/>
                <a:gd name="T31" fmla="*/ 128 h 149"/>
                <a:gd name="T32" fmla="*/ 6 w 149"/>
                <a:gd name="T33" fmla="*/ 104 h 149"/>
                <a:gd name="T34" fmla="*/ 1 w 149"/>
                <a:gd name="T35" fmla="*/ 90 h 149"/>
                <a:gd name="T36" fmla="*/ 0 w 149"/>
                <a:gd name="T37" fmla="*/ 74 h 149"/>
                <a:gd name="T38" fmla="*/ 0 w 149"/>
                <a:gd name="T39" fmla="*/ 67 h 149"/>
                <a:gd name="T40" fmla="*/ 6 w 149"/>
                <a:gd name="T41" fmla="*/ 45 h 149"/>
                <a:gd name="T42" fmla="*/ 22 w 149"/>
                <a:gd name="T43" fmla="*/ 22 h 149"/>
                <a:gd name="T44" fmla="*/ 45 w 149"/>
                <a:gd name="T45" fmla="*/ 6 h 149"/>
                <a:gd name="T46" fmla="*/ 59 w 149"/>
                <a:gd name="T47" fmla="*/ 1 h 149"/>
                <a:gd name="T48" fmla="*/ 74 w 149"/>
                <a:gd name="T49" fmla="*/ 0 h 149"/>
                <a:gd name="T50" fmla="*/ 82 w 149"/>
                <a:gd name="T51" fmla="*/ 0 h 149"/>
                <a:gd name="T52" fmla="*/ 96 w 149"/>
                <a:gd name="T53" fmla="*/ 4 h 149"/>
                <a:gd name="T54" fmla="*/ 116 w 149"/>
                <a:gd name="T55" fmla="*/ 12 h 149"/>
                <a:gd name="T56" fmla="*/ 135 w 149"/>
                <a:gd name="T57" fmla="*/ 33 h 149"/>
                <a:gd name="T58" fmla="*/ 146 w 149"/>
                <a:gd name="T59" fmla="*/ 60 h 149"/>
                <a:gd name="T60" fmla="*/ 149 w 149"/>
                <a:gd name="T61" fmla="*/ 74 h 149"/>
                <a:gd name="T62" fmla="*/ 148 w 149"/>
                <a:gd name="T63" fmla="*/ 85 h 149"/>
                <a:gd name="T64" fmla="*/ 36 w 149"/>
                <a:gd name="T65" fmla="*/ 57 h 149"/>
                <a:gd name="T66" fmla="*/ 113 w 149"/>
                <a:gd name="T67" fmla="*/ 57 h 149"/>
                <a:gd name="T68" fmla="*/ 107 w 149"/>
                <a:gd name="T69" fmla="*/ 46 h 149"/>
                <a:gd name="T70" fmla="*/ 99 w 149"/>
                <a:gd name="T71" fmla="*/ 38 h 149"/>
                <a:gd name="T72" fmla="*/ 88 w 149"/>
                <a:gd name="T73" fmla="*/ 32 h 149"/>
                <a:gd name="T74" fmla="*/ 74 w 149"/>
                <a:gd name="T75" fmla="*/ 29 h 149"/>
                <a:gd name="T76" fmla="*/ 67 w 149"/>
                <a:gd name="T77" fmla="*/ 31 h 149"/>
                <a:gd name="T78" fmla="*/ 55 w 149"/>
                <a:gd name="T79" fmla="*/ 34 h 149"/>
                <a:gd name="T80" fmla="*/ 45 w 149"/>
                <a:gd name="T81" fmla="*/ 42 h 149"/>
                <a:gd name="T82" fmla="*/ 38 w 149"/>
                <a:gd name="T83" fmla="*/ 51 h 149"/>
                <a:gd name="T84" fmla="*/ 36 w 149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149">
                  <a:moveTo>
                    <a:pt x="34" y="85"/>
                  </a:moveTo>
                  <a:lnTo>
                    <a:pt x="34" y="85"/>
                  </a:lnTo>
                  <a:lnTo>
                    <a:pt x="36" y="93"/>
                  </a:lnTo>
                  <a:lnTo>
                    <a:pt x="39" y="99"/>
                  </a:lnTo>
                  <a:lnTo>
                    <a:pt x="43" y="105"/>
                  </a:lnTo>
                  <a:lnTo>
                    <a:pt x="48" y="110"/>
                  </a:lnTo>
                  <a:lnTo>
                    <a:pt x="54" y="113"/>
                  </a:lnTo>
                  <a:lnTo>
                    <a:pt x="60" y="116"/>
                  </a:lnTo>
                  <a:lnTo>
                    <a:pt x="67" y="118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5" y="118"/>
                  </a:lnTo>
                  <a:lnTo>
                    <a:pt x="95" y="116"/>
                  </a:lnTo>
                  <a:lnTo>
                    <a:pt x="102" y="111"/>
                  </a:lnTo>
                  <a:lnTo>
                    <a:pt x="109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1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20" y="137"/>
                  </a:lnTo>
                  <a:lnTo>
                    <a:pt x="110" y="143"/>
                  </a:lnTo>
                  <a:lnTo>
                    <a:pt x="99" y="146"/>
                  </a:lnTo>
                  <a:lnTo>
                    <a:pt x="87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4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3" y="4"/>
                  </a:lnTo>
                  <a:lnTo>
                    <a:pt x="59" y="1"/>
                  </a:lnTo>
                  <a:lnTo>
                    <a:pt x="67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2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4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5" y="33"/>
                  </a:lnTo>
                  <a:lnTo>
                    <a:pt x="143" y="45"/>
                  </a:lnTo>
                  <a:lnTo>
                    <a:pt x="146" y="60"/>
                  </a:lnTo>
                  <a:lnTo>
                    <a:pt x="148" y="6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8" y="85"/>
                  </a:lnTo>
                  <a:lnTo>
                    <a:pt x="34" y="85"/>
                  </a:lnTo>
                  <a:close/>
                  <a:moveTo>
                    <a:pt x="36" y="57"/>
                  </a:moveTo>
                  <a:lnTo>
                    <a:pt x="113" y="57"/>
                  </a:lnTo>
                  <a:lnTo>
                    <a:pt x="113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4" y="42"/>
                  </a:lnTo>
                  <a:lnTo>
                    <a:pt x="99" y="38"/>
                  </a:lnTo>
                  <a:lnTo>
                    <a:pt x="94" y="34"/>
                  </a:lnTo>
                  <a:lnTo>
                    <a:pt x="88" y="32"/>
                  </a:lnTo>
                  <a:lnTo>
                    <a:pt x="81" y="31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6" y="57"/>
                  </a:lnTo>
                  <a:lnTo>
                    <a:pt x="36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5"/>
            <p:cNvSpPr>
              <a:spLocks/>
            </p:cNvSpPr>
            <p:nvPr userDrawn="1"/>
          </p:nvSpPr>
          <p:spPr bwMode="auto">
            <a:xfrm>
              <a:off x="1974" y="2429"/>
              <a:ext cx="33" cy="50"/>
            </a:xfrm>
            <a:custGeom>
              <a:avLst/>
              <a:gdLst>
                <a:gd name="T0" fmla="*/ 31 w 101"/>
                <a:gd name="T1" fmla="*/ 99 h 149"/>
                <a:gd name="T2" fmla="*/ 33 w 101"/>
                <a:gd name="T3" fmla="*/ 107 h 149"/>
                <a:gd name="T4" fmla="*/ 37 w 101"/>
                <a:gd name="T5" fmla="*/ 113 h 149"/>
                <a:gd name="T6" fmla="*/ 50 w 101"/>
                <a:gd name="T7" fmla="*/ 120 h 149"/>
                <a:gd name="T8" fmla="*/ 57 w 101"/>
                <a:gd name="T9" fmla="*/ 118 h 149"/>
                <a:gd name="T10" fmla="*/ 66 w 101"/>
                <a:gd name="T11" fmla="*/ 112 h 149"/>
                <a:gd name="T12" fmla="*/ 68 w 101"/>
                <a:gd name="T13" fmla="*/ 105 h 149"/>
                <a:gd name="T14" fmla="*/ 68 w 101"/>
                <a:gd name="T15" fmla="*/ 101 h 149"/>
                <a:gd name="T16" fmla="*/ 66 w 101"/>
                <a:gd name="T17" fmla="*/ 92 h 149"/>
                <a:gd name="T18" fmla="*/ 60 w 101"/>
                <a:gd name="T19" fmla="*/ 85 h 149"/>
                <a:gd name="T20" fmla="*/ 40 w 101"/>
                <a:gd name="T21" fmla="*/ 79 h 149"/>
                <a:gd name="T22" fmla="*/ 36 w 101"/>
                <a:gd name="T23" fmla="*/ 77 h 149"/>
                <a:gd name="T24" fmla="*/ 25 w 101"/>
                <a:gd name="T25" fmla="*/ 71 h 149"/>
                <a:gd name="T26" fmla="*/ 16 w 101"/>
                <a:gd name="T27" fmla="*/ 62 h 149"/>
                <a:gd name="T28" fmla="*/ 11 w 101"/>
                <a:gd name="T29" fmla="*/ 49 h 149"/>
                <a:gd name="T30" fmla="*/ 10 w 101"/>
                <a:gd name="T31" fmla="*/ 40 h 149"/>
                <a:gd name="T32" fmla="*/ 14 w 101"/>
                <a:gd name="T33" fmla="*/ 24 h 149"/>
                <a:gd name="T34" fmla="*/ 22 w 101"/>
                <a:gd name="T35" fmla="*/ 11 h 149"/>
                <a:gd name="T36" fmla="*/ 34 w 101"/>
                <a:gd name="T37" fmla="*/ 3 h 149"/>
                <a:gd name="T38" fmla="*/ 50 w 101"/>
                <a:gd name="T39" fmla="*/ 0 h 149"/>
                <a:gd name="T40" fmla="*/ 61 w 101"/>
                <a:gd name="T41" fmla="*/ 1 h 149"/>
                <a:gd name="T42" fmla="*/ 78 w 101"/>
                <a:gd name="T43" fmla="*/ 11 h 149"/>
                <a:gd name="T44" fmla="*/ 65 w 101"/>
                <a:gd name="T45" fmla="*/ 38 h 149"/>
                <a:gd name="T46" fmla="*/ 64 w 101"/>
                <a:gd name="T47" fmla="*/ 34 h 149"/>
                <a:gd name="T48" fmla="*/ 56 w 101"/>
                <a:gd name="T49" fmla="*/ 29 h 149"/>
                <a:gd name="T50" fmla="*/ 53 w 101"/>
                <a:gd name="T51" fmla="*/ 28 h 149"/>
                <a:gd name="T52" fmla="*/ 44 w 101"/>
                <a:gd name="T53" fmla="*/ 32 h 149"/>
                <a:gd name="T54" fmla="*/ 40 w 101"/>
                <a:gd name="T55" fmla="*/ 40 h 149"/>
                <a:gd name="T56" fmla="*/ 42 w 101"/>
                <a:gd name="T57" fmla="*/ 44 h 149"/>
                <a:gd name="T58" fmla="*/ 47 w 101"/>
                <a:gd name="T59" fmla="*/ 50 h 149"/>
                <a:gd name="T60" fmla="*/ 61 w 101"/>
                <a:gd name="T61" fmla="*/ 55 h 149"/>
                <a:gd name="T62" fmla="*/ 73 w 101"/>
                <a:gd name="T63" fmla="*/ 59 h 149"/>
                <a:gd name="T64" fmla="*/ 83 w 101"/>
                <a:gd name="T65" fmla="*/ 63 h 149"/>
                <a:gd name="T66" fmla="*/ 93 w 101"/>
                <a:gd name="T67" fmla="*/ 72 h 149"/>
                <a:gd name="T68" fmla="*/ 99 w 101"/>
                <a:gd name="T69" fmla="*/ 84 h 149"/>
                <a:gd name="T70" fmla="*/ 101 w 101"/>
                <a:gd name="T71" fmla="*/ 100 h 149"/>
                <a:gd name="T72" fmla="*/ 100 w 101"/>
                <a:gd name="T73" fmla="*/ 111 h 149"/>
                <a:gd name="T74" fmla="*/ 93 w 101"/>
                <a:gd name="T75" fmla="*/ 128 h 149"/>
                <a:gd name="T76" fmla="*/ 79 w 101"/>
                <a:gd name="T77" fmla="*/ 142 h 149"/>
                <a:gd name="T78" fmla="*/ 61 w 101"/>
                <a:gd name="T79" fmla="*/ 149 h 149"/>
                <a:gd name="T80" fmla="*/ 50 w 101"/>
                <a:gd name="T81" fmla="*/ 149 h 149"/>
                <a:gd name="T82" fmla="*/ 29 w 101"/>
                <a:gd name="T83" fmla="*/ 145 h 149"/>
                <a:gd name="T84" fmla="*/ 14 w 101"/>
                <a:gd name="T85" fmla="*/ 135 h 149"/>
                <a:gd name="T86" fmla="*/ 4 w 101"/>
                <a:gd name="T87" fmla="*/ 118 h 149"/>
                <a:gd name="T88" fmla="*/ 0 w 101"/>
                <a:gd name="T89" fmla="*/ 9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1" h="149">
                  <a:moveTo>
                    <a:pt x="31" y="99"/>
                  </a:moveTo>
                  <a:lnTo>
                    <a:pt x="31" y="99"/>
                  </a:lnTo>
                  <a:lnTo>
                    <a:pt x="32" y="104"/>
                  </a:lnTo>
                  <a:lnTo>
                    <a:pt x="33" y="107"/>
                  </a:lnTo>
                  <a:lnTo>
                    <a:pt x="34" y="111"/>
                  </a:lnTo>
                  <a:lnTo>
                    <a:pt x="37" y="113"/>
                  </a:lnTo>
                  <a:lnTo>
                    <a:pt x="43" y="117"/>
                  </a:lnTo>
                  <a:lnTo>
                    <a:pt x="50" y="120"/>
                  </a:lnTo>
                  <a:lnTo>
                    <a:pt x="50" y="120"/>
                  </a:lnTo>
                  <a:lnTo>
                    <a:pt x="57" y="118"/>
                  </a:lnTo>
                  <a:lnTo>
                    <a:pt x="64" y="115"/>
                  </a:lnTo>
                  <a:lnTo>
                    <a:pt x="66" y="112"/>
                  </a:lnTo>
                  <a:lnTo>
                    <a:pt x="67" y="109"/>
                  </a:lnTo>
                  <a:lnTo>
                    <a:pt x="68" y="105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95"/>
                  </a:lnTo>
                  <a:lnTo>
                    <a:pt x="66" y="92"/>
                  </a:lnTo>
                  <a:lnTo>
                    <a:pt x="64" y="88"/>
                  </a:lnTo>
                  <a:lnTo>
                    <a:pt x="60" y="85"/>
                  </a:lnTo>
                  <a:lnTo>
                    <a:pt x="51" y="82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36" y="77"/>
                  </a:lnTo>
                  <a:lnTo>
                    <a:pt x="29" y="74"/>
                  </a:lnTo>
                  <a:lnTo>
                    <a:pt x="25" y="71"/>
                  </a:lnTo>
                  <a:lnTo>
                    <a:pt x="20" y="67"/>
                  </a:lnTo>
                  <a:lnTo>
                    <a:pt x="16" y="62"/>
                  </a:lnTo>
                  <a:lnTo>
                    <a:pt x="12" y="56"/>
                  </a:lnTo>
                  <a:lnTo>
                    <a:pt x="11" y="49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1" y="32"/>
                  </a:lnTo>
                  <a:lnTo>
                    <a:pt x="14" y="24"/>
                  </a:lnTo>
                  <a:lnTo>
                    <a:pt x="17" y="17"/>
                  </a:lnTo>
                  <a:lnTo>
                    <a:pt x="22" y="11"/>
                  </a:lnTo>
                  <a:lnTo>
                    <a:pt x="28" y="6"/>
                  </a:lnTo>
                  <a:lnTo>
                    <a:pt x="34" y="3"/>
                  </a:lnTo>
                  <a:lnTo>
                    <a:pt x="43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61" y="1"/>
                  </a:lnTo>
                  <a:lnTo>
                    <a:pt x="71" y="5"/>
                  </a:lnTo>
                  <a:lnTo>
                    <a:pt x="78" y="11"/>
                  </a:lnTo>
                  <a:lnTo>
                    <a:pt x="85" y="1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4" y="34"/>
                  </a:lnTo>
                  <a:lnTo>
                    <a:pt x="60" y="31"/>
                  </a:lnTo>
                  <a:lnTo>
                    <a:pt x="56" y="29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48" y="29"/>
                  </a:lnTo>
                  <a:lnTo>
                    <a:pt x="44" y="32"/>
                  </a:lnTo>
                  <a:lnTo>
                    <a:pt x="42" y="35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2" y="44"/>
                  </a:lnTo>
                  <a:lnTo>
                    <a:pt x="44" y="48"/>
                  </a:lnTo>
                  <a:lnTo>
                    <a:pt x="47" y="50"/>
                  </a:lnTo>
                  <a:lnTo>
                    <a:pt x="51" y="53"/>
                  </a:lnTo>
                  <a:lnTo>
                    <a:pt x="61" y="55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8" y="61"/>
                  </a:lnTo>
                  <a:lnTo>
                    <a:pt x="83" y="63"/>
                  </a:lnTo>
                  <a:lnTo>
                    <a:pt x="88" y="67"/>
                  </a:lnTo>
                  <a:lnTo>
                    <a:pt x="93" y="72"/>
                  </a:lnTo>
                  <a:lnTo>
                    <a:pt x="96" y="78"/>
                  </a:lnTo>
                  <a:lnTo>
                    <a:pt x="99" y="84"/>
                  </a:lnTo>
                  <a:lnTo>
                    <a:pt x="100" y="92"/>
                  </a:lnTo>
                  <a:lnTo>
                    <a:pt x="101" y="100"/>
                  </a:lnTo>
                  <a:lnTo>
                    <a:pt x="101" y="100"/>
                  </a:lnTo>
                  <a:lnTo>
                    <a:pt x="100" y="111"/>
                  </a:lnTo>
                  <a:lnTo>
                    <a:pt x="98" y="121"/>
                  </a:lnTo>
                  <a:lnTo>
                    <a:pt x="93" y="128"/>
                  </a:lnTo>
                  <a:lnTo>
                    <a:pt x="87" y="135"/>
                  </a:lnTo>
                  <a:lnTo>
                    <a:pt x="79" y="142"/>
                  </a:lnTo>
                  <a:lnTo>
                    <a:pt x="71" y="146"/>
                  </a:lnTo>
                  <a:lnTo>
                    <a:pt x="61" y="149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39" y="149"/>
                  </a:lnTo>
                  <a:lnTo>
                    <a:pt x="29" y="145"/>
                  </a:lnTo>
                  <a:lnTo>
                    <a:pt x="21" y="140"/>
                  </a:lnTo>
                  <a:lnTo>
                    <a:pt x="14" y="135"/>
                  </a:lnTo>
                  <a:lnTo>
                    <a:pt x="9" y="127"/>
                  </a:lnTo>
                  <a:lnTo>
                    <a:pt x="4" y="118"/>
                  </a:lnTo>
                  <a:lnTo>
                    <a:pt x="1" y="110"/>
                  </a:lnTo>
                  <a:lnTo>
                    <a:pt x="0" y="99"/>
                  </a:lnTo>
                  <a:lnTo>
                    <a:pt x="31" y="9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6"/>
            <p:cNvSpPr>
              <a:spLocks noEditPoints="1"/>
            </p:cNvSpPr>
            <p:nvPr userDrawn="1"/>
          </p:nvSpPr>
          <p:spPr bwMode="auto">
            <a:xfrm>
              <a:off x="2015" y="2429"/>
              <a:ext cx="49" cy="50"/>
            </a:xfrm>
            <a:custGeom>
              <a:avLst/>
              <a:gdLst>
                <a:gd name="T0" fmla="*/ 34 w 149"/>
                <a:gd name="T1" fmla="*/ 85 h 149"/>
                <a:gd name="T2" fmla="*/ 39 w 149"/>
                <a:gd name="T3" fmla="*/ 99 h 149"/>
                <a:gd name="T4" fmla="*/ 48 w 149"/>
                <a:gd name="T5" fmla="*/ 110 h 149"/>
                <a:gd name="T6" fmla="*/ 60 w 149"/>
                <a:gd name="T7" fmla="*/ 116 h 149"/>
                <a:gd name="T8" fmla="*/ 75 w 149"/>
                <a:gd name="T9" fmla="*/ 120 h 149"/>
                <a:gd name="T10" fmla="*/ 85 w 149"/>
                <a:gd name="T11" fmla="*/ 118 h 149"/>
                <a:gd name="T12" fmla="*/ 103 w 149"/>
                <a:gd name="T13" fmla="*/ 111 h 149"/>
                <a:gd name="T14" fmla="*/ 146 w 149"/>
                <a:gd name="T15" fmla="*/ 105 h 149"/>
                <a:gd name="T16" fmla="*/ 141 w 149"/>
                <a:gd name="T17" fmla="*/ 115 h 149"/>
                <a:gd name="T18" fmla="*/ 128 w 149"/>
                <a:gd name="T19" fmla="*/ 131 h 149"/>
                <a:gd name="T20" fmla="*/ 110 w 149"/>
                <a:gd name="T21" fmla="*/ 143 h 149"/>
                <a:gd name="T22" fmla="*/ 87 w 149"/>
                <a:gd name="T23" fmla="*/ 149 h 149"/>
                <a:gd name="T24" fmla="*/ 75 w 149"/>
                <a:gd name="T25" fmla="*/ 149 h 149"/>
                <a:gd name="T26" fmla="*/ 60 w 149"/>
                <a:gd name="T27" fmla="*/ 148 h 149"/>
                <a:gd name="T28" fmla="*/ 45 w 149"/>
                <a:gd name="T29" fmla="*/ 144 h 149"/>
                <a:gd name="T30" fmla="*/ 22 w 149"/>
                <a:gd name="T31" fmla="*/ 128 h 149"/>
                <a:gd name="T32" fmla="*/ 6 w 149"/>
                <a:gd name="T33" fmla="*/ 104 h 149"/>
                <a:gd name="T34" fmla="*/ 1 w 149"/>
                <a:gd name="T35" fmla="*/ 90 h 149"/>
                <a:gd name="T36" fmla="*/ 0 w 149"/>
                <a:gd name="T37" fmla="*/ 74 h 149"/>
                <a:gd name="T38" fmla="*/ 0 w 149"/>
                <a:gd name="T39" fmla="*/ 67 h 149"/>
                <a:gd name="T40" fmla="*/ 6 w 149"/>
                <a:gd name="T41" fmla="*/ 45 h 149"/>
                <a:gd name="T42" fmla="*/ 21 w 149"/>
                <a:gd name="T43" fmla="*/ 22 h 149"/>
                <a:gd name="T44" fmla="*/ 45 w 149"/>
                <a:gd name="T45" fmla="*/ 6 h 149"/>
                <a:gd name="T46" fmla="*/ 59 w 149"/>
                <a:gd name="T47" fmla="*/ 1 h 149"/>
                <a:gd name="T48" fmla="*/ 75 w 149"/>
                <a:gd name="T49" fmla="*/ 0 h 149"/>
                <a:gd name="T50" fmla="*/ 82 w 149"/>
                <a:gd name="T51" fmla="*/ 0 h 149"/>
                <a:gd name="T52" fmla="*/ 96 w 149"/>
                <a:gd name="T53" fmla="*/ 4 h 149"/>
                <a:gd name="T54" fmla="*/ 116 w 149"/>
                <a:gd name="T55" fmla="*/ 12 h 149"/>
                <a:gd name="T56" fmla="*/ 135 w 149"/>
                <a:gd name="T57" fmla="*/ 33 h 149"/>
                <a:gd name="T58" fmla="*/ 146 w 149"/>
                <a:gd name="T59" fmla="*/ 60 h 149"/>
                <a:gd name="T60" fmla="*/ 149 w 149"/>
                <a:gd name="T61" fmla="*/ 74 h 149"/>
                <a:gd name="T62" fmla="*/ 148 w 149"/>
                <a:gd name="T63" fmla="*/ 85 h 149"/>
                <a:gd name="T64" fmla="*/ 36 w 149"/>
                <a:gd name="T65" fmla="*/ 57 h 149"/>
                <a:gd name="T66" fmla="*/ 113 w 149"/>
                <a:gd name="T67" fmla="*/ 57 h 149"/>
                <a:gd name="T68" fmla="*/ 107 w 149"/>
                <a:gd name="T69" fmla="*/ 46 h 149"/>
                <a:gd name="T70" fmla="*/ 99 w 149"/>
                <a:gd name="T71" fmla="*/ 38 h 149"/>
                <a:gd name="T72" fmla="*/ 87 w 149"/>
                <a:gd name="T73" fmla="*/ 32 h 149"/>
                <a:gd name="T74" fmla="*/ 75 w 149"/>
                <a:gd name="T75" fmla="*/ 29 h 149"/>
                <a:gd name="T76" fmla="*/ 67 w 149"/>
                <a:gd name="T77" fmla="*/ 31 h 149"/>
                <a:gd name="T78" fmla="*/ 55 w 149"/>
                <a:gd name="T79" fmla="*/ 34 h 149"/>
                <a:gd name="T80" fmla="*/ 45 w 149"/>
                <a:gd name="T81" fmla="*/ 42 h 149"/>
                <a:gd name="T82" fmla="*/ 38 w 149"/>
                <a:gd name="T83" fmla="*/ 51 h 149"/>
                <a:gd name="T84" fmla="*/ 36 w 149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149">
                  <a:moveTo>
                    <a:pt x="34" y="85"/>
                  </a:moveTo>
                  <a:lnTo>
                    <a:pt x="34" y="85"/>
                  </a:lnTo>
                  <a:lnTo>
                    <a:pt x="36" y="93"/>
                  </a:lnTo>
                  <a:lnTo>
                    <a:pt x="39" y="99"/>
                  </a:lnTo>
                  <a:lnTo>
                    <a:pt x="43" y="105"/>
                  </a:lnTo>
                  <a:lnTo>
                    <a:pt x="48" y="110"/>
                  </a:lnTo>
                  <a:lnTo>
                    <a:pt x="54" y="113"/>
                  </a:lnTo>
                  <a:lnTo>
                    <a:pt x="60" y="116"/>
                  </a:lnTo>
                  <a:lnTo>
                    <a:pt x="67" y="118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85" y="118"/>
                  </a:lnTo>
                  <a:lnTo>
                    <a:pt x="95" y="116"/>
                  </a:lnTo>
                  <a:lnTo>
                    <a:pt x="103" y="111"/>
                  </a:lnTo>
                  <a:lnTo>
                    <a:pt x="107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1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20" y="137"/>
                  </a:lnTo>
                  <a:lnTo>
                    <a:pt x="110" y="143"/>
                  </a:lnTo>
                  <a:lnTo>
                    <a:pt x="99" y="146"/>
                  </a:lnTo>
                  <a:lnTo>
                    <a:pt x="87" y="149"/>
                  </a:lnTo>
                  <a:lnTo>
                    <a:pt x="75" y="149"/>
                  </a:lnTo>
                  <a:lnTo>
                    <a:pt x="75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4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1" y="22"/>
                  </a:lnTo>
                  <a:lnTo>
                    <a:pt x="32" y="12"/>
                  </a:lnTo>
                  <a:lnTo>
                    <a:pt x="45" y="6"/>
                  </a:lnTo>
                  <a:lnTo>
                    <a:pt x="51" y="4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2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4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5" y="33"/>
                  </a:lnTo>
                  <a:lnTo>
                    <a:pt x="143" y="45"/>
                  </a:lnTo>
                  <a:lnTo>
                    <a:pt x="146" y="60"/>
                  </a:lnTo>
                  <a:lnTo>
                    <a:pt x="148" y="6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8" y="85"/>
                  </a:lnTo>
                  <a:lnTo>
                    <a:pt x="34" y="85"/>
                  </a:lnTo>
                  <a:close/>
                  <a:moveTo>
                    <a:pt x="36" y="57"/>
                  </a:moveTo>
                  <a:lnTo>
                    <a:pt x="113" y="57"/>
                  </a:lnTo>
                  <a:lnTo>
                    <a:pt x="113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4" y="42"/>
                  </a:lnTo>
                  <a:lnTo>
                    <a:pt x="99" y="38"/>
                  </a:lnTo>
                  <a:lnTo>
                    <a:pt x="93" y="34"/>
                  </a:lnTo>
                  <a:lnTo>
                    <a:pt x="87" y="32"/>
                  </a:lnTo>
                  <a:lnTo>
                    <a:pt x="81" y="31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6" y="57"/>
                  </a:lnTo>
                  <a:lnTo>
                    <a:pt x="36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7"/>
            <p:cNvSpPr>
              <a:spLocks noEditPoints="1"/>
            </p:cNvSpPr>
            <p:nvPr userDrawn="1"/>
          </p:nvSpPr>
          <p:spPr bwMode="auto">
            <a:xfrm>
              <a:off x="2071" y="2429"/>
              <a:ext cx="49" cy="50"/>
            </a:xfrm>
            <a:custGeom>
              <a:avLst/>
              <a:gdLst>
                <a:gd name="T0" fmla="*/ 148 w 148"/>
                <a:gd name="T1" fmla="*/ 148 h 149"/>
                <a:gd name="T2" fmla="*/ 115 w 148"/>
                <a:gd name="T3" fmla="*/ 133 h 149"/>
                <a:gd name="T4" fmla="*/ 109 w 148"/>
                <a:gd name="T5" fmla="*/ 138 h 149"/>
                <a:gd name="T6" fmla="*/ 88 w 148"/>
                <a:gd name="T7" fmla="*/ 148 h 149"/>
                <a:gd name="T8" fmla="*/ 73 w 148"/>
                <a:gd name="T9" fmla="*/ 149 h 149"/>
                <a:gd name="T10" fmla="*/ 59 w 148"/>
                <a:gd name="T11" fmla="*/ 148 h 149"/>
                <a:gd name="T12" fmla="*/ 32 w 148"/>
                <a:gd name="T13" fmla="*/ 138 h 149"/>
                <a:gd name="T14" fmla="*/ 12 w 148"/>
                <a:gd name="T15" fmla="*/ 117 h 149"/>
                <a:gd name="T16" fmla="*/ 4 w 148"/>
                <a:gd name="T17" fmla="*/ 98 h 149"/>
                <a:gd name="T18" fmla="*/ 0 w 148"/>
                <a:gd name="T19" fmla="*/ 83 h 149"/>
                <a:gd name="T20" fmla="*/ 0 w 148"/>
                <a:gd name="T21" fmla="*/ 74 h 149"/>
                <a:gd name="T22" fmla="*/ 1 w 148"/>
                <a:gd name="T23" fmla="*/ 59 h 149"/>
                <a:gd name="T24" fmla="*/ 6 w 148"/>
                <a:gd name="T25" fmla="*/ 44 h 149"/>
                <a:gd name="T26" fmla="*/ 21 w 148"/>
                <a:gd name="T27" fmla="*/ 21 h 149"/>
                <a:gd name="T28" fmla="*/ 44 w 148"/>
                <a:gd name="T29" fmla="*/ 5 h 149"/>
                <a:gd name="T30" fmla="*/ 73 w 148"/>
                <a:gd name="T31" fmla="*/ 0 h 149"/>
                <a:gd name="T32" fmla="*/ 81 w 148"/>
                <a:gd name="T33" fmla="*/ 0 h 149"/>
                <a:gd name="T34" fmla="*/ 99 w 148"/>
                <a:gd name="T35" fmla="*/ 5 h 149"/>
                <a:gd name="T36" fmla="*/ 115 w 148"/>
                <a:gd name="T37" fmla="*/ 17 h 149"/>
                <a:gd name="T38" fmla="*/ 148 w 148"/>
                <a:gd name="T39" fmla="*/ 1 h 149"/>
                <a:gd name="T40" fmla="*/ 75 w 148"/>
                <a:gd name="T41" fmla="*/ 31 h 149"/>
                <a:gd name="T42" fmla="*/ 58 w 148"/>
                <a:gd name="T43" fmla="*/ 34 h 149"/>
                <a:gd name="T44" fmla="*/ 44 w 148"/>
                <a:gd name="T45" fmla="*/ 44 h 149"/>
                <a:gd name="T46" fmla="*/ 36 w 148"/>
                <a:gd name="T47" fmla="*/ 57 h 149"/>
                <a:gd name="T48" fmla="*/ 32 w 148"/>
                <a:gd name="T49" fmla="*/ 74 h 149"/>
                <a:gd name="T50" fmla="*/ 33 w 148"/>
                <a:gd name="T51" fmla="*/ 83 h 149"/>
                <a:gd name="T52" fmla="*/ 39 w 148"/>
                <a:gd name="T53" fmla="*/ 99 h 149"/>
                <a:gd name="T54" fmla="*/ 50 w 148"/>
                <a:gd name="T55" fmla="*/ 111 h 149"/>
                <a:gd name="T56" fmla="*/ 66 w 148"/>
                <a:gd name="T57" fmla="*/ 117 h 149"/>
                <a:gd name="T58" fmla="*/ 75 w 148"/>
                <a:gd name="T59" fmla="*/ 118 h 149"/>
                <a:gd name="T60" fmla="*/ 92 w 148"/>
                <a:gd name="T61" fmla="*/ 115 h 149"/>
                <a:gd name="T62" fmla="*/ 105 w 148"/>
                <a:gd name="T63" fmla="*/ 105 h 149"/>
                <a:gd name="T64" fmla="*/ 114 w 148"/>
                <a:gd name="T65" fmla="*/ 92 h 149"/>
                <a:gd name="T66" fmla="*/ 116 w 148"/>
                <a:gd name="T67" fmla="*/ 74 h 149"/>
                <a:gd name="T68" fmla="*/ 116 w 148"/>
                <a:gd name="T69" fmla="*/ 66 h 149"/>
                <a:gd name="T70" fmla="*/ 110 w 148"/>
                <a:gd name="T71" fmla="*/ 50 h 149"/>
                <a:gd name="T72" fmla="*/ 98 w 148"/>
                <a:gd name="T73" fmla="*/ 38 h 149"/>
                <a:gd name="T74" fmla="*/ 83 w 148"/>
                <a:gd name="T75" fmla="*/ 32 h 149"/>
                <a:gd name="T76" fmla="*/ 75 w 148"/>
                <a:gd name="T77" fmla="*/ 3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8" h="149">
                  <a:moveTo>
                    <a:pt x="148" y="1"/>
                  </a:moveTo>
                  <a:lnTo>
                    <a:pt x="148" y="148"/>
                  </a:lnTo>
                  <a:lnTo>
                    <a:pt x="115" y="148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09" y="138"/>
                  </a:lnTo>
                  <a:lnTo>
                    <a:pt x="99" y="144"/>
                  </a:lnTo>
                  <a:lnTo>
                    <a:pt x="88" y="148"/>
                  </a:lnTo>
                  <a:lnTo>
                    <a:pt x="81" y="149"/>
                  </a:lnTo>
                  <a:lnTo>
                    <a:pt x="73" y="149"/>
                  </a:lnTo>
                  <a:lnTo>
                    <a:pt x="73" y="149"/>
                  </a:lnTo>
                  <a:lnTo>
                    <a:pt x="59" y="148"/>
                  </a:lnTo>
                  <a:lnTo>
                    <a:pt x="44" y="144"/>
                  </a:lnTo>
                  <a:lnTo>
                    <a:pt x="32" y="138"/>
                  </a:lnTo>
                  <a:lnTo>
                    <a:pt x="21" y="128"/>
                  </a:lnTo>
                  <a:lnTo>
                    <a:pt x="12" y="117"/>
                  </a:lnTo>
                  <a:lnTo>
                    <a:pt x="6" y="105"/>
                  </a:lnTo>
                  <a:lnTo>
                    <a:pt x="4" y="98"/>
                  </a:lnTo>
                  <a:lnTo>
                    <a:pt x="1" y="90"/>
                  </a:lnTo>
                  <a:lnTo>
                    <a:pt x="0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59"/>
                  </a:lnTo>
                  <a:lnTo>
                    <a:pt x="4" y="51"/>
                  </a:lnTo>
                  <a:lnTo>
                    <a:pt x="6" y="44"/>
                  </a:lnTo>
                  <a:lnTo>
                    <a:pt x="12" y="32"/>
                  </a:lnTo>
                  <a:lnTo>
                    <a:pt x="21" y="21"/>
                  </a:lnTo>
                  <a:lnTo>
                    <a:pt x="32" y="12"/>
                  </a:lnTo>
                  <a:lnTo>
                    <a:pt x="44" y="5"/>
                  </a:lnTo>
                  <a:lnTo>
                    <a:pt x="59" y="1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7" y="1"/>
                  </a:lnTo>
                  <a:lnTo>
                    <a:pt x="99" y="5"/>
                  </a:lnTo>
                  <a:lnTo>
                    <a:pt x="109" y="11"/>
                  </a:lnTo>
                  <a:lnTo>
                    <a:pt x="115" y="17"/>
                  </a:lnTo>
                  <a:lnTo>
                    <a:pt x="115" y="1"/>
                  </a:lnTo>
                  <a:lnTo>
                    <a:pt x="148" y="1"/>
                  </a:lnTo>
                  <a:close/>
                  <a:moveTo>
                    <a:pt x="75" y="31"/>
                  </a:moveTo>
                  <a:lnTo>
                    <a:pt x="75" y="31"/>
                  </a:lnTo>
                  <a:lnTo>
                    <a:pt x="66" y="32"/>
                  </a:lnTo>
                  <a:lnTo>
                    <a:pt x="58" y="34"/>
                  </a:lnTo>
                  <a:lnTo>
                    <a:pt x="50" y="38"/>
                  </a:lnTo>
                  <a:lnTo>
                    <a:pt x="44" y="44"/>
                  </a:lnTo>
                  <a:lnTo>
                    <a:pt x="39" y="50"/>
                  </a:lnTo>
                  <a:lnTo>
                    <a:pt x="36" y="57"/>
                  </a:lnTo>
                  <a:lnTo>
                    <a:pt x="33" y="66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3" y="83"/>
                  </a:lnTo>
                  <a:lnTo>
                    <a:pt x="36" y="92"/>
                  </a:lnTo>
                  <a:lnTo>
                    <a:pt x="39" y="99"/>
                  </a:lnTo>
                  <a:lnTo>
                    <a:pt x="44" y="105"/>
                  </a:lnTo>
                  <a:lnTo>
                    <a:pt x="50" y="111"/>
                  </a:lnTo>
                  <a:lnTo>
                    <a:pt x="58" y="115"/>
                  </a:lnTo>
                  <a:lnTo>
                    <a:pt x="66" y="117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83" y="117"/>
                  </a:lnTo>
                  <a:lnTo>
                    <a:pt x="92" y="115"/>
                  </a:lnTo>
                  <a:lnTo>
                    <a:pt x="98" y="111"/>
                  </a:lnTo>
                  <a:lnTo>
                    <a:pt x="105" y="105"/>
                  </a:lnTo>
                  <a:lnTo>
                    <a:pt x="110" y="99"/>
                  </a:lnTo>
                  <a:lnTo>
                    <a:pt x="114" y="92"/>
                  </a:lnTo>
                  <a:lnTo>
                    <a:pt x="116" y="83"/>
                  </a:lnTo>
                  <a:lnTo>
                    <a:pt x="116" y="74"/>
                  </a:lnTo>
                  <a:lnTo>
                    <a:pt x="116" y="74"/>
                  </a:lnTo>
                  <a:lnTo>
                    <a:pt x="116" y="66"/>
                  </a:lnTo>
                  <a:lnTo>
                    <a:pt x="114" y="57"/>
                  </a:lnTo>
                  <a:lnTo>
                    <a:pt x="110" y="50"/>
                  </a:lnTo>
                  <a:lnTo>
                    <a:pt x="105" y="44"/>
                  </a:lnTo>
                  <a:lnTo>
                    <a:pt x="98" y="38"/>
                  </a:lnTo>
                  <a:lnTo>
                    <a:pt x="92" y="34"/>
                  </a:lnTo>
                  <a:lnTo>
                    <a:pt x="83" y="32"/>
                  </a:lnTo>
                  <a:lnTo>
                    <a:pt x="75" y="31"/>
                  </a:lnTo>
                  <a:lnTo>
                    <a:pt x="75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8"/>
            <p:cNvSpPr>
              <a:spLocks/>
            </p:cNvSpPr>
            <p:nvPr userDrawn="1"/>
          </p:nvSpPr>
          <p:spPr bwMode="auto">
            <a:xfrm>
              <a:off x="2132" y="2429"/>
              <a:ext cx="23" cy="49"/>
            </a:xfrm>
            <a:custGeom>
              <a:avLst/>
              <a:gdLst>
                <a:gd name="T0" fmla="*/ 0 w 69"/>
                <a:gd name="T1" fmla="*/ 1 h 148"/>
                <a:gd name="T2" fmla="*/ 33 w 69"/>
                <a:gd name="T3" fmla="*/ 1 h 148"/>
                <a:gd name="T4" fmla="*/ 33 w 69"/>
                <a:gd name="T5" fmla="*/ 17 h 148"/>
                <a:gd name="T6" fmla="*/ 33 w 69"/>
                <a:gd name="T7" fmla="*/ 17 h 148"/>
                <a:gd name="T8" fmla="*/ 38 w 69"/>
                <a:gd name="T9" fmla="*/ 10 h 148"/>
                <a:gd name="T10" fmla="*/ 46 w 69"/>
                <a:gd name="T11" fmla="*/ 5 h 148"/>
                <a:gd name="T12" fmla="*/ 51 w 69"/>
                <a:gd name="T13" fmla="*/ 3 h 148"/>
                <a:gd name="T14" fmla="*/ 56 w 69"/>
                <a:gd name="T15" fmla="*/ 1 h 148"/>
                <a:gd name="T16" fmla="*/ 63 w 69"/>
                <a:gd name="T17" fmla="*/ 0 h 148"/>
                <a:gd name="T18" fmla="*/ 69 w 69"/>
                <a:gd name="T19" fmla="*/ 0 h 148"/>
                <a:gd name="T20" fmla="*/ 69 w 69"/>
                <a:gd name="T21" fmla="*/ 31 h 148"/>
                <a:gd name="T22" fmla="*/ 67 w 69"/>
                <a:gd name="T23" fmla="*/ 31 h 148"/>
                <a:gd name="T24" fmla="*/ 67 w 69"/>
                <a:gd name="T25" fmla="*/ 31 h 148"/>
                <a:gd name="T26" fmla="*/ 60 w 69"/>
                <a:gd name="T27" fmla="*/ 32 h 148"/>
                <a:gd name="T28" fmla="*/ 54 w 69"/>
                <a:gd name="T29" fmla="*/ 33 h 148"/>
                <a:gd name="T30" fmla="*/ 47 w 69"/>
                <a:gd name="T31" fmla="*/ 37 h 148"/>
                <a:gd name="T32" fmla="*/ 43 w 69"/>
                <a:gd name="T33" fmla="*/ 40 h 148"/>
                <a:gd name="T34" fmla="*/ 38 w 69"/>
                <a:gd name="T35" fmla="*/ 46 h 148"/>
                <a:gd name="T36" fmla="*/ 35 w 69"/>
                <a:gd name="T37" fmla="*/ 53 h 148"/>
                <a:gd name="T38" fmla="*/ 33 w 69"/>
                <a:gd name="T39" fmla="*/ 60 h 148"/>
                <a:gd name="T40" fmla="*/ 33 w 69"/>
                <a:gd name="T41" fmla="*/ 67 h 148"/>
                <a:gd name="T42" fmla="*/ 33 w 69"/>
                <a:gd name="T43" fmla="*/ 148 h 148"/>
                <a:gd name="T44" fmla="*/ 0 w 69"/>
                <a:gd name="T45" fmla="*/ 148 h 148"/>
                <a:gd name="T46" fmla="*/ 0 w 69"/>
                <a:gd name="T47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148">
                  <a:moveTo>
                    <a:pt x="0" y="1"/>
                  </a:moveTo>
                  <a:lnTo>
                    <a:pt x="33" y="1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8" y="10"/>
                  </a:lnTo>
                  <a:lnTo>
                    <a:pt x="46" y="5"/>
                  </a:lnTo>
                  <a:lnTo>
                    <a:pt x="51" y="3"/>
                  </a:lnTo>
                  <a:lnTo>
                    <a:pt x="56" y="1"/>
                  </a:lnTo>
                  <a:lnTo>
                    <a:pt x="63" y="0"/>
                  </a:lnTo>
                  <a:lnTo>
                    <a:pt x="69" y="0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0" y="32"/>
                  </a:lnTo>
                  <a:lnTo>
                    <a:pt x="54" y="33"/>
                  </a:lnTo>
                  <a:lnTo>
                    <a:pt x="47" y="37"/>
                  </a:lnTo>
                  <a:lnTo>
                    <a:pt x="43" y="40"/>
                  </a:lnTo>
                  <a:lnTo>
                    <a:pt x="38" y="46"/>
                  </a:lnTo>
                  <a:lnTo>
                    <a:pt x="35" y="53"/>
                  </a:lnTo>
                  <a:lnTo>
                    <a:pt x="33" y="60"/>
                  </a:lnTo>
                  <a:lnTo>
                    <a:pt x="33" y="67"/>
                  </a:lnTo>
                  <a:lnTo>
                    <a:pt x="33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9"/>
            <p:cNvSpPr>
              <a:spLocks/>
            </p:cNvSpPr>
            <p:nvPr userDrawn="1"/>
          </p:nvSpPr>
          <p:spPr bwMode="auto">
            <a:xfrm>
              <a:off x="2160" y="2429"/>
              <a:ext cx="50" cy="50"/>
            </a:xfrm>
            <a:custGeom>
              <a:avLst/>
              <a:gdLst>
                <a:gd name="T0" fmla="*/ 76 w 150"/>
                <a:gd name="T1" fmla="*/ 120 h 149"/>
                <a:gd name="T2" fmla="*/ 93 w 150"/>
                <a:gd name="T3" fmla="*/ 116 h 149"/>
                <a:gd name="T4" fmla="*/ 106 w 150"/>
                <a:gd name="T5" fmla="*/ 106 h 149"/>
                <a:gd name="T6" fmla="*/ 115 w 150"/>
                <a:gd name="T7" fmla="*/ 93 h 149"/>
                <a:gd name="T8" fmla="*/ 117 w 150"/>
                <a:gd name="T9" fmla="*/ 74 h 149"/>
                <a:gd name="T10" fmla="*/ 150 w 150"/>
                <a:gd name="T11" fmla="*/ 74 h 149"/>
                <a:gd name="T12" fmla="*/ 149 w 150"/>
                <a:gd name="T13" fmla="*/ 90 h 149"/>
                <a:gd name="T14" fmla="*/ 144 w 150"/>
                <a:gd name="T15" fmla="*/ 104 h 149"/>
                <a:gd name="T16" fmla="*/ 128 w 150"/>
                <a:gd name="T17" fmla="*/ 128 h 149"/>
                <a:gd name="T18" fmla="*/ 105 w 150"/>
                <a:gd name="T19" fmla="*/ 144 h 149"/>
                <a:gd name="T20" fmla="*/ 90 w 150"/>
                <a:gd name="T21" fmla="*/ 148 h 149"/>
                <a:gd name="T22" fmla="*/ 76 w 150"/>
                <a:gd name="T23" fmla="*/ 149 h 149"/>
                <a:gd name="T24" fmla="*/ 67 w 150"/>
                <a:gd name="T25" fmla="*/ 149 h 149"/>
                <a:gd name="T26" fmla="*/ 53 w 150"/>
                <a:gd name="T27" fmla="*/ 146 h 149"/>
                <a:gd name="T28" fmla="*/ 33 w 150"/>
                <a:gd name="T29" fmla="*/ 137 h 149"/>
                <a:gd name="T30" fmla="*/ 14 w 150"/>
                <a:gd name="T31" fmla="*/ 117 h 149"/>
                <a:gd name="T32" fmla="*/ 4 w 150"/>
                <a:gd name="T33" fmla="*/ 98 h 149"/>
                <a:gd name="T34" fmla="*/ 1 w 150"/>
                <a:gd name="T35" fmla="*/ 83 h 149"/>
                <a:gd name="T36" fmla="*/ 0 w 150"/>
                <a:gd name="T37" fmla="*/ 74 h 149"/>
                <a:gd name="T38" fmla="*/ 3 w 150"/>
                <a:gd name="T39" fmla="*/ 59 h 149"/>
                <a:gd name="T40" fmla="*/ 6 w 150"/>
                <a:gd name="T41" fmla="*/ 45 h 149"/>
                <a:gd name="T42" fmla="*/ 22 w 150"/>
                <a:gd name="T43" fmla="*/ 21 h 149"/>
                <a:gd name="T44" fmla="*/ 45 w 150"/>
                <a:gd name="T45" fmla="*/ 5 h 149"/>
                <a:gd name="T46" fmla="*/ 60 w 150"/>
                <a:gd name="T47" fmla="*/ 1 h 149"/>
                <a:gd name="T48" fmla="*/ 76 w 150"/>
                <a:gd name="T49" fmla="*/ 0 h 149"/>
                <a:gd name="T50" fmla="*/ 84 w 150"/>
                <a:gd name="T51" fmla="*/ 0 h 149"/>
                <a:gd name="T52" fmla="*/ 99 w 150"/>
                <a:gd name="T53" fmla="*/ 4 h 149"/>
                <a:gd name="T54" fmla="*/ 112 w 150"/>
                <a:gd name="T55" fmla="*/ 9 h 149"/>
                <a:gd name="T56" fmla="*/ 129 w 150"/>
                <a:gd name="T57" fmla="*/ 22 h 149"/>
                <a:gd name="T58" fmla="*/ 105 w 150"/>
                <a:gd name="T59" fmla="*/ 43 h 149"/>
                <a:gd name="T60" fmla="*/ 93 w 150"/>
                <a:gd name="T61" fmla="*/ 34 h 149"/>
                <a:gd name="T62" fmla="*/ 76 w 150"/>
                <a:gd name="T63" fmla="*/ 31 h 149"/>
                <a:gd name="T64" fmla="*/ 66 w 150"/>
                <a:gd name="T65" fmla="*/ 31 h 149"/>
                <a:gd name="T66" fmla="*/ 51 w 150"/>
                <a:gd name="T67" fmla="*/ 38 h 149"/>
                <a:gd name="T68" fmla="*/ 40 w 150"/>
                <a:gd name="T69" fmla="*/ 49 h 149"/>
                <a:gd name="T70" fmla="*/ 34 w 150"/>
                <a:gd name="T71" fmla="*/ 65 h 149"/>
                <a:gd name="T72" fmla="*/ 33 w 150"/>
                <a:gd name="T73" fmla="*/ 74 h 149"/>
                <a:gd name="T74" fmla="*/ 37 w 150"/>
                <a:gd name="T75" fmla="*/ 93 h 149"/>
                <a:gd name="T76" fmla="*/ 45 w 150"/>
                <a:gd name="T77" fmla="*/ 106 h 149"/>
                <a:gd name="T78" fmla="*/ 59 w 150"/>
                <a:gd name="T79" fmla="*/ 116 h 149"/>
                <a:gd name="T80" fmla="*/ 76 w 150"/>
                <a:gd name="T81" fmla="*/ 12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49">
                  <a:moveTo>
                    <a:pt x="76" y="120"/>
                  </a:moveTo>
                  <a:lnTo>
                    <a:pt x="76" y="120"/>
                  </a:lnTo>
                  <a:lnTo>
                    <a:pt x="84" y="118"/>
                  </a:lnTo>
                  <a:lnTo>
                    <a:pt x="93" y="116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1" y="100"/>
                  </a:lnTo>
                  <a:lnTo>
                    <a:pt x="115" y="93"/>
                  </a:lnTo>
                  <a:lnTo>
                    <a:pt x="117" y="84"/>
                  </a:lnTo>
                  <a:lnTo>
                    <a:pt x="117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83"/>
                  </a:lnTo>
                  <a:lnTo>
                    <a:pt x="149" y="90"/>
                  </a:lnTo>
                  <a:lnTo>
                    <a:pt x="146" y="98"/>
                  </a:lnTo>
                  <a:lnTo>
                    <a:pt x="144" y="104"/>
                  </a:lnTo>
                  <a:lnTo>
                    <a:pt x="138" y="117"/>
                  </a:lnTo>
                  <a:lnTo>
                    <a:pt x="128" y="128"/>
                  </a:lnTo>
                  <a:lnTo>
                    <a:pt x="117" y="137"/>
                  </a:lnTo>
                  <a:lnTo>
                    <a:pt x="105" y="144"/>
                  </a:lnTo>
                  <a:lnTo>
                    <a:pt x="98" y="146"/>
                  </a:lnTo>
                  <a:lnTo>
                    <a:pt x="90" y="148"/>
                  </a:lnTo>
                  <a:lnTo>
                    <a:pt x="83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4" y="117"/>
                  </a:lnTo>
                  <a:lnTo>
                    <a:pt x="6" y="105"/>
                  </a:lnTo>
                  <a:lnTo>
                    <a:pt x="4" y="98"/>
                  </a:lnTo>
                  <a:lnTo>
                    <a:pt x="3" y="90"/>
                  </a:lnTo>
                  <a:lnTo>
                    <a:pt x="1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" y="67"/>
                  </a:lnTo>
                  <a:lnTo>
                    <a:pt x="3" y="59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14" y="32"/>
                  </a:lnTo>
                  <a:lnTo>
                    <a:pt x="22" y="21"/>
                  </a:lnTo>
                  <a:lnTo>
                    <a:pt x="33" y="12"/>
                  </a:lnTo>
                  <a:lnTo>
                    <a:pt x="45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7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2" y="9"/>
                  </a:lnTo>
                  <a:lnTo>
                    <a:pt x="118" y="12"/>
                  </a:lnTo>
                  <a:lnTo>
                    <a:pt x="129" y="22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99" y="38"/>
                  </a:lnTo>
                  <a:lnTo>
                    <a:pt x="93" y="34"/>
                  </a:lnTo>
                  <a:lnTo>
                    <a:pt x="84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66" y="31"/>
                  </a:lnTo>
                  <a:lnTo>
                    <a:pt x="59" y="33"/>
                  </a:lnTo>
                  <a:lnTo>
                    <a:pt x="51" y="38"/>
                  </a:lnTo>
                  <a:lnTo>
                    <a:pt x="45" y="43"/>
                  </a:lnTo>
                  <a:lnTo>
                    <a:pt x="40" y="49"/>
                  </a:lnTo>
                  <a:lnTo>
                    <a:pt x="37" y="56"/>
                  </a:lnTo>
                  <a:lnTo>
                    <a:pt x="34" y="6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84"/>
                  </a:lnTo>
                  <a:lnTo>
                    <a:pt x="37" y="93"/>
                  </a:lnTo>
                  <a:lnTo>
                    <a:pt x="40" y="100"/>
                  </a:lnTo>
                  <a:lnTo>
                    <a:pt x="45" y="106"/>
                  </a:lnTo>
                  <a:lnTo>
                    <a:pt x="51" y="112"/>
                  </a:lnTo>
                  <a:lnTo>
                    <a:pt x="59" y="116"/>
                  </a:lnTo>
                  <a:lnTo>
                    <a:pt x="66" y="118"/>
                  </a:lnTo>
                  <a:lnTo>
                    <a:pt x="76" y="120"/>
                  </a:lnTo>
                  <a:lnTo>
                    <a:pt x="76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0"/>
            <p:cNvSpPr>
              <a:spLocks/>
            </p:cNvSpPr>
            <p:nvPr userDrawn="1"/>
          </p:nvSpPr>
          <p:spPr bwMode="auto">
            <a:xfrm>
              <a:off x="2219" y="2409"/>
              <a:ext cx="43" cy="69"/>
            </a:xfrm>
            <a:custGeom>
              <a:avLst/>
              <a:gdLst>
                <a:gd name="T0" fmla="*/ 0 w 130"/>
                <a:gd name="T1" fmla="*/ 4 h 209"/>
                <a:gd name="T2" fmla="*/ 31 w 130"/>
                <a:gd name="T3" fmla="*/ 0 h 209"/>
                <a:gd name="T4" fmla="*/ 31 w 130"/>
                <a:gd name="T5" fmla="*/ 79 h 209"/>
                <a:gd name="T6" fmla="*/ 31 w 130"/>
                <a:gd name="T7" fmla="*/ 79 h 209"/>
                <a:gd name="T8" fmla="*/ 39 w 130"/>
                <a:gd name="T9" fmla="*/ 72 h 209"/>
                <a:gd name="T10" fmla="*/ 48 w 130"/>
                <a:gd name="T11" fmla="*/ 66 h 209"/>
                <a:gd name="T12" fmla="*/ 60 w 130"/>
                <a:gd name="T13" fmla="*/ 62 h 209"/>
                <a:gd name="T14" fmla="*/ 67 w 130"/>
                <a:gd name="T15" fmla="*/ 61 h 209"/>
                <a:gd name="T16" fmla="*/ 74 w 130"/>
                <a:gd name="T17" fmla="*/ 61 h 209"/>
                <a:gd name="T18" fmla="*/ 74 w 130"/>
                <a:gd name="T19" fmla="*/ 61 h 209"/>
                <a:gd name="T20" fmla="*/ 86 w 130"/>
                <a:gd name="T21" fmla="*/ 62 h 209"/>
                <a:gd name="T22" fmla="*/ 97 w 130"/>
                <a:gd name="T23" fmla="*/ 65 h 209"/>
                <a:gd name="T24" fmla="*/ 107 w 130"/>
                <a:gd name="T25" fmla="*/ 70 h 209"/>
                <a:gd name="T26" fmla="*/ 114 w 130"/>
                <a:gd name="T27" fmla="*/ 77 h 209"/>
                <a:gd name="T28" fmla="*/ 120 w 130"/>
                <a:gd name="T29" fmla="*/ 85 h 209"/>
                <a:gd name="T30" fmla="*/ 125 w 130"/>
                <a:gd name="T31" fmla="*/ 95 h 209"/>
                <a:gd name="T32" fmla="*/ 129 w 130"/>
                <a:gd name="T33" fmla="*/ 107 h 209"/>
                <a:gd name="T34" fmla="*/ 130 w 130"/>
                <a:gd name="T35" fmla="*/ 121 h 209"/>
                <a:gd name="T36" fmla="*/ 130 w 130"/>
                <a:gd name="T37" fmla="*/ 209 h 209"/>
                <a:gd name="T38" fmla="*/ 97 w 130"/>
                <a:gd name="T39" fmla="*/ 209 h 209"/>
                <a:gd name="T40" fmla="*/ 97 w 130"/>
                <a:gd name="T41" fmla="*/ 128 h 209"/>
                <a:gd name="T42" fmla="*/ 97 w 130"/>
                <a:gd name="T43" fmla="*/ 128 h 209"/>
                <a:gd name="T44" fmla="*/ 97 w 130"/>
                <a:gd name="T45" fmla="*/ 120 h 209"/>
                <a:gd name="T46" fmla="*/ 96 w 130"/>
                <a:gd name="T47" fmla="*/ 112 h 209"/>
                <a:gd name="T48" fmla="*/ 93 w 130"/>
                <a:gd name="T49" fmla="*/ 106 h 209"/>
                <a:gd name="T50" fmla="*/ 90 w 130"/>
                <a:gd name="T51" fmla="*/ 101 h 209"/>
                <a:gd name="T52" fmla="*/ 85 w 130"/>
                <a:gd name="T53" fmla="*/ 96 h 209"/>
                <a:gd name="T54" fmla="*/ 80 w 130"/>
                <a:gd name="T55" fmla="*/ 94 h 209"/>
                <a:gd name="T56" fmla="*/ 73 w 130"/>
                <a:gd name="T57" fmla="*/ 92 h 209"/>
                <a:gd name="T58" fmla="*/ 65 w 130"/>
                <a:gd name="T59" fmla="*/ 92 h 209"/>
                <a:gd name="T60" fmla="*/ 65 w 130"/>
                <a:gd name="T61" fmla="*/ 92 h 209"/>
                <a:gd name="T62" fmla="*/ 58 w 130"/>
                <a:gd name="T63" fmla="*/ 92 h 209"/>
                <a:gd name="T64" fmla="*/ 52 w 130"/>
                <a:gd name="T65" fmla="*/ 94 h 209"/>
                <a:gd name="T66" fmla="*/ 46 w 130"/>
                <a:gd name="T67" fmla="*/ 98 h 209"/>
                <a:gd name="T68" fmla="*/ 41 w 130"/>
                <a:gd name="T69" fmla="*/ 101 h 209"/>
                <a:gd name="T70" fmla="*/ 37 w 130"/>
                <a:gd name="T71" fmla="*/ 107 h 209"/>
                <a:gd name="T72" fmla="*/ 34 w 130"/>
                <a:gd name="T73" fmla="*/ 114 h 209"/>
                <a:gd name="T74" fmla="*/ 32 w 130"/>
                <a:gd name="T75" fmla="*/ 121 h 209"/>
                <a:gd name="T76" fmla="*/ 31 w 130"/>
                <a:gd name="T77" fmla="*/ 128 h 209"/>
                <a:gd name="T78" fmla="*/ 31 w 130"/>
                <a:gd name="T79" fmla="*/ 209 h 209"/>
                <a:gd name="T80" fmla="*/ 0 w 130"/>
                <a:gd name="T81" fmla="*/ 209 h 209"/>
                <a:gd name="T82" fmla="*/ 0 w 130"/>
                <a:gd name="T83" fmla="*/ 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0" h="209">
                  <a:moveTo>
                    <a:pt x="0" y="4"/>
                  </a:moveTo>
                  <a:lnTo>
                    <a:pt x="31" y="0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9" y="72"/>
                  </a:lnTo>
                  <a:lnTo>
                    <a:pt x="48" y="66"/>
                  </a:lnTo>
                  <a:lnTo>
                    <a:pt x="60" y="62"/>
                  </a:lnTo>
                  <a:lnTo>
                    <a:pt x="67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86" y="62"/>
                  </a:lnTo>
                  <a:lnTo>
                    <a:pt x="97" y="65"/>
                  </a:lnTo>
                  <a:lnTo>
                    <a:pt x="107" y="70"/>
                  </a:lnTo>
                  <a:lnTo>
                    <a:pt x="114" y="77"/>
                  </a:lnTo>
                  <a:lnTo>
                    <a:pt x="120" y="85"/>
                  </a:lnTo>
                  <a:lnTo>
                    <a:pt x="125" y="95"/>
                  </a:lnTo>
                  <a:lnTo>
                    <a:pt x="129" y="107"/>
                  </a:lnTo>
                  <a:lnTo>
                    <a:pt x="130" y="121"/>
                  </a:lnTo>
                  <a:lnTo>
                    <a:pt x="130" y="209"/>
                  </a:lnTo>
                  <a:lnTo>
                    <a:pt x="97" y="209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0"/>
                  </a:lnTo>
                  <a:lnTo>
                    <a:pt x="96" y="112"/>
                  </a:lnTo>
                  <a:lnTo>
                    <a:pt x="93" y="106"/>
                  </a:lnTo>
                  <a:lnTo>
                    <a:pt x="90" y="101"/>
                  </a:lnTo>
                  <a:lnTo>
                    <a:pt x="85" y="96"/>
                  </a:lnTo>
                  <a:lnTo>
                    <a:pt x="80" y="94"/>
                  </a:lnTo>
                  <a:lnTo>
                    <a:pt x="73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58" y="92"/>
                  </a:lnTo>
                  <a:lnTo>
                    <a:pt x="52" y="94"/>
                  </a:lnTo>
                  <a:lnTo>
                    <a:pt x="46" y="98"/>
                  </a:lnTo>
                  <a:lnTo>
                    <a:pt x="41" y="101"/>
                  </a:lnTo>
                  <a:lnTo>
                    <a:pt x="37" y="107"/>
                  </a:lnTo>
                  <a:lnTo>
                    <a:pt x="34" y="114"/>
                  </a:lnTo>
                  <a:lnTo>
                    <a:pt x="32" y="121"/>
                  </a:lnTo>
                  <a:lnTo>
                    <a:pt x="31" y="128"/>
                  </a:lnTo>
                  <a:lnTo>
                    <a:pt x="31" y="209"/>
                  </a:lnTo>
                  <a:lnTo>
                    <a:pt x="0" y="20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1"/>
            <p:cNvSpPr>
              <a:spLocks/>
            </p:cNvSpPr>
            <p:nvPr userDrawn="1"/>
          </p:nvSpPr>
          <p:spPr bwMode="auto">
            <a:xfrm>
              <a:off x="2300" y="2410"/>
              <a:ext cx="67" cy="69"/>
            </a:xfrm>
            <a:custGeom>
              <a:avLst/>
              <a:gdLst>
                <a:gd name="T0" fmla="*/ 101 w 202"/>
                <a:gd name="T1" fmla="*/ 176 h 207"/>
                <a:gd name="T2" fmla="*/ 129 w 202"/>
                <a:gd name="T3" fmla="*/ 171 h 207"/>
                <a:gd name="T4" fmla="*/ 150 w 202"/>
                <a:gd name="T5" fmla="*/ 156 h 207"/>
                <a:gd name="T6" fmla="*/ 165 w 202"/>
                <a:gd name="T7" fmla="*/ 132 h 207"/>
                <a:gd name="T8" fmla="*/ 170 w 202"/>
                <a:gd name="T9" fmla="*/ 103 h 207"/>
                <a:gd name="T10" fmla="*/ 202 w 202"/>
                <a:gd name="T11" fmla="*/ 103 h 207"/>
                <a:gd name="T12" fmla="*/ 201 w 202"/>
                <a:gd name="T13" fmla="*/ 124 h 207"/>
                <a:gd name="T14" fmla="*/ 195 w 202"/>
                <a:gd name="T15" fmla="*/ 143 h 207"/>
                <a:gd name="T16" fmla="*/ 185 w 202"/>
                <a:gd name="T17" fmla="*/ 162 h 207"/>
                <a:gd name="T18" fmla="*/ 173 w 202"/>
                <a:gd name="T19" fmla="*/ 178 h 207"/>
                <a:gd name="T20" fmla="*/ 159 w 202"/>
                <a:gd name="T21" fmla="*/ 190 h 207"/>
                <a:gd name="T22" fmla="*/ 142 w 202"/>
                <a:gd name="T23" fmla="*/ 200 h 207"/>
                <a:gd name="T24" fmla="*/ 122 w 202"/>
                <a:gd name="T25" fmla="*/ 206 h 207"/>
                <a:gd name="T26" fmla="*/ 101 w 202"/>
                <a:gd name="T27" fmla="*/ 207 h 207"/>
                <a:gd name="T28" fmla="*/ 92 w 202"/>
                <a:gd name="T29" fmla="*/ 207 h 207"/>
                <a:gd name="T30" fmla="*/ 71 w 202"/>
                <a:gd name="T31" fmla="*/ 203 h 207"/>
                <a:gd name="T32" fmla="*/ 53 w 202"/>
                <a:gd name="T33" fmla="*/ 195 h 207"/>
                <a:gd name="T34" fmla="*/ 37 w 202"/>
                <a:gd name="T35" fmla="*/ 184 h 207"/>
                <a:gd name="T36" fmla="*/ 23 w 202"/>
                <a:gd name="T37" fmla="*/ 169 h 207"/>
                <a:gd name="T38" fmla="*/ 12 w 202"/>
                <a:gd name="T39" fmla="*/ 153 h 207"/>
                <a:gd name="T40" fmla="*/ 5 w 202"/>
                <a:gd name="T41" fmla="*/ 135 h 207"/>
                <a:gd name="T42" fmla="*/ 2 w 202"/>
                <a:gd name="T43" fmla="*/ 114 h 207"/>
                <a:gd name="T44" fmla="*/ 0 w 202"/>
                <a:gd name="T45" fmla="*/ 103 h 207"/>
                <a:gd name="T46" fmla="*/ 3 w 202"/>
                <a:gd name="T47" fmla="*/ 82 h 207"/>
                <a:gd name="T48" fmla="*/ 9 w 202"/>
                <a:gd name="T49" fmla="*/ 63 h 207"/>
                <a:gd name="T50" fmla="*/ 17 w 202"/>
                <a:gd name="T51" fmla="*/ 45 h 207"/>
                <a:gd name="T52" fmla="*/ 30 w 202"/>
                <a:gd name="T53" fmla="*/ 30 h 207"/>
                <a:gd name="T54" fmla="*/ 44 w 202"/>
                <a:gd name="T55" fmla="*/ 17 h 207"/>
                <a:gd name="T56" fmla="*/ 61 w 202"/>
                <a:gd name="T57" fmla="*/ 8 h 207"/>
                <a:gd name="T58" fmla="*/ 81 w 202"/>
                <a:gd name="T59" fmla="*/ 2 h 207"/>
                <a:gd name="T60" fmla="*/ 101 w 202"/>
                <a:gd name="T61" fmla="*/ 0 h 207"/>
                <a:gd name="T62" fmla="*/ 114 w 202"/>
                <a:gd name="T63" fmla="*/ 0 h 207"/>
                <a:gd name="T64" fmla="*/ 135 w 202"/>
                <a:gd name="T65" fmla="*/ 6 h 207"/>
                <a:gd name="T66" fmla="*/ 155 w 202"/>
                <a:gd name="T67" fmla="*/ 15 h 207"/>
                <a:gd name="T68" fmla="*/ 172 w 202"/>
                <a:gd name="T69" fmla="*/ 29 h 207"/>
                <a:gd name="T70" fmla="*/ 156 w 202"/>
                <a:gd name="T71" fmla="*/ 59 h 207"/>
                <a:gd name="T72" fmla="*/ 151 w 202"/>
                <a:gd name="T73" fmla="*/ 53 h 207"/>
                <a:gd name="T74" fmla="*/ 140 w 202"/>
                <a:gd name="T75" fmla="*/ 42 h 207"/>
                <a:gd name="T76" fmla="*/ 127 w 202"/>
                <a:gd name="T77" fmla="*/ 35 h 207"/>
                <a:gd name="T78" fmla="*/ 111 w 202"/>
                <a:gd name="T79" fmla="*/ 31 h 207"/>
                <a:gd name="T80" fmla="*/ 101 w 202"/>
                <a:gd name="T81" fmla="*/ 30 h 207"/>
                <a:gd name="T82" fmla="*/ 88 w 202"/>
                <a:gd name="T83" fmla="*/ 31 h 207"/>
                <a:gd name="T84" fmla="*/ 75 w 202"/>
                <a:gd name="T85" fmla="*/ 36 h 207"/>
                <a:gd name="T86" fmla="*/ 53 w 202"/>
                <a:gd name="T87" fmla="*/ 52 h 207"/>
                <a:gd name="T88" fmla="*/ 39 w 202"/>
                <a:gd name="T89" fmla="*/ 75 h 207"/>
                <a:gd name="T90" fmla="*/ 34 w 202"/>
                <a:gd name="T91" fmla="*/ 103 h 207"/>
                <a:gd name="T92" fmla="*/ 36 w 202"/>
                <a:gd name="T93" fmla="*/ 118 h 207"/>
                <a:gd name="T94" fmla="*/ 45 w 202"/>
                <a:gd name="T95" fmla="*/ 145 h 207"/>
                <a:gd name="T96" fmla="*/ 62 w 202"/>
                <a:gd name="T97" fmla="*/ 164 h 207"/>
                <a:gd name="T98" fmla="*/ 81 w 202"/>
                <a:gd name="T99" fmla="*/ 173 h 207"/>
                <a:gd name="T100" fmla="*/ 94 w 202"/>
                <a:gd name="T101" fmla="*/ 176 h 207"/>
                <a:gd name="T102" fmla="*/ 101 w 202"/>
                <a:gd name="T103" fmla="*/ 17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2" h="207">
                  <a:moveTo>
                    <a:pt x="101" y="176"/>
                  </a:moveTo>
                  <a:lnTo>
                    <a:pt x="101" y="176"/>
                  </a:lnTo>
                  <a:lnTo>
                    <a:pt x="116" y="175"/>
                  </a:lnTo>
                  <a:lnTo>
                    <a:pt x="129" y="171"/>
                  </a:lnTo>
                  <a:lnTo>
                    <a:pt x="140" y="164"/>
                  </a:lnTo>
                  <a:lnTo>
                    <a:pt x="150" y="156"/>
                  </a:lnTo>
                  <a:lnTo>
                    <a:pt x="159" y="145"/>
                  </a:lnTo>
                  <a:lnTo>
                    <a:pt x="165" y="132"/>
                  </a:lnTo>
                  <a:lnTo>
                    <a:pt x="168" y="119"/>
                  </a:lnTo>
                  <a:lnTo>
                    <a:pt x="170" y="103"/>
                  </a:lnTo>
                  <a:lnTo>
                    <a:pt x="202" y="103"/>
                  </a:lnTo>
                  <a:lnTo>
                    <a:pt x="202" y="103"/>
                  </a:lnTo>
                  <a:lnTo>
                    <a:pt x="202" y="114"/>
                  </a:lnTo>
                  <a:lnTo>
                    <a:pt x="201" y="124"/>
                  </a:lnTo>
                  <a:lnTo>
                    <a:pt x="199" y="135"/>
                  </a:lnTo>
                  <a:lnTo>
                    <a:pt x="195" y="143"/>
                  </a:lnTo>
                  <a:lnTo>
                    <a:pt x="190" y="153"/>
                  </a:lnTo>
                  <a:lnTo>
                    <a:pt x="185" y="162"/>
                  </a:lnTo>
                  <a:lnTo>
                    <a:pt x="181" y="169"/>
                  </a:lnTo>
                  <a:lnTo>
                    <a:pt x="173" y="178"/>
                  </a:lnTo>
                  <a:lnTo>
                    <a:pt x="167" y="184"/>
                  </a:lnTo>
                  <a:lnTo>
                    <a:pt x="159" y="190"/>
                  </a:lnTo>
                  <a:lnTo>
                    <a:pt x="151" y="195"/>
                  </a:lnTo>
                  <a:lnTo>
                    <a:pt x="142" y="200"/>
                  </a:lnTo>
                  <a:lnTo>
                    <a:pt x="133" y="203"/>
                  </a:lnTo>
                  <a:lnTo>
                    <a:pt x="122" y="206"/>
                  </a:lnTo>
                  <a:lnTo>
                    <a:pt x="112" y="207"/>
                  </a:lnTo>
                  <a:lnTo>
                    <a:pt x="101" y="207"/>
                  </a:lnTo>
                  <a:lnTo>
                    <a:pt x="101" y="207"/>
                  </a:lnTo>
                  <a:lnTo>
                    <a:pt x="92" y="207"/>
                  </a:lnTo>
                  <a:lnTo>
                    <a:pt x="81" y="206"/>
                  </a:lnTo>
                  <a:lnTo>
                    <a:pt x="71" y="203"/>
                  </a:lnTo>
                  <a:lnTo>
                    <a:pt x="61" y="200"/>
                  </a:lnTo>
                  <a:lnTo>
                    <a:pt x="53" y="195"/>
                  </a:lnTo>
                  <a:lnTo>
                    <a:pt x="44" y="190"/>
                  </a:lnTo>
                  <a:lnTo>
                    <a:pt x="37" y="184"/>
                  </a:lnTo>
                  <a:lnTo>
                    <a:pt x="30" y="178"/>
                  </a:lnTo>
                  <a:lnTo>
                    <a:pt x="23" y="169"/>
                  </a:lnTo>
                  <a:lnTo>
                    <a:pt x="17" y="162"/>
                  </a:lnTo>
                  <a:lnTo>
                    <a:pt x="12" y="153"/>
                  </a:lnTo>
                  <a:lnTo>
                    <a:pt x="9" y="143"/>
                  </a:lnTo>
                  <a:lnTo>
                    <a:pt x="5" y="135"/>
                  </a:lnTo>
                  <a:lnTo>
                    <a:pt x="3" y="124"/>
                  </a:lnTo>
                  <a:lnTo>
                    <a:pt x="2" y="114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2" y="92"/>
                  </a:lnTo>
                  <a:lnTo>
                    <a:pt x="3" y="82"/>
                  </a:lnTo>
                  <a:lnTo>
                    <a:pt x="5" y="73"/>
                  </a:lnTo>
                  <a:lnTo>
                    <a:pt x="9" y="63"/>
                  </a:lnTo>
                  <a:lnTo>
                    <a:pt x="12" y="53"/>
                  </a:lnTo>
                  <a:lnTo>
                    <a:pt x="17" y="45"/>
                  </a:lnTo>
                  <a:lnTo>
                    <a:pt x="23" y="37"/>
                  </a:lnTo>
                  <a:lnTo>
                    <a:pt x="30" y="30"/>
                  </a:lnTo>
                  <a:lnTo>
                    <a:pt x="37" y="23"/>
                  </a:lnTo>
                  <a:lnTo>
                    <a:pt x="44" y="17"/>
                  </a:lnTo>
                  <a:lnTo>
                    <a:pt x="53" y="12"/>
                  </a:lnTo>
                  <a:lnTo>
                    <a:pt x="61" y="8"/>
                  </a:lnTo>
                  <a:lnTo>
                    <a:pt x="71" y="4"/>
                  </a:lnTo>
                  <a:lnTo>
                    <a:pt x="81" y="2"/>
                  </a:lnTo>
                  <a:lnTo>
                    <a:pt x="9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14" y="0"/>
                  </a:lnTo>
                  <a:lnTo>
                    <a:pt x="126" y="2"/>
                  </a:lnTo>
                  <a:lnTo>
                    <a:pt x="135" y="6"/>
                  </a:lnTo>
                  <a:lnTo>
                    <a:pt x="146" y="9"/>
                  </a:lnTo>
                  <a:lnTo>
                    <a:pt x="155" y="15"/>
                  </a:lnTo>
                  <a:lnTo>
                    <a:pt x="163" y="22"/>
                  </a:lnTo>
                  <a:lnTo>
                    <a:pt x="172" y="29"/>
                  </a:lnTo>
                  <a:lnTo>
                    <a:pt x="179" y="37"/>
                  </a:lnTo>
                  <a:lnTo>
                    <a:pt x="156" y="59"/>
                  </a:lnTo>
                  <a:lnTo>
                    <a:pt x="156" y="59"/>
                  </a:lnTo>
                  <a:lnTo>
                    <a:pt x="151" y="53"/>
                  </a:lnTo>
                  <a:lnTo>
                    <a:pt x="146" y="47"/>
                  </a:lnTo>
                  <a:lnTo>
                    <a:pt x="140" y="42"/>
                  </a:lnTo>
                  <a:lnTo>
                    <a:pt x="134" y="39"/>
                  </a:lnTo>
                  <a:lnTo>
                    <a:pt x="127" y="35"/>
                  </a:lnTo>
                  <a:lnTo>
                    <a:pt x="118" y="32"/>
                  </a:lnTo>
                  <a:lnTo>
                    <a:pt x="111" y="31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94" y="31"/>
                  </a:lnTo>
                  <a:lnTo>
                    <a:pt x="88" y="31"/>
                  </a:lnTo>
                  <a:lnTo>
                    <a:pt x="81" y="34"/>
                  </a:lnTo>
                  <a:lnTo>
                    <a:pt x="75" y="36"/>
                  </a:lnTo>
                  <a:lnTo>
                    <a:pt x="62" y="42"/>
                  </a:lnTo>
                  <a:lnTo>
                    <a:pt x="53" y="52"/>
                  </a:lnTo>
                  <a:lnTo>
                    <a:pt x="45" y="62"/>
                  </a:lnTo>
                  <a:lnTo>
                    <a:pt x="39" y="75"/>
                  </a:lnTo>
                  <a:lnTo>
                    <a:pt x="36" y="89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6" y="118"/>
                  </a:lnTo>
                  <a:lnTo>
                    <a:pt x="39" y="132"/>
                  </a:lnTo>
                  <a:lnTo>
                    <a:pt x="45" y="145"/>
                  </a:lnTo>
                  <a:lnTo>
                    <a:pt x="53" y="156"/>
                  </a:lnTo>
                  <a:lnTo>
                    <a:pt x="62" y="164"/>
                  </a:lnTo>
                  <a:lnTo>
                    <a:pt x="75" y="170"/>
                  </a:lnTo>
                  <a:lnTo>
                    <a:pt x="81" y="173"/>
                  </a:lnTo>
                  <a:lnTo>
                    <a:pt x="88" y="175"/>
                  </a:lnTo>
                  <a:lnTo>
                    <a:pt x="94" y="176"/>
                  </a:lnTo>
                  <a:lnTo>
                    <a:pt x="101" y="176"/>
                  </a:lnTo>
                  <a:lnTo>
                    <a:pt x="101" y="17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2"/>
            <p:cNvSpPr>
              <a:spLocks noEditPoints="1"/>
            </p:cNvSpPr>
            <p:nvPr userDrawn="1"/>
          </p:nvSpPr>
          <p:spPr bwMode="auto">
            <a:xfrm>
              <a:off x="2376" y="2429"/>
              <a:ext cx="49" cy="50"/>
            </a:xfrm>
            <a:custGeom>
              <a:avLst/>
              <a:gdLst>
                <a:gd name="T0" fmla="*/ 34 w 148"/>
                <a:gd name="T1" fmla="*/ 85 h 149"/>
                <a:gd name="T2" fmla="*/ 39 w 148"/>
                <a:gd name="T3" fmla="*/ 99 h 149"/>
                <a:gd name="T4" fmla="*/ 47 w 148"/>
                <a:gd name="T5" fmla="*/ 110 h 149"/>
                <a:gd name="T6" fmla="*/ 59 w 148"/>
                <a:gd name="T7" fmla="*/ 116 h 149"/>
                <a:gd name="T8" fmla="*/ 75 w 148"/>
                <a:gd name="T9" fmla="*/ 120 h 149"/>
                <a:gd name="T10" fmla="*/ 85 w 148"/>
                <a:gd name="T11" fmla="*/ 118 h 149"/>
                <a:gd name="T12" fmla="*/ 102 w 148"/>
                <a:gd name="T13" fmla="*/ 111 h 149"/>
                <a:gd name="T14" fmla="*/ 146 w 148"/>
                <a:gd name="T15" fmla="*/ 105 h 149"/>
                <a:gd name="T16" fmla="*/ 141 w 148"/>
                <a:gd name="T17" fmla="*/ 115 h 149"/>
                <a:gd name="T18" fmla="*/ 128 w 148"/>
                <a:gd name="T19" fmla="*/ 131 h 149"/>
                <a:gd name="T20" fmla="*/ 109 w 148"/>
                <a:gd name="T21" fmla="*/ 143 h 149"/>
                <a:gd name="T22" fmla="*/ 87 w 148"/>
                <a:gd name="T23" fmla="*/ 149 h 149"/>
                <a:gd name="T24" fmla="*/ 75 w 148"/>
                <a:gd name="T25" fmla="*/ 149 h 149"/>
                <a:gd name="T26" fmla="*/ 59 w 148"/>
                <a:gd name="T27" fmla="*/ 148 h 149"/>
                <a:gd name="T28" fmla="*/ 45 w 148"/>
                <a:gd name="T29" fmla="*/ 144 h 149"/>
                <a:gd name="T30" fmla="*/ 22 w 148"/>
                <a:gd name="T31" fmla="*/ 128 h 149"/>
                <a:gd name="T32" fmla="*/ 6 w 148"/>
                <a:gd name="T33" fmla="*/ 104 h 149"/>
                <a:gd name="T34" fmla="*/ 1 w 148"/>
                <a:gd name="T35" fmla="*/ 90 h 149"/>
                <a:gd name="T36" fmla="*/ 0 w 148"/>
                <a:gd name="T37" fmla="*/ 74 h 149"/>
                <a:gd name="T38" fmla="*/ 0 w 148"/>
                <a:gd name="T39" fmla="*/ 67 h 149"/>
                <a:gd name="T40" fmla="*/ 6 w 148"/>
                <a:gd name="T41" fmla="*/ 45 h 149"/>
                <a:gd name="T42" fmla="*/ 22 w 148"/>
                <a:gd name="T43" fmla="*/ 22 h 149"/>
                <a:gd name="T44" fmla="*/ 45 w 148"/>
                <a:gd name="T45" fmla="*/ 6 h 149"/>
                <a:gd name="T46" fmla="*/ 58 w 148"/>
                <a:gd name="T47" fmla="*/ 1 h 149"/>
                <a:gd name="T48" fmla="*/ 74 w 148"/>
                <a:gd name="T49" fmla="*/ 0 h 149"/>
                <a:gd name="T50" fmla="*/ 81 w 148"/>
                <a:gd name="T51" fmla="*/ 0 h 149"/>
                <a:gd name="T52" fmla="*/ 96 w 148"/>
                <a:gd name="T53" fmla="*/ 4 h 149"/>
                <a:gd name="T54" fmla="*/ 115 w 148"/>
                <a:gd name="T55" fmla="*/ 12 h 149"/>
                <a:gd name="T56" fmla="*/ 135 w 148"/>
                <a:gd name="T57" fmla="*/ 33 h 149"/>
                <a:gd name="T58" fmla="*/ 146 w 148"/>
                <a:gd name="T59" fmla="*/ 60 h 149"/>
                <a:gd name="T60" fmla="*/ 148 w 148"/>
                <a:gd name="T61" fmla="*/ 74 h 149"/>
                <a:gd name="T62" fmla="*/ 147 w 148"/>
                <a:gd name="T63" fmla="*/ 85 h 149"/>
                <a:gd name="T64" fmla="*/ 35 w 148"/>
                <a:gd name="T65" fmla="*/ 57 h 149"/>
                <a:gd name="T66" fmla="*/ 113 w 148"/>
                <a:gd name="T67" fmla="*/ 57 h 149"/>
                <a:gd name="T68" fmla="*/ 107 w 148"/>
                <a:gd name="T69" fmla="*/ 46 h 149"/>
                <a:gd name="T70" fmla="*/ 98 w 148"/>
                <a:gd name="T71" fmla="*/ 38 h 149"/>
                <a:gd name="T72" fmla="*/ 87 w 148"/>
                <a:gd name="T73" fmla="*/ 32 h 149"/>
                <a:gd name="T74" fmla="*/ 74 w 148"/>
                <a:gd name="T75" fmla="*/ 29 h 149"/>
                <a:gd name="T76" fmla="*/ 67 w 148"/>
                <a:gd name="T77" fmla="*/ 31 h 149"/>
                <a:gd name="T78" fmla="*/ 55 w 148"/>
                <a:gd name="T79" fmla="*/ 34 h 149"/>
                <a:gd name="T80" fmla="*/ 45 w 148"/>
                <a:gd name="T81" fmla="*/ 42 h 149"/>
                <a:gd name="T82" fmla="*/ 38 w 148"/>
                <a:gd name="T83" fmla="*/ 51 h 149"/>
                <a:gd name="T84" fmla="*/ 35 w 148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9">
                  <a:moveTo>
                    <a:pt x="34" y="85"/>
                  </a:moveTo>
                  <a:lnTo>
                    <a:pt x="34" y="85"/>
                  </a:lnTo>
                  <a:lnTo>
                    <a:pt x="35" y="93"/>
                  </a:lnTo>
                  <a:lnTo>
                    <a:pt x="39" y="99"/>
                  </a:lnTo>
                  <a:lnTo>
                    <a:pt x="42" y="105"/>
                  </a:lnTo>
                  <a:lnTo>
                    <a:pt x="47" y="110"/>
                  </a:lnTo>
                  <a:lnTo>
                    <a:pt x="53" y="113"/>
                  </a:lnTo>
                  <a:lnTo>
                    <a:pt x="59" y="116"/>
                  </a:lnTo>
                  <a:lnTo>
                    <a:pt x="67" y="118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85" y="118"/>
                  </a:lnTo>
                  <a:lnTo>
                    <a:pt x="95" y="116"/>
                  </a:lnTo>
                  <a:lnTo>
                    <a:pt x="102" y="111"/>
                  </a:lnTo>
                  <a:lnTo>
                    <a:pt x="108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1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19" y="137"/>
                  </a:lnTo>
                  <a:lnTo>
                    <a:pt x="109" y="143"/>
                  </a:lnTo>
                  <a:lnTo>
                    <a:pt x="98" y="146"/>
                  </a:lnTo>
                  <a:lnTo>
                    <a:pt x="87" y="149"/>
                  </a:lnTo>
                  <a:lnTo>
                    <a:pt x="75" y="149"/>
                  </a:lnTo>
                  <a:lnTo>
                    <a:pt x="75" y="149"/>
                  </a:lnTo>
                  <a:lnTo>
                    <a:pt x="67" y="149"/>
                  </a:lnTo>
                  <a:lnTo>
                    <a:pt x="59" y="148"/>
                  </a:lnTo>
                  <a:lnTo>
                    <a:pt x="52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3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2" y="4"/>
                  </a:lnTo>
                  <a:lnTo>
                    <a:pt x="58" y="1"/>
                  </a:lnTo>
                  <a:lnTo>
                    <a:pt x="67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3" y="6"/>
                  </a:lnTo>
                  <a:lnTo>
                    <a:pt x="115" y="12"/>
                  </a:lnTo>
                  <a:lnTo>
                    <a:pt x="126" y="22"/>
                  </a:lnTo>
                  <a:lnTo>
                    <a:pt x="135" y="33"/>
                  </a:lnTo>
                  <a:lnTo>
                    <a:pt x="142" y="45"/>
                  </a:lnTo>
                  <a:lnTo>
                    <a:pt x="146" y="60"/>
                  </a:lnTo>
                  <a:lnTo>
                    <a:pt x="147" y="67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7" y="85"/>
                  </a:lnTo>
                  <a:lnTo>
                    <a:pt x="34" y="85"/>
                  </a:lnTo>
                  <a:close/>
                  <a:moveTo>
                    <a:pt x="35" y="57"/>
                  </a:moveTo>
                  <a:lnTo>
                    <a:pt x="113" y="57"/>
                  </a:lnTo>
                  <a:lnTo>
                    <a:pt x="113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3" y="42"/>
                  </a:lnTo>
                  <a:lnTo>
                    <a:pt x="98" y="38"/>
                  </a:lnTo>
                  <a:lnTo>
                    <a:pt x="94" y="34"/>
                  </a:lnTo>
                  <a:lnTo>
                    <a:pt x="87" y="32"/>
                  </a:lnTo>
                  <a:lnTo>
                    <a:pt x="80" y="31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5" y="57"/>
                  </a:lnTo>
                  <a:lnTo>
                    <a:pt x="35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3"/>
            <p:cNvSpPr>
              <a:spLocks/>
            </p:cNvSpPr>
            <p:nvPr userDrawn="1"/>
          </p:nvSpPr>
          <p:spPr bwMode="auto">
            <a:xfrm>
              <a:off x="2434" y="2429"/>
              <a:ext cx="43" cy="49"/>
            </a:xfrm>
            <a:custGeom>
              <a:avLst/>
              <a:gdLst>
                <a:gd name="T0" fmla="*/ 0 w 128"/>
                <a:gd name="T1" fmla="*/ 1 h 148"/>
                <a:gd name="T2" fmla="*/ 32 w 128"/>
                <a:gd name="T3" fmla="*/ 1 h 148"/>
                <a:gd name="T4" fmla="*/ 32 w 128"/>
                <a:gd name="T5" fmla="*/ 18 h 148"/>
                <a:gd name="T6" fmla="*/ 32 w 128"/>
                <a:gd name="T7" fmla="*/ 18 h 148"/>
                <a:gd name="T8" fmla="*/ 38 w 128"/>
                <a:gd name="T9" fmla="*/ 12 h 148"/>
                <a:gd name="T10" fmla="*/ 47 w 128"/>
                <a:gd name="T11" fmla="*/ 6 h 148"/>
                <a:gd name="T12" fmla="*/ 53 w 128"/>
                <a:gd name="T13" fmla="*/ 4 h 148"/>
                <a:gd name="T14" fmla="*/ 59 w 128"/>
                <a:gd name="T15" fmla="*/ 1 h 148"/>
                <a:gd name="T16" fmla="*/ 65 w 128"/>
                <a:gd name="T17" fmla="*/ 0 h 148"/>
                <a:gd name="T18" fmla="*/ 72 w 128"/>
                <a:gd name="T19" fmla="*/ 0 h 148"/>
                <a:gd name="T20" fmla="*/ 72 w 128"/>
                <a:gd name="T21" fmla="*/ 0 h 148"/>
                <a:gd name="T22" fmla="*/ 84 w 128"/>
                <a:gd name="T23" fmla="*/ 1 h 148"/>
                <a:gd name="T24" fmla="*/ 97 w 128"/>
                <a:gd name="T25" fmla="*/ 4 h 148"/>
                <a:gd name="T26" fmla="*/ 105 w 128"/>
                <a:gd name="T27" fmla="*/ 9 h 148"/>
                <a:gd name="T28" fmla="*/ 114 w 128"/>
                <a:gd name="T29" fmla="*/ 16 h 148"/>
                <a:gd name="T30" fmla="*/ 120 w 128"/>
                <a:gd name="T31" fmla="*/ 24 h 148"/>
                <a:gd name="T32" fmla="*/ 125 w 128"/>
                <a:gd name="T33" fmla="*/ 34 h 148"/>
                <a:gd name="T34" fmla="*/ 127 w 128"/>
                <a:gd name="T35" fmla="*/ 46 h 148"/>
                <a:gd name="T36" fmla="*/ 128 w 128"/>
                <a:gd name="T37" fmla="*/ 60 h 148"/>
                <a:gd name="T38" fmla="*/ 128 w 128"/>
                <a:gd name="T39" fmla="*/ 148 h 148"/>
                <a:gd name="T40" fmla="*/ 97 w 128"/>
                <a:gd name="T41" fmla="*/ 148 h 148"/>
                <a:gd name="T42" fmla="*/ 97 w 128"/>
                <a:gd name="T43" fmla="*/ 67 h 148"/>
                <a:gd name="T44" fmla="*/ 97 w 128"/>
                <a:gd name="T45" fmla="*/ 67 h 148"/>
                <a:gd name="T46" fmla="*/ 95 w 128"/>
                <a:gd name="T47" fmla="*/ 59 h 148"/>
                <a:gd name="T48" fmla="*/ 94 w 128"/>
                <a:gd name="T49" fmla="*/ 50 h 148"/>
                <a:gd name="T50" fmla="*/ 92 w 128"/>
                <a:gd name="T51" fmla="*/ 44 h 148"/>
                <a:gd name="T52" fmla="*/ 88 w 128"/>
                <a:gd name="T53" fmla="*/ 39 h 148"/>
                <a:gd name="T54" fmla="*/ 83 w 128"/>
                <a:gd name="T55" fmla="*/ 35 h 148"/>
                <a:gd name="T56" fmla="*/ 78 w 128"/>
                <a:gd name="T57" fmla="*/ 32 h 148"/>
                <a:gd name="T58" fmla="*/ 71 w 128"/>
                <a:gd name="T59" fmla="*/ 31 h 148"/>
                <a:gd name="T60" fmla="*/ 64 w 128"/>
                <a:gd name="T61" fmla="*/ 31 h 148"/>
                <a:gd name="T62" fmla="*/ 64 w 128"/>
                <a:gd name="T63" fmla="*/ 31 h 148"/>
                <a:gd name="T64" fmla="*/ 56 w 128"/>
                <a:gd name="T65" fmla="*/ 31 h 148"/>
                <a:gd name="T66" fmla="*/ 50 w 128"/>
                <a:gd name="T67" fmla="*/ 33 h 148"/>
                <a:gd name="T68" fmla="*/ 44 w 128"/>
                <a:gd name="T69" fmla="*/ 37 h 148"/>
                <a:gd name="T70" fmla="*/ 41 w 128"/>
                <a:gd name="T71" fmla="*/ 40 h 148"/>
                <a:gd name="T72" fmla="*/ 37 w 128"/>
                <a:gd name="T73" fmla="*/ 46 h 148"/>
                <a:gd name="T74" fmla="*/ 34 w 128"/>
                <a:gd name="T75" fmla="*/ 53 h 148"/>
                <a:gd name="T76" fmla="*/ 32 w 128"/>
                <a:gd name="T77" fmla="*/ 60 h 148"/>
                <a:gd name="T78" fmla="*/ 32 w 128"/>
                <a:gd name="T79" fmla="*/ 67 h 148"/>
                <a:gd name="T80" fmla="*/ 32 w 128"/>
                <a:gd name="T81" fmla="*/ 148 h 148"/>
                <a:gd name="T82" fmla="*/ 0 w 128"/>
                <a:gd name="T83" fmla="*/ 148 h 148"/>
                <a:gd name="T84" fmla="*/ 0 w 128"/>
                <a:gd name="T85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" h="148">
                  <a:moveTo>
                    <a:pt x="0" y="1"/>
                  </a:moveTo>
                  <a:lnTo>
                    <a:pt x="32" y="1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8" y="12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59" y="1"/>
                  </a:lnTo>
                  <a:lnTo>
                    <a:pt x="65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84" y="1"/>
                  </a:lnTo>
                  <a:lnTo>
                    <a:pt x="97" y="4"/>
                  </a:lnTo>
                  <a:lnTo>
                    <a:pt x="105" y="9"/>
                  </a:lnTo>
                  <a:lnTo>
                    <a:pt x="114" y="16"/>
                  </a:lnTo>
                  <a:lnTo>
                    <a:pt x="120" y="24"/>
                  </a:lnTo>
                  <a:lnTo>
                    <a:pt x="125" y="34"/>
                  </a:lnTo>
                  <a:lnTo>
                    <a:pt x="127" y="46"/>
                  </a:lnTo>
                  <a:lnTo>
                    <a:pt x="128" y="60"/>
                  </a:lnTo>
                  <a:lnTo>
                    <a:pt x="128" y="148"/>
                  </a:lnTo>
                  <a:lnTo>
                    <a:pt x="97" y="148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5" y="59"/>
                  </a:lnTo>
                  <a:lnTo>
                    <a:pt x="94" y="50"/>
                  </a:lnTo>
                  <a:lnTo>
                    <a:pt x="92" y="44"/>
                  </a:lnTo>
                  <a:lnTo>
                    <a:pt x="88" y="39"/>
                  </a:lnTo>
                  <a:lnTo>
                    <a:pt x="83" y="35"/>
                  </a:lnTo>
                  <a:lnTo>
                    <a:pt x="78" y="32"/>
                  </a:lnTo>
                  <a:lnTo>
                    <a:pt x="71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56" y="31"/>
                  </a:lnTo>
                  <a:lnTo>
                    <a:pt x="50" y="33"/>
                  </a:lnTo>
                  <a:lnTo>
                    <a:pt x="44" y="37"/>
                  </a:lnTo>
                  <a:lnTo>
                    <a:pt x="41" y="40"/>
                  </a:lnTo>
                  <a:lnTo>
                    <a:pt x="37" y="46"/>
                  </a:lnTo>
                  <a:lnTo>
                    <a:pt x="34" y="53"/>
                  </a:lnTo>
                  <a:lnTo>
                    <a:pt x="32" y="60"/>
                  </a:lnTo>
                  <a:lnTo>
                    <a:pt x="32" y="67"/>
                  </a:lnTo>
                  <a:lnTo>
                    <a:pt x="32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4"/>
            <p:cNvSpPr>
              <a:spLocks/>
            </p:cNvSpPr>
            <p:nvPr userDrawn="1"/>
          </p:nvSpPr>
          <p:spPr bwMode="auto">
            <a:xfrm>
              <a:off x="2484" y="2409"/>
              <a:ext cx="35" cy="69"/>
            </a:xfrm>
            <a:custGeom>
              <a:avLst/>
              <a:gdLst>
                <a:gd name="T0" fmla="*/ 30 w 106"/>
                <a:gd name="T1" fmla="*/ 4 h 209"/>
                <a:gd name="T2" fmla="*/ 62 w 106"/>
                <a:gd name="T3" fmla="*/ 0 h 209"/>
                <a:gd name="T4" fmla="*/ 62 w 106"/>
                <a:gd name="T5" fmla="*/ 62 h 209"/>
                <a:gd name="T6" fmla="*/ 106 w 106"/>
                <a:gd name="T7" fmla="*/ 62 h 209"/>
                <a:gd name="T8" fmla="*/ 106 w 106"/>
                <a:gd name="T9" fmla="*/ 93 h 209"/>
                <a:gd name="T10" fmla="*/ 62 w 106"/>
                <a:gd name="T11" fmla="*/ 93 h 209"/>
                <a:gd name="T12" fmla="*/ 62 w 106"/>
                <a:gd name="T13" fmla="*/ 209 h 209"/>
                <a:gd name="T14" fmla="*/ 30 w 106"/>
                <a:gd name="T15" fmla="*/ 209 h 209"/>
                <a:gd name="T16" fmla="*/ 30 w 106"/>
                <a:gd name="T17" fmla="*/ 93 h 209"/>
                <a:gd name="T18" fmla="*/ 0 w 106"/>
                <a:gd name="T19" fmla="*/ 93 h 209"/>
                <a:gd name="T20" fmla="*/ 0 w 106"/>
                <a:gd name="T21" fmla="*/ 62 h 209"/>
                <a:gd name="T22" fmla="*/ 30 w 106"/>
                <a:gd name="T23" fmla="*/ 62 h 209"/>
                <a:gd name="T24" fmla="*/ 30 w 106"/>
                <a:gd name="T25" fmla="*/ 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209">
                  <a:moveTo>
                    <a:pt x="30" y="4"/>
                  </a:moveTo>
                  <a:lnTo>
                    <a:pt x="62" y="0"/>
                  </a:lnTo>
                  <a:lnTo>
                    <a:pt x="62" y="62"/>
                  </a:lnTo>
                  <a:lnTo>
                    <a:pt x="106" y="62"/>
                  </a:lnTo>
                  <a:lnTo>
                    <a:pt x="106" y="93"/>
                  </a:lnTo>
                  <a:lnTo>
                    <a:pt x="62" y="93"/>
                  </a:lnTo>
                  <a:lnTo>
                    <a:pt x="62" y="209"/>
                  </a:lnTo>
                  <a:lnTo>
                    <a:pt x="30" y="209"/>
                  </a:lnTo>
                  <a:lnTo>
                    <a:pt x="30" y="93"/>
                  </a:lnTo>
                  <a:lnTo>
                    <a:pt x="0" y="93"/>
                  </a:lnTo>
                  <a:lnTo>
                    <a:pt x="0" y="62"/>
                  </a:lnTo>
                  <a:lnTo>
                    <a:pt x="30" y="62"/>
                  </a:lnTo>
                  <a:lnTo>
                    <a:pt x="3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5"/>
            <p:cNvSpPr>
              <a:spLocks/>
            </p:cNvSpPr>
            <p:nvPr userDrawn="1"/>
          </p:nvSpPr>
          <p:spPr bwMode="auto">
            <a:xfrm>
              <a:off x="2527" y="2429"/>
              <a:ext cx="23" cy="49"/>
            </a:xfrm>
            <a:custGeom>
              <a:avLst/>
              <a:gdLst>
                <a:gd name="T0" fmla="*/ 0 w 69"/>
                <a:gd name="T1" fmla="*/ 1 h 148"/>
                <a:gd name="T2" fmla="*/ 32 w 69"/>
                <a:gd name="T3" fmla="*/ 1 h 148"/>
                <a:gd name="T4" fmla="*/ 32 w 69"/>
                <a:gd name="T5" fmla="*/ 17 h 148"/>
                <a:gd name="T6" fmla="*/ 32 w 69"/>
                <a:gd name="T7" fmla="*/ 17 h 148"/>
                <a:gd name="T8" fmla="*/ 38 w 69"/>
                <a:gd name="T9" fmla="*/ 10 h 148"/>
                <a:gd name="T10" fmla="*/ 45 w 69"/>
                <a:gd name="T11" fmla="*/ 5 h 148"/>
                <a:gd name="T12" fmla="*/ 50 w 69"/>
                <a:gd name="T13" fmla="*/ 3 h 148"/>
                <a:gd name="T14" fmla="*/ 56 w 69"/>
                <a:gd name="T15" fmla="*/ 1 h 148"/>
                <a:gd name="T16" fmla="*/ 62 w 69"/>
                <a:gd name="T17" fmla="*/ 0 h 148"/>
                <a:gd name="T18" fmla="*/ 69 w 69"/>
                <a:gd name="T19" fmla="*/ 0 h 148"/>
                <a:gd name="T20" fmla="*/ 69 w 69"/>
                <a:gd name="T21" fmla="*/ 31 h 148"/>
                <a:gd name="T22" fmla="*/ 67 w 69"/>
                <a:gd name="T23" fmla="*/ 31 h 148"/>
                <a:gd name="T24" fmla="*/ 67 w 69"/>
                <a:gd name="T25" fmla="*/ 31 h 148"/>
                <a:gd name="T26" fmla="*/ 60 w 69"/>
                <a:gd name="T27" fmla="*/ 32 h 148"/>
                <a:gd name="T28" fmla="*/ 52 w 69"/>
                <a:gd name="T29" fmla="*/ 33 h 148"/>
                <a:gd name="T30" fmla="*/ 46 w 69"/>
                <a:gd name="T31" fmla="*/ 37 h 148"/>
                <a:gd name="T32" fmla="*/ 41 w 69"/>
                <a:gd name="T33" fmla="*/ 40 h 148"/>
                <a:gd name="T34" fmla="*/ 38 w 69"/>
                <a:gd name="T35" fmla="*/ 46 h 148"/>
                <a:gd name="T36" fmla="*/ 34 w 69"/>
                <a:gd name="T37" fmla="*/ 53 h 148"/>
                <a:gd name="T38" fmla="*/ 33 w 69"/>
                <a:gd name="T39" fmla="*/ 60 h 148"/>
                <a:gd name="T40" fmla="*/ 32 w 69"/>
                <a:gd name="T41" fmla="*/ 67 h 148"/>
                <a:gd name="T42" fmla="*/ 32 w 69"/>
                <a:gd name="T43" fmla="*/ 148 h 148"/>
                <a:gd name="T44" fmla="*/ 0 w 69"/>
                <a:gd name="T45" fmla="*/ 148 h 148"/>
                <a:gd name="T46" fmla="*/ 0 w 69"/>
                <a:gd name="T47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148">
                  <a:moveTo>
                    <a:pt x="0" y="1"/>
                  </a:moveTo>
                  <a:lnTo>
                    <a:pt x="32" y="1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8" y="10"/>
                  </a:lnTo>
                  <a:lnTo>
                    <a:pt x="45" y="5"/>
                  </a:lnTo>
                  <a:lnTo>
                    <a:pt x="50" y="3"/>
                  </a:lnTo>
                  <a:lnTo>
                    <a:pt x="56" y="1"/>
                  </a:lnTo>
                  <a:lnTo>
                    <a:pt x="62" y="0"/>
                  </a:lnTo>
                  <a:lnTo>
                    <a:pt x="69" y="0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0" y="32"/>
                  </a:lnTo>
                  <a:lnTo>
                    <a:pt x="52" y="33"/>
                  </a:lnTo>
                  <a:lnTo>
                    <a:pt x="46" y="37"/>
                  </a:lnTo>
                  <a:lnTo>
                    <a:pt x="41" y="40"/>
                  </a:lnTo>
                  <a:lnTo>
                    <a:pt x="38" y="46"/>
                  </a:lnTo>
                  <a:lnTo>
                    <a:pt x="34" y="53"/>
                  </a:lnTo>
                  <a:lnTo>
                    <a:pt x="33" y="60"/>
                  </a:lnTo>
                  <a:lnTo>
                    <a:pt x="32" y="67"/>
                  </a:lnTo>
                  <a:lnTo>
                    <a:pt x="32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6"/>
            <p:cNvSpPr>
              <a:spLocks noEditPoints="1"/>
            </p:cNvSpPr>
            <p:nvPr userDrawn="1"/>
          </p:nvSpPr>
          <p:spPr bwMode="auto">
            <a:xfrm>
              <a:off x="2555" y="2429"/>
              <a:ext cx="50" cy="50"/>
            </a:xfrm>
            <a:custGeom>
              <a:avLst/>
              <a:gdLst>
                <a:gd name="T0" fmla="*/ 34 w 149"/>
                <a:gd name="T1" fmla="*/ 85 h 149"/>
                <a:gd name="T2" fmla="*/ 39 w 149"/>
                <a:gd name="T3" fmla="*/ 99 h 149"/>
                <a:gd name="T4" fmla="*/ 48 w 149"/>
                <a:gd name="T5" fmla="*/ 110 h 149"/>
                <a:gd name="T6" fmla="*/ 60 w 149"/>
                <a:gd name="T7" fmla="*/ 116 h 149"/>
                <a:gd name="T8" fmla="*/ 76 w 149"/>
                <a:gd name="T9" fmla="*/ 120 h 149"/>
                <a:gd name="T10" fmla="*/ 86 w 149"/>
                <a:gd name="T11" fmla="*/ 118 h 149"/>
                <a:gd name="T12" fmla="*/ 103 w 149"/>
                <a:gd name="T13" fmla="*/ 111 h 149"/>
                <a:gd name="T14" fmla="*/ 146 w 149"/>
                <a:gd name="T15" fmla="*/ 105 h 149"/>
                <a:gd name="T16" fmla="*/ 142 w 149"/>
                <a:gd name="T17" fmla="*/ 115 h 149"/>
                <a:gd name="T18" fmla="*/ 128 w 149"/>
                <a:gd name="T19" fmla="*/ 131 h 149"/>
                <a:gd name="T20" fmla="*/ 110 w 149"/>
                <a:gd name="T21" fmla="*/ 143 h 149"/>
                <a:gd name="T22" fmla="*/ 87 w 149"/>
                <a:gd name="T23" fmla="*/ 149 h 149"/>
                <a:gd name="T24" fmla="*/ 76 w 149"/>
                <a:gd name="T25" fmla="*/ 149 h 149"/>
                <a:gd name="T26" fmla="*/ 60 w 149"/>
                <a:gd name="T27" fmla="*/ 148 h 149"/>
                <a:gd name="T28" fmla="*/ 45 w 149"/>
                <a:gd name="T29" fmla="*/ 144 h 149"/>
                <a:gd name="T30" fmla="*/ 22 w 149"/>
                <a:gd name="T31" fmla="*/ 128 h 149"/>
                <a:gd name="T32" fmla="*/ 6 w 149"/>
                <a:gd name="T33" fmla="*/ 104 h 149"/>
                <a:gd name="T34" fmla="*/ 1 w 149"/>
                <a:gd name="T35" fmla="*/ 90 h 149"/>
                <a:gd name="T36" fmla="*/ 0 w 149"/>
                <a:gd name="T37" fmla="*/ 74 h 149"/>
                <a:gd name="T38" fmla="*/ 0 w 149"/>
                <a:gd name="T39" fmla="*/ 67 h 149"/>
                <a:gd name="T40" fmla="*/ 6 w 149"/>
                <a:gd name="T41" fmla="*/ 45 h 149"/>
                <a:gd name="T42" fmla="*/ 22 w 149"/>
                <a:gd name="T43" fmla="*/ 22 h 149"/>
                <a:gd name="T44" fmla="*/ 45 w 149"/>
                <a:gd name="T45" fmla="*/ 6 h 149"/>
                <a:gd name="T46" fmla="*/ 59 w 149"/>
                <a:gd name="T47" fmla="*/ 1 h 149"/>
                <a:gd name="T48" fmla="*/ 75 w 149"/>
                <a:gd name="T49" fmla="*/ 0 h 149"/>
                <a:gd name="T50" fmla="*/ 82 w 149"/>
                <a:gd name="T51" fmla="*/ 0 h 149"/>
                <a:gd name="T52" fmla="*/ 96 w 149"/>
                <a:gd name="T53" fmla="*/ 4 h 149"/>
                <a:gd name="T54" fmla="*/ 116 w 149"/>
                <a:gd name="T55" fmla="*/ 12 h 149"/>
                <a:gd name="T56" fmla="*/ 135 w 149"/>
                <a:gd name="T57" fmla="*/ 33 h 149"/>
                <a:gd name="T58" fmla="*/ 146 w 149"/>
                <a:gd name="T59" fmla="*/ 60 h 149"/>
                <a:gd name="T60" fmla="*/ 149 w 149"/>
                <a:gd name="T61" fmla="*/ 74 h 149"/>
                <a:gd name="T62" fmla="*/ 148 w 149"/>
                <a:gd name="T63" fmla="*/ 85 h 149"/>
                <a:gd name="T64" fmla="*/ 36 w 149"/>
                <a:gd name="T65" fmla="*/ 57 h 149"/>
                <a:gd name="T66" fmla="*/ 114 w 149"/>
                <a:gd name="T67" fmla="*/ 57 h 149"/>
                <a:gd name="T68" fmla="*/ 107 w 149"/>
                <a:gd name="T69" fmla="*/ 46 h 149"/>
                <a:gd name="T70" fmla="*/ 99 w 149"/>
                <a:gd name="T71" fmla="*/ 38 h 149"/>
                <a:gd name="T72" fmla="*/ 88 w 149"/>
                <a:gd name="T73" fmla="*/ 32 h 149"/>
                <a:gd name="T74" fmla="*/ 75 w 149"/>
                <a:gd name="T75" fmla="*/ 29 h 149"/>
                <a:gd name="T76" fmla="*/ 67 w 149"/>
                <a:gd name="T77" fmla="*/ 31 h 149"/>
                <a:gd name="T78" fmla="*/ 55 w 149"/>
                <a:gd name="T79" fmla="*/ 34 h 149"/>
                <a:gd name="T80" fmla="*/ 45 w 149"/>
                <a:gd name="T81" fmla="*/ 42 h 149"/>
                <a:gd name="T82" fmla="*/ 38 w 149"/>
                <a:gd name="T83" fmla="*/ 51 h 149"/>
                <a:gd name="T84" fmla="*/ 36 w 149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149">
                  <a:moveTo>
                    <a:pt x="34" y="85"/>
                  </a:moveTo>
                  <a:lnTo>
                    <a:pt x="34" y="85"/>
                  </a:lnTo>
                  <a:lnTo>
                    <a:pt x="36" y="93"/>
                  </a:lnTo>
                  <a:lnTo>
                    <a:pt x="39" y="99"/>
                  </a:lnTo>
                  <a:lnTo>
                    <a:pt x="43" y="105"/>
                  </a:lnTo>
                  <a:lnTo>
                    <a:pt x="48" y="110"/>
                  </a:lnTo>
                  <a:lnTo>
                    <a:pt x="54" y="113"/>
                  </a:lnTo>
                  <a:lnTo>
                    <a:pt x="60" y="116"/>
                  </a:lnTo>
                  <a:lnTo>
                    <a:pt x="67" y="118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6" y="118"/>
                  </a:lnTo>
                  <a:lnTo>
                    <a:pt x="95" y="116"/>
                  </a:lnTo>
                  <a:lnTo>
                    <a:pt x="103" y="111"/>
                  </a:lnTo>
                  <a:lnTo>
                    <a:pt x="109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2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20" y="137"/>
                  </a:lnTo>
                  <a:lnTo>
                    <a:pt x="110" y="143"/>
                  </a:lnTo>
                  <a:lnTo>
                    <a:pt x="99" y="146"/>
                  </a:lnTo>
                  <a:lnTo>
                    <a:pt x="87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4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3" y="4"/>
                  </a:lnTo>
                  <a:lnTo>
                    <a:pt x="59" y="1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2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4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5" y="33"/>
                  </a:lnTo>
                  <a:lnTo>
                    <a:pt x="143" y="45"/>
                  </a:lnTo>
                  <a:lnTo>
                    <a:pt x="146" y="60"/>
                  </a:lnTo>
                  <a:lnTo>
                    <a:pt x="148" y="6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8" y="85"/>
                  </a:lnTo>
                  <a:lnTo>
                    <a:pt x="34" y="85"/>
                  </a:lnTo>
                  <a:close/>
                  <a:moveTo>
                    <a:pt x="36" y="57"/>
                  </a:moveTo>
                  <a:lnTo>
                    <a:pt x="114" y="57"/>
                  </a:lnTo>
                  <a:lnTo>
                    <a:pt x="114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4" y="42"/>
                  </a:lnTo>
                  <a:lnTo>
                    <a:pt x="99" y="38"/>
                  </a:lnTo>
                  <a:lnTo>
                    <a:pt x="94" y="34"/>
                  </a:lnTo>
                  <a:lnTo>
                    <a:pt x="88" y="32"/>
                  </a:lnTo>
                  <a:lnTo>
                    <a:pt x="81" y="31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6" y="57"/>
                  </a:lnTo>
                  <a:lnTo>
                    <a:pt x="36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98556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Afbeelding 3">
            <a:extLst>
              <a:ext uri="{FF2B5EF4-FFF2-40B4-BE49-F238E27FC236}">
                <a16:creationId xmlns:a16="http://schemas.microsoft.com/office/drawing/2014/main" id="{AA5B3CA4-7383-4A08-AD3F-748BE844E0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29944" r="50129" b="9678"/>
          <a:stretch/>
        </p:blipFill>
        <p:spPr>
          <a:xfrm>
            <a:off x="754744" y="756557"/>
            <a:ext cx="5331731" cy="5355772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1341619" y="2819399"/>
            <a:ext cx="3278005" cy="1476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jdelijke aanduiding voor tekst 16">
            <a:extLst>
              <a:ext uri="{FF2B5EF4-FFF2-40B4-BE49-F238E27FC236}">
                <a16:creationId xmlns:a16="http://schemas.microsoft.com/office/drawing/2014/main" id="{84146CB0-6BC6-4934-BF0B-44A468D396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555086" y="4514850"/>
            <a:ext cx="4896685" cy="15430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en-BE" dirty="0"/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6555086" y="2143125"/>
            <a:ext cx="4896685" cy="2254704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1809750" y="3128963"/>
            <a:ext cx="2332038" cy="844550"/>
            <a:chOff x="1140" y="1971"/>
            <a:chExt cx="1469" cy="532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140" y="1971"/>
              <a:ext cx="1469" cy="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1140" y="2055"/>
              <a:ext cx="178" cy="251"/>
            </a:xfrm>
            <a:custGeom>
              <a:avLst/>
              <a:gdLst>
                <a:gd name="T0" fmla="*/ 123 w 533"/>
                <a:gd name="T1" fmla="*/ 517 h 755"/>
                <a:gd name="T2" fmla="*/ 166 w 533"/>
                <a:gd name="T3" fmla="*/ 573 h 755"/>
                <a:gd name="T4" fmla="*/ 192 w 533"/>
                <a:gd name="T5" fmla="*/ 593 h 755"/>
                <a:gd name="T6" fmla="*/ 223 w 533"/>
                <a:gd name="T7" fmla="*/ 605 h 755"/>
                <a:gd name="T8" fmla="*/ 258 w 533"/>
                <a:gd name="T9" fmla="*/ 611 h 755"/>
                <a:gd name="T10" fmla="*/ 292 w 533"/>
                <a:gd name="T11" fmla="*/ 610 h 755"/>
                <a:gd name="T12" fmla="*/ 332 w 533"/>
                <a:gd name="T13" fmla="*/ 596 h 755"/>
                <a:gd name="T14" fmla="*/ 351 w 533"/>
                <a:gd name="T15" fmla="*/ 583 h 755"/>
                <a:gd name="T16" fmla="*/ 362 w 533"/>
                <a:gd name="T17" fmla="*/ 565 h 755"/>
                <a:gd name="T18" fmla="*/ 365 w 533"/>
                <a:gd name="T19" fmla="*/ 544 h 755"/>
                <a:gd name="T20" fmla="*/ 364 w 533"/>
                <a:gd name="T21" fmla="*/ 529 h 755"/>
                <a:gd name="T22" fmla="*/ 356 w 533"/>
                <a:gd name="T23" fmla="*/ 509 h 755"/>
                <a:gd name="T24" fmla="*/ 341 w 533"/>
                <a:gd name="T25" fmla="*/ 492 h 755"/>
                <a:gd name="T26" fmla="*/ 291 w 533"/>
                <a:gd name="T27" fmla="*/ 461 h 755"/>
                <a:gd name="T28" fmla="*/ 217 w 533"/>
                <a:gd name="T29" fmla="*/ 432 h 755"/>
                <a:gd name="T30" fmla="*/ 153 w 533"/>
                <a:gd name="T31" fmla="*/ 401 h 755"/>
                <a:gd name="T32" fmla="*/ 105 w 533"/>
                <a:gd name="T33" fmla="*/ 365 h 755"/>
                <a:gd name="T34" fmla="*/ 71 w 533"/>
                <a:gd name="T35" fmla="*/ 323 h 755"/>
                <a:gd name="T36" fmla="*/ 49 w 533"/>
                <a:gd name="T37" fmla="*/ 277 h 755"/>
                <a:gd name="T38" fmla="*/ 39 w 533"/>
                <a:gd name="T39" fmla="*/ 225 h 755"/>
                <a:gd name="T40" fmla="*/ 39 w 533"/>
                <a:gd name="T41" fmla="*/ 184 h 755"/>
                <a:gd name="T42" fmla="*/ 56 w 533"/>
                <a:gd name="T43" fmla="*/ 125 h 755"/>
                <a:gd name="T44" fmla="*/ 90 w 533"/>
                <a:gd name="T45" fmla="*/ 73 h 755"/>
                <a:gd name="T46" fmla="*/ 139 w 533"/>
                <a:gd name="T47" fmla="*/ 34 h 755"/>
                <a:gd name="T48" fmla="*/ 201 w 533"/>
                <a:gd name="T49" fmla="*/ 9 h 755"/>
                <a:gd name="T50" fmla="*/ 273 w 533"/>
                <a:gd name="T51" fmla="*/ 0 h 755"/>
                <a:gd name="T52" fmla="*/ 308 w 533"/>
                <a:gd name="T53" fmla="*/ 1 h 755"/>
                <a:gd name="T54" fmla="*/ 357 w 533"/>
                <a:gd name="T55" fmla="*/ 11 h 755"/>
                <a:gd name="T56" fmla="*/ 402 w 533"/>
                <a:gd name="T57" fmla="*/ 29 h 755"/>
                <a:gd name="T58" fmla="*/ 443 w 533"/>
                <a:gd name="T59" fmla="*/ 57 h 755"/>
                <a:gd name="T60" fmla="*/ 480 w 533"/>
                <a:gd name="T61" fmla="*/ 95 h 755"/>
                <a:gd name="T62" fmla="*/ 382 w 533"/>
                <a:gd name="T63" fmla="*/ 209 h 755"/>
                <a:gd name="T64" fmla="*/ 362 w 533"/>
                <a:gd name="T65" fmla="*/ 179 h 755"/>
                <a:gd name="T66" fmla="*/ 324 w 533"/>
                <a:gd name="T67" fmla="*/ 153 h 755"/>
                <a:gd name="T68" fmla="*/ 276 w 533"/>
                <a:gd name="T69" fmla="*/ 143 h 755"/>
                <a:gd name="T70" fmla="*/ 246 w 533"/>
                <a:gd name="T71" fmla="*/ 148 h 755"/>
                <a:gd name="T72" fmla="*/ 209 w 533"/>
                <a:gd name="T73" fmla="*/ 167 h 755"/>
                <a:gd name="T74" fmla="*/ 200 w 533"/>
                <a:gd name="T75" fmla="*/ 183 h 755"/>
                <a:gd name="T76" fmla="*/ 196 w 533"/>
                <a:gd name="T77" fmla="*/ 201 h 755"/>
                <a:gd name="T78" fmla="*/ 201 w 533"/>
                <a:gd name="T79" fmla="*/ 228 h 755"/>
                <a:gd name="T80" fmla="*/ 217 w 533"/>
                <a:gd name="T81" fmla="*/ 250 h 755"/>
                <a:gd name="T82" fmla="*/ 265 w 533"/>
                <a:gd name="T83" fmla="*/ 281 h 755"/>
                <a:gd name="T84" fmla="*/ 342 w 533"/>
                <a:gd name="T85" fmla="*/ 310 h 755"/>
                <a:gd name="T86" fmla="*/ 406 w 533"/>
                <a:gd name="T87" fmla="*/ 339 h 755"/>
                <a:gd name="T88" fmla="*/ 457 w 533"/>
                <a:gd name="T89" fmla="*/ 373 h 755"/>
                <a:gd name="T90" fmla="*/ 494 w 533"/>
                <a:gd name="T91" fmla="*/ 412 h 755"/>
                <a:gd name="T92" fmla="*/ 520 w 533"/>
                <a:gd name="T93" fmla="*/ 460 h 755"/>
                <a:gd name="T94" fmla="*/ 532 w 533"/>
                <a:gd name="T95" fmla="*/ 516 h 755"/>
                <a:gd name="T96" fmla="*/ 532 w 533"/>
                <a:gd name="T97" fmla="*/ 560 h 755"/>
                <a:gd name="T98" fmla="*/ 514 w 533"/>
                <a:gd name="T99" fmla="*/ 624 h 755"/>
                <a:gd name="T100" fmla="*/ 477 w 533"/>
                <a:gd name="T101" fmla="*/ 679 h 755"/>
                <a:gd name="T102" fmla="*/ 423 w 533"/>
                <a:gd name="T103" fmla="*/ 720 h 755"/>
                <a:gd name="T104" fmla="*/ 353 w 533"/>
                <a:gd name="T105" fmla="*/ 745 h 755"/>
                <a:gd name="T106" fmla="*/ 272 w 533"/>
                <a:gd name="T107" fmla="*/ 755 h 755"/>
                <a:gd name="T108" fmla="*/ 229 w 533"/>
                <a:gd name="T109" fmla="*/ 752 h 755"/>
                <a:gd name="T110" fmla="*/ 169 w 533"/>
                <a:gd name="T111" fmla="*/ 740 h 755"/>
                <a:gd name="T112" fmla="*/ 114 w 533"/>
                <a:gd name="T113" fmla="*/ 718 h 755"/>
                <a:gd name="T114" fmla="*/ 66 w 533"/>
                <a:gd name="T115" fmla="*/ 685 h 755"/>
                <a:gd name="T116" fmla="*/ 24 w 533"/>
                <a:gd name="T117" fmla="*/ 641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755">
                  <a:moveTo>
                    <a:pt x="0" y="605"/>
                  </a:moveTo>
                  <a:lnTo>
                    <a:pt x="123" y="517"/>
                  </a:lnTo>
                  <a:lnTo>
                    <a:pt x="123" y="517"/>
                  </a:lnTo>
                  <a:lnTo>
                    <a:pt x="136" y="539"/>
                  </a:lnTo>
                  <a:lnTo>
                    <a:pt x="151" y="557"/>
                  </a:lnTo>
                  <a:lnTo>
                    <a:pt x="166" y="573"/>
                  </a:lnTo>
                  <a:lnTo>
                    <a:pt x="174" y="581"/>
                  </a:lnTo>
                  <a:lnTo>
                    <a:pt x="183" y="587"/>
                  </a:lnTo>
                  <a:lnTo>
                    <a:pt x="192" y="593"/>
                  </a:lnTo>
                  <a:lnTo>
                    <a:pt x="202" y="598"/>
                  </a:lnTo>
                  <a:lnTo>
                    <a:pt x="212" y="601"/>
                  </a:lnTo>
                  <a:lnTo>
                    <a:pt x="223" y="605"/>
                  </a:lnTo>
                  <a:lnTo>
                    <a:pt x="234" y="607"/>
                  </a:lnTo>
                  <a:lnTo>
                    <a:pt x="246" y="610"/>
                  </a:lnTo>
                  <a:lnTo>
                    <a:pt x="258" y="611"/>
                  </a:lnTo>
                  <a:lnTo>
                    <a:pt x="272" y="611"/>
                  </a:lnTo>
                  <a:lnTo>
                    <a:pt x="272" y="611"/>
                  </a:lnTo>
                  <a:lnTo>
                    <a:pt x="292" y="610"/>
                  </a:lnTo>
                  <a:lnTo>
                    <a:pt x="309" y="606"/>
                  </a:lnTo>
                  <a:lnTo>
                    <a:pt x="325" y="600"/>
                  </a:lnTo>
                  <a:lnTo>
                    <a:pt x="332" y="596"/>
                  </a:lnTo>
                  <a:lnTo>
                    <a:pt x="340" y="593"/>
                  </a:lnTo>
                  <a:lnTo>
                    <a:pt x="345" y="588"/>
                  </a:lnTo>
                  <a:lnTo>
                    <a:pt x="351" y="583"/>
                  </a:lnTo>
                  <a:lnTo>
                    <a:pt x="354" y="577"/>
                  </a:lnTo>
                  <a:lnTo>
                    <a:pt x="358" y="571"/>
                  </a:lnTo>
                  <a:lnTo>
                    <a:pt x="362" y="565"/>
                  </a:lnTo>
                  <a:lnTo>
                    <a:pt x="363" y="559"/>
                  </a:lnTo>
                  <a:lnTo>
                    <a:pt x="365" y="551"/>
                  </a:lnTo>
                  <a:lnTo>
                    <a:pt x="365" y="544"/>
                  </a:lnTo>
                  <a:lnTo>
                    <a:pt x="365" y="544"/>
                  </a:lnTo>
                  <a:lnTo>
                    <a:pt x="365" y="537"/>
                  </a:lnTo>
                  <a:lnTo>
                    <a:pt x="364" y="529"/>
                  </a:lnTo>
                  <a:lnTo>
                    <a:pt x="362" y="522"/>
                  </a:lnTo>
                  <a:lnTo>
                    <a:pt x="359" y="515"/>
                  </a:lnTo>
                  <a:lnTo>
                    <a:pt x="356" y="509"/>
                  </a:lnTo>
                  <a:lnTo>
                    <a:pt x="352" y="502"/>
                  </a:lnTo>
                  <a:lnTo>
                    <a:pt x="347" y="496"/>
                  </a:lnTo>
                  <a:lnTo>
                    <a:pt x="341" y="492"/>
                  </a:lnTo>
                  <a:lnTo>
                    <a:pt x="328" y="481"/>
                  </a:lnTo>
                  <a:lnTo>
                    <a:pt x="311" y="471"/>
                  </a:lnTo>
                  <a:lnTo>
                    <a:pt x="291" y="461"/>
                  </a:lnTo>
                  <a:lnTo>
                    <a:pt x="268" y="451"/>
                  </a:lnTo>
                  <a:lnTo>
                    <a:pt x="217" y="432"/>
                  </a:lnTo>
                  <a:lnTo>
                    <a:pt x="217" y="432"/>
                  </a:lnTo>
                  <a:lnTo>
                    <a:pt x="194" y="422"/>
                  </a:lnTo>
                  <a:lnTo>
                    <a:pt x="173" y="412"/>
                  </a:lnTo>
                  <a:lnTo>
                    <a:pt x="153" y="401"/>
                  </a:lnTo>
                  <a:lnTo>
                    <a:pt x="136" y="390"/>
                  </a:lnTo>
                  <a:lnTo>
                    <a:pt x="119" y="378"/>
                  </a:lnTo>
                  <a:lnTo>
                    <a:pt x="105" y="365"/>
                  </a:lnTo>
                  <a:lnTo>
                    <a:pt x="93" y="351"/>
                  </a:lnTo>
                  <a:lnTo>
                    <a:pt x="80" y="338"/>
                  </a:lnTo>
                  <a:lnTo>
                    <a:pt x="71" y="323"/>
                  </a:lnTo>
                  <a:lnTo>
                    <a:pt x="62" y="309"/>
                  </a:lnTo>
                  <a:lnTo>
                    <a:pt x="55" y="293"/>
                  </a:lnTo>
                  <a:lnTo>
                    <a:pt x="49" y="277"/>
                  </a:lnTo>
                  <a:lnTo>
                    <a:pt x="44" y="260"/>
                  </a:lnTo>
                  <a:lnTo>
                    <a:pt x="40" y="243"/>
                  </a:lnTo>
                  <a:lnTo>
                    <a:pt x="39" y="225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9" y="184"/>
                  </a:lnTo>
                  <a:lnTo>
                    <a:pt x="43" y="164"/>
                  </a:lnTo>
                  <a:lnTo>
                    <a:pt x="47" y="143"/>
                  </a:lnTo>
                  <a:lnTo>
                    <a:pt x="56" y="125"/>
                  </a:lnTo>
                  <a:lnTo>
                    <a:pt x="66" y="106"/>
                  </a:lnTo>
                  <a:lnTo>
                    <a:pt x="77" y="89"/>
                  </a:lnTo>
                  <a:lnTo>
                    <a:pt x="90" y="73"/>
                  </a:lnTo>
                  <a:lnTo>
                    <a:pt x="105" y="59"/>
                  </a:lnTo>
                  <a:lnTo>
                    <a:pt x="121" y="45"/>
                  </a:lnTo>
                  <a:lnTo>
                    <a:pt x="139" y="34"/>
                  </a:lnTo>
                  <a:lnTo>
                    <a:pt x="158" y="23"/>
                  </a:lnTo>
                  <a:lnTo>
                    <a:pt x="179" y="16"/>
                  </a:lnTo>
                  <a:lnTo>
                    <a:pt x="201" y="9"/>
                  </a:lnTo>
                  <a:lnTo>
                    <a:pt x="224" y="4"/>
                  </a:lnTo>
                  <a:lnTo>
                    <a:pt x="248" y="1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91" y="0"/>
                  </a:lnTo>
                  <a:lnTo>
                    <a:pt x="308" y="1"/>
                  </a:lnTo>
                  <a:lnTo>
                    <a:pt x="324" y="4"/>
                  </a:lnTo>
                  <a:lnTo>
                    <a:pt x="341" y="7"/>
                  </a:lnTo>
                  <a:lnTo>
                    <a:pt x="357" y="11"/>
                  </a:lnTo>
                  <a:lnTo>
                    <a:pt x="373" y="16"/>
                  </a:lnTo>
                  <a:lnTo>
                    <a:pt x="387" y="22"/>
                  </a:lnTo>
                  <a:lnTo>
                    <a:pt x="402" y="29"/>
                  </a:lnTo>
                  <a:lnTo>
                    <a:pt x="416" y="38"/>
                  </a:lnTo>
                  <a:lnTo>
                    <a:pt x="430" y="46"/>
                  </a:lnTo>
                  <a:lnTo>
                    <a:pt x="443" y="57"/>
                  </a:lnTo>
                  <a:lnTo>
                    <a:pt x="455" y="70"/>
                  </a:lnTo>
                  <a:lnTo>
                    <a:pt x="468" y="82"/>
                  </a:lnTo>
                  <a:lnTo>
                    <a:pt x="480" y="95"/>
                  </a:lnTo>
                  <a:lnTo>
                    <a:pt x="491" y="111"/>
                  </a:lnTo>
                  <a:lnTo>
                    <a:pt x="500" y="127"/>
                  </a:lnTo>
                  <a:lnTo>
                    <a:pt x="382" y="209"/>
                  </a:lnTo>
                  <a:lnTo>
                    <a:pt x="382" y="209"/>
                  </a:lnTo>
                  <a:lnTo>
                    <a:pt x="373" y="193"/>
                  </a:lnTo>
                  <a:lnTo>
                    <a:pt x="362" y="179"/>
                  </a:lnTo>
                  <a:lnTo>
                    <a:pt x="351" y="168"/>
                  </a:lnTo>
                  <a:lnTo>
                    <a:pt x="337" y="159"/>
                  </a:lnTo>
                  <a:lnTo>
                    <a:pt x="324" y="153"/>
                  </a:lnTo>
                  <a:lnTo>
                    <a:pt x="309" y="148"/>
                  </a:lnTo>
                  <a:lnTo>
                    <a:pt x="293" y="144"/>
                  </a:lnTo>
                  <a:lnTo>
                    <a:pt x="276" y="143"/>
                  </a:lnTo>
                  <a:lnTo>
                    <a:pt x="276" y="143"/>
                  </a:lnTo>
                  <a:lnTo>
                    <a:pt x="261" y="144"/>
                  </a:lnTo>
                  <a:lnTo>
                    <a:pt x="246" y="148"/>
                  </a:lnTo>
                  <a:lnTo>
                    <a:pt x="233" y="153"/>
                  </a:lnTo>
                  <a:lnTo>
                    <a:pt x="220" y="159"/>
                  </a:lnTo>
                  <a:lnTo>
                    <a:pt x="209" y="167"/>
                  </a:lnTo>
                  <a:lnTo>
                    <a:pt x="206" y="172"/>
                  </a:lnTo>
                  <a:lnTo>
                    <a:pt x="202" y="177"/>
                  </a:lnTo>
                  <a:lnTo>
                    <a:pt x="200" y="183"/>
                  </a:lnTo>
                  <a:lnTo>
                    <a:pt x="197" y="189"/>
                  </a:lnTo>
                  <a:lnTo>
                    <a:pt x="196" y="195"/>
                  </a:lnTo>
                  <a:lnTo>
                    <a:pt x="196" y="201"/>
                  </a:lnTo>
                  <a:lnTo>
                    <a:pt x="196" y="201"/>
                  </a:lnTo>
                  <a:lnTo>
                    <a:pt x="197" y="216"/>
                  </a:lnTo>
                  <a:lnTo>
                    <a:pt x="201" y="228"/>
                  </a:lnTo>
                  <a:lnTo>
                    <a:pt x="203" y="234"/>
                  </a:lnTo>
                  <a:lnTo>
                    <a:pt x="207" y="239"/>
                  </a:lnTo>
                  <a:lnTo>
                    <a:pt x="217" y="250"/>
                  </a:lnTo>
                  <a:lnTo>
                    <a:pt x="229" y="261"/>
                  </a:lnTo>
                  <a:lnTo>
                    <a:pt x="246" y="271"/>
                  </a:lnTo>
                  <a:lnTo>
                    <a:pt x="265" y="281"/>
                  </a:lnTo>
                  <a:lnTo>
                    <a:pt x="290" y="292"/>
                  </a:lnTo>
                  <a:lnTo>
                    <a:pt x="342" y="310"/>
                  </a:lnTo>
                  <a:lnTo>
                    <a:pt x="342" y="310"/>
                  </a:lnTo>
                  <a:lnTo>
                    <a:pt x="364" y="320"/>
                  </a:lnTo>
                  <a:lnTo>
                    <a:pt x="385" y="329"/>
                  </a:lnTo>
                  <a:lnTo>
                    <a:pt x="406" y="339"/>
                  </a:lnTo>
                  <a:lnTo>
                    <a:pt x="424" y="350"/>
                  </a:lnTo>
                  <a:lnTo>
                    <a:pt x="441" y="361"/>
                  </a:lnTo>
                  <a:lnTo>
                    <a:pt x="457" y="373"/>
                  </a:lnTo>
                  <a:lnTo>
                    <a:pt x="470" y="385"/>
                  </a:lnTo>
                  <a:lnTo>
                    <a:pt x="483" y="399"/>
                  </a:lnTo>
                  <a:lnTo>
                    <a:pt x="494" y="412"/>
                  </a:lnTo>
                  <a:lnTo>
                    <a:pt x="505" y="428"/>
                  </a:lnTo>
                  <a:lnTo>
                    <a:pt x="514" y="443"/>
                  </a:lnTo>
                  <a:lnTo>
                    <a:pt x="520" y="460"/>
                  </a:lnTo>
                  <a:lnTo>
                    <a:pt x="526" y="478"/>
                  </a:lnTo>
                  <a:lnTo>
                    <a:pt x="530" y="496"/>
                  </a:lnTo>
                  <a:lnTo>
                    <a:pt x="532" y="516"/>
                  </a:lnTo>
                  <a:lnTo>
                    <a:pt x="533" y="537"/>
                  </a:lnTo>
                  <a:lnTo>
                    <a:pt x="533" y="537"/>
                  </a:lnTo>
                  <a:lnTo>
                    <a:pt x="532" y="560"/>
                  </a:lnTo>
                  <a:lnTo>
                    <a:pt x="528" y="583"/>
                  </a:lnTo>
                  <a:lnTo>
                    <a:pt x="522" y="605"/>
                  </a:lnTo>
                  <a:lnTo>
                    <a:pt x="514" y="624"/>
                  </a:lnTo>
                  <a:lnTo>
                    <a:pt x="504" y="644"/>
                  </a:lnTo>
                  <a:lnTo>
                    <a:pt x="491" y="662"/>
                  </a:lnTo>
                  <a:lnTo>
                    <a:pt x="477" y="679"/>
                  </a:lnTo>
                  <a:lnTo>
                    <a:pt x="460" y="694"/>
                  </a:lnTo>
                  <a:lnTo>
                    <a:pt x="442" y="707"/>
                  </a:lnTo>
                  <a:lnTo>
                    <a:pt x="423" y="720"/>
                  </a:lnTo>
                  <a:lnTo>
                    <a:pt x="401" y="730"/>
                  </a:lnTo>
                  <a:lnTo>
                    <a:pt x="377" y="739"/>
                  </a:lnTo>
                  <a:lnTo>
                    <a:pt x="353" y="745"/>
                  </a:lnTo>
                  <a:lnTo>
                    <a:pt x="328" y="750"/>
                  </a:lnTo>
                  <a:lnTo>
                    <a:pt x="300" y="754"/>
                  </a:lnTo>
                  <a:lnTo>
                    <a:pt x="272" y="755"/>
                  </a:lnTo>
                  <a:lnTo>
                    <a:pt x="272" y="755"/>
                  </a:lnTo>
                  <a:lnTo>
                    <a:pt x="251" y="754"/>
                  </a:lnTo>
                  <a:lnTo>
                    <a:pt x="229" y="752"/>
                  </a:lnTo>
                  <a:lnTo>
                    <a:pt x="209" y="750"/>
                  </a:lnTo>
                  <a:lnTo>
                    <a:pt x="189" y="745"/>
                  </a:lnTo>
                  <a:lnTo>
                    <a:pt x="169" y="740"/>
                  </a:lnTo>
                  <a:lnTo>
                    <a:pt x="151" y="734"/>
                  </a:lnTo>
                  <a:lnTo>
                    <a:pt x="133" y="727"/>
                  </a:lnTo>
                  <a:lnTo>
                    <a:pt x="114" y="718"/>
                  </a:lnTo>
                  <a:lnTo>
                    <a:pt x="99" y="709"/>
                  </a:lnTo>
                  <a:lnTo>
                    <a:pt x="82" y="698"/>
                  </a:lnTo>
                  <a:lnTo>
                    <a:pt x="66" y="685"/>
                  </a:lnTo>
                  <a:lnTo>
                    <a:pt x="51" y="672"/>
                  </a:lnTo>
                  <a:lnTo>
                    <a:pt x="38" y="657"/>
                  </a:lnTo>
                  <a:lnTo>
                    <a:pt x="24" y="641"/>
                  </a:lnTo>
                  <a:lnTo>
                    <a:pt x="12" y="624"/>
                  </a:lnTo>
                  <a:lnTo>
                    <a:pt x="0" y="605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1140" y="2055"/>
              <a:ext cx="178" cy="251"/>
            </a:xfrm>
            <a:custGeom>
              <a:avLst/>
              <a:gdLst>
                <a:gd name="T0" fmla="*/ 123 w 533"/>
                <a:gd name="T1" fmla="*/ 517 h 755"/>
                <a:gd name="T2" fmla="*/ 166 w 533"/>
                <a:gd name="T3" fmla="*/ 573 h 755"/>
                <a:gd name="T4" fmla="*/ 192 w 533"/>
                <a:gd name="T5" fmla="*/ 593 h 755"/>
                <a:gd name="T6" fmla="*/ 223 w 533"/>
                <a:gd name="T7" fmla="*/ 605 h 755"/>
                <a:gd name="T8" fmla="*/ 258 w 533"/>
                <a:gd name="T9" fmla="*/ 611 h 755"/>
                <a:gd name="T10" fmla="*/ 292 w 533"/>
                <a:gd name="T11" fmla="*/ 610 h 755"/>
                <a:gd name="T12" fmla="*/ 332 w 533"/>
                <a:gd name="T13" fmla="*/ 596 h 755"/>
                <a:gd name="T14" fmla="*/ 351 w 533"/>
                <a:gd name="T15" fmla="*/ 583 h 755"/>
                <a:gd name="T16" fmla="*/ 362 w 533"/>
                <a:gd name="T17" fmla="*/ 565 h 755"/>
                <a:gd name="T18" fmla="*/ 365 w 533"/>
                <a:gd name="T19" fmla="*/ 544 h 755"/>
                <a:gd name="T20" fmla="*/ 364 w 533"/>
                <a:gd name="T21" fmla="*/ 529 h 755"/>
                <a:gd name="T22" fmla="*/ 356 w 533"/>
                <a:gd name="T23" fmla="*/ 509 h 755"/>
                <a:gd name="T24" fmla="*/ 341 w 533"/>
                <a:gd name="T25" fmla="*/ 492 h 755"/>
                <a:gd name="T26" fmla="*/ 291 w 533"/>
                <a:gd name="T27" fmla="*/ 461 h 755"/>
                <a:gd name="T28" fmla="*/ 217 w 533"/>
                <a:gd name="T29" fmla="*/ 432 h 755"/>
                <a:gd name="T30" fmla="*/ 153 w 533"/>
                <a:gd name="T31" fmla="*/ 401 h 755"/>
                <a:gd name="T32" fmla="*/ 105 w 533"/>
                <a:gd name="T33" fmla="*/ 365 h 755"/>
                <a:gd name="T34" fmla="*/ 71 w 533"/>
                <a:gd name="T35" fmla="*/ 323 h 755"/>
                <a:gd name="T36" fmla="*/ 49 w 533"/>
                <a:gd name="T37" fmla="*/ 277 h 755"/>
                <a:gd name="T38" fmla="*/ 39 w 533"/>
                <a:gd name="T39" fmla="*/ 225 h 755"/>
                <a:gd name="T40" fmla="*/ 39 w 533"/>
                <a:gd name="T41" fmla="*/ 184 h 755"/>
                <a:gd name="T42" fmla="*/ 56 w 533"/>
                <a:gd name="T43" fmla="*/ 125 h 755"/>
                <a:gd name="T44" fmla="*/ 90 w 533"/>
                <a:gd name="T45" fmla="*/ 73 h 755"/>
                <a:gd name="T46" fmla="*/ 139 w 533"/>
                <a:gd name="T47" fmla="*/ 34 h 755"/>
                <a:gd name="T48" fmla="*/ 201 w 533"/>
                <a:gd name="T49" fmla="*/ 9 h 755"/>
                <a:gd name="T50" fmla="*/ 273 w 533"/>
                <a:gd name="T51" fmla="*/ 0 h 755"/>
                <a:gd name="T52" fmla="*/ 308 w 533"/>
                <a:gd name="T53" fmla="*/ 1 h 755"/>
                <a:gd name="T54" fmla="*/ 357 w 533"/>
                <a:gd name="T55" fmla="*/ 11 h 755"/>
                <a:gd name="T56" fmla="*/ 402 w 533"/>
                <a:gd name="T57" fmla="*/ 29 h 755"/>
                <a:gd name="T58" fmla="*/ 443 w 533"/>
                <a:gd name="T59" fmla="*/ 57 h 755"/>
                <a:gd name="T60" fmla="*/ 480 w 533"/>
                <a:gd name="T61" fmla="*/ 95 h 755"/>
                <a:gd name="T62" fmla="*/ 382 w 533"/>
                <a:gd name="T63" fmla="*/ 209 h 755"/>
                <a:gd name="T64" fmla="*/ 362 w 533"/>
                <a:gd name="T65" fmla="*/ 179 h 755"/>
                <a:gd name="T66" fmla="*/ 324 w 533"/>
                <a:gd name="T67" fmla="*/ 153 h 755"/>
                <a:gd name="T68" fmla="*/ 276 w 533"/>
                <a:gd name="T69" fmla="*/ 143 h 755"/>
                <a:gd name="T70" fmla="*/ 246 w 533"/>
                <a:gd name="T71" fmla="*/ 148 h 755"/>
                <a:gd name="T72" fmla="*/ 209 w 533"/>
                <a:gd name="T73" fmla="*/ 167 h 755"/>
                <a:gd name="T74" fmla="*/ 200 w 533"/>
                <a:gd name="T75" fmla="*/ 183 h 755"/>
                <a:gd name="T76" fmla="*/ 196 w 533"/>
                <a:gd name="T77" fmla="*/ 201 h 755"/>
                <a:gd name="T78" fmla="*/ 201 w 533"/>
                <a:gd name="T79" fmla="*/ 228 h 755"/>
                <a:gd name="T80" fmla="*/ 217 w 533"/>
                <a:gd name="T81" fmla="*/ 250 h 755"/>
                <a:gd name="T82" fmla="*/ 265 w 533"/>
                <a:gd name="T83" fmla="*/ 281 h 755"/>
                <a:gd name="T84" fmla="*/ 342 w 533"/>
                <a:gd name="T85" fmla="*/ 310 h 755"/>
                <a:gd name="T86" fmla="*/ 406 w 533"/>
                <a:gd name="T87" fmla="*/ 339 h 755"/>
                <a:gd name="T88" fmla="*/ 457 w 533"/>
                <a:gd name="T89" fmla="*/ 373 h 755"/>
                <a:gd name="T90" fmla="*/ 494 w 533"/>
                <a:gd name="T91" fmla="*/ 412 h 755"/>
                <a:gd name="T92" fmla="*/ 520 w 533"/>
                <a:gd name="T93" fmla="*/ 460 h 755"/>
                <a:gd name="T94" fmla="*/ 532 w 533"/>
                <a:gd name="T95" fmla="*/ 516 h 755"/>
                <a:gd name="T96" fmla="*/ 532 w 533"/>
                <a:gd name="T97" fmla="*/ 560 h 755"/>
                <a:gd name="T98" fmla="*/ 514 w 533"/>
                <a:gd name="T99" fmla="*/ 624 h 755"/>
                <a:gd name="T100" fmla="*/ 477 w 533"/>
                <a:gd name="T101" fmla="*/ 679 h 755"/>
                <a:gd name="T102" fmla="*/ 423 w 533"/>
                <a:gd name="T103" fmla="*/ 720 h 755"/>
                <a:gd name="T104" fmla="*/ 353 w 533"/>
                <a:gd name="T105" fmla="*/ 745 h 755"/>
                <a:gd name="T106" fmla="*/ 272 w 533"/>
                <a:gd name="T107" fmla="*/ 755 h 755"/>
                <a:gd name="T108" fmla="*/ 229 w 533"/>
                <a:gd name="T109" fmla="*/ 752 h 755"/>
                <a:gd name="T110" fmla="*/ 169 w 533"/>
                <a:gd name="T111" fmla="*/ 740 h 755"/>
                <a:gd name="T112" fmla="*/ 114 w 533"/>
                <a:gd name="T113" fmla="*/ 718 h 755"/>
                <a:gd name="T114" fmla="*/ 66 w 533"/>
                <a:gd name="T115" fmla="*/ 685 h 755"/>
                <a:gd name="T116" fmla="*/ 24 w 533"/>
                <a:gd name="T117" fmla="*/ 641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33" h="755">
                  <a:moveTo>
                    <a:pt x="0" y="605"/>
                  </a:moveTo>
                  <a:lnTo>
                    <a:pt x="123" y="517"/>
                  </a:lnTo>
                  <a:lnTo>
                    <a:pt x="123" y="517"/>
                  </a:lnTo>
                  <a:lnTo>
                    <a:pt x="136" y="539"/>
                  </a:lnTo>
                  <a:lnTo>
                    <a:pt x="151" y="557"/>
                  </a:lnTo>
                  <a:lnTo>
                    <a:pt x="166" y="573"/>
                  </a:lnTo>
                  <a:lnTo>
                    <a:pt x="174" y="581"/>
                  </a:lnTo>
                  <a:lnTo>
                    <a:pt x="183" y="587"/>
                  </a:lnTo>
                  <a:lnTo>
                    <a:pt x="192" y="593"/>
                  </a:lnTo>
                  <a:lnTo>
                    <a:pt x="202" y="598"/>
                  </a:lnTo>
                  <a:lnTo>
                    <a:pt x="212" y="601"/>
                  </a:lnTo>
                  <a:lnTo>
                    <a:pt x="223" y="605"/>
                  </a:lnTo>
                  <a:lnTo>
                    <a:pt x="234" y="607"/>
                  </a:lnTo>
                  <a:lnTo>
                    <a:pt x="246" y="610"/>
                  </a:lnTo>
                  <a:lnTo>
                    <a:pt x="258" y="611"/>
                  </a:lnTo>
                  <a:lnTo>
                    <a:pt x="272" y="611"/>
                  </a:lnTo>
                  <a:lnTo>
                    <a:pt x="272" y="611"/>
                  </a:lnTo>
                  <a:lnTo>
                    <a:pt x="292" y="610"/>
                  </a:lnTo>
                  <a:lnTo>
                    <a:pt x="309" y="606"/>
                  </a:lnTo>
                  <a:lnTo>
                    <a:pt x="325" y="600"/>
                  </a:lnTo>
                  <a:lnTo>
                    <a:pt x="332" y="596"/>
                  </a:lnTo>
                  <a:lnTo>
                    <a:pt x="340" y="593"/>
                  </a:lnTo>
                  <a:lnTo>
                    <a:pt x="345" y="588"/>
                  </a:lnTo>
                  <a:lnTo>
                    <a:pt x="351" y="583"/>
                  </a:lnTo>
                  <a:lnTo>
                    <a:pt x="354" y="577"/>
                  </a:lnTo>
                  <a:lnTo>
                    <a:pt x="358" y="571"/>
                  </a:lnTo>
                  <a:lnTo>
                    <a:pt x="362" y="565"/>
                  </a:lnTo>
                  <a:lnTo>
                    <a:pt x="363" y="559"/>
                  </a:lnTo>
                  <a:lnTo>
                    <a:pt x="365" y="551"/>
                  </a:lnTo>
                  <a:lnTo>
                    <a:pt x="365" y="544"/>
                  </a:lnTo>
                  <a:lnTo>
                    <a:pt x="365" y="544"/>
                  </a:lnTo>
                  <a:lnTo>
                    <a:pt x="365" y="537"/>
                  </a:lnTo>
                  <a:lnTo>
                    <a:pt x="364" y="529"/>
                  </a:lnTo>
                  <a:lnTo>
                    <a:pt x="362" y="522"/>
                  </a:lnTo>
                  <a:lnTo>
                    <a:pt x="359" y="515"/>
                  </a:lnTo>
                  <a:lnTo>
                    <a:pt x="356" y="509"/>
                  </a:lnTo>
                  <a:lnTo>
                    <a:pt x="352" y="502"/>
                  </a:lnTo>
                  <a:lnTo>
                    <a:pt x="347" y="496"/>
                  </a:lnTo>
                  <a:lnTo>
                    <a:pt x="341" y="492"/>
                  </a:lnTo>
                  <a:lnTo>
                    <a:pt x="328" y="481"/>
                  </a:lnTo>
                  <a:lnTo>
                    <a:pt x="311" y="471"/>
                  </a:lnTo>
                  <a:lnTo>
                    <a:pt x="291" y="461"/>
                  </a:lnTo>
                  <a:lnTo>
                    <a:pt x="268" y="451"/>
                  </a:lnTo>
                  <a:lnTo>
                    <a:pt x="217" y="432"/>
                  </a:lnTo>
                  <a:lnTo>
                    <a:pt x="217" y="432"/>
                  </a:lnTo>
                  <a:lnTo>
                    <a:pt x="194" y="422"/>
                  </a:lnTo>
                  <a:lnTo>
                    <a:pt x="173" y="412"/>
                  </a:lnTo>
                  <a:lnTo>
                    <a:pt x="153" y="401"/>
                  </a:lnTo>
                  <a:lnTo>
                    <a:pt x="136" y="390"/>
                  </a:lnTo>
                  <a:lnTo>
                    <a:pt x="119" y="378"/>
                  </a:lnTo>
                  <a:lnTo>
                    <a:pt x="105" y="365"/>
                  </a:lnTo>
                  <a:lnTo>
                    <a:pt x="93" y="351"/>
                  </a:lnTo>
                  <a:lnTo>
                    <a:pt x="80" y="338"/>
                  </a:lnTo>
                  <a:lnTo>
                    <a:pt x="71" y="323"/>
                  </a:lnTo>
                  <a:lnTo>
                    <a:pt x="62" y="309"/>
                  </a:lnTo>
                  <a:lnTo>
                    <a:pt x="55" y="293"/>
                  </a:lnTo>
                  <a:lnTo>
                    <a:pt x="49" y="277"/>
                  </a:lnTo>
                  <a:lnTo>
                    <a:pt x="44" y="260"/>
                  </a:lnTo>
                  <a:lnTo>
                    <a:pt x="40" y="243"/>
                  </a:lnTo>
                  <a:lnTo>
                    <a:pt x="39" y="225"/>
                  </a:lnTo>
                  <a:lnTo>
                    <a:pt x="38" y="206"/>
                  </a:lnTo>
                  <a:lnTo>
                    <a:pt x="38" y="206"/>
                  </a:lnTo>
                  <a:lnTo>
                    <a:pt x="39" y="184"/>
                  </a:lnTo>
                  <a:lnTo>
                    <a:pt x="43" y="164"/>
                  </a:lnTo>
                  <a:lnTo>
                    <a:pt x="47" y="143"/>
                  </a:lnTo>
                  <a:lnTo>
                    <a:pt x="56" y="125"/>
                  </a:lnTo>
                  <a:lnTo>
                    <a:pt x="66" y="106"/>
                  </a:lnTo>
                  <a:lnTo>
                    <a:pt x="77" y="89"/>
                  </a:lnTo>
                  <a:lnTo>
                    <a:pt x="90" y="73"/>
                  </a:lnTo>
                  <a:lnTo>
                    <a:pt x="105" y="59"/>
                  </a:lnTo>
                  <a:lnTo>
                    <a:pt x="121" y="45"/>
                  </a:lnTo>
                  <a:lnTo>
                    <a:pt x="139" y="34"/>
                  </a:lnTo>
                  <a:lnTo>
                    <a:pt x="158" y="23"/>
                  </a:lnTo>
                  <a:lnTo>
                    <a:pt x="179" y="16"/>
                  </a:lnTo>
                  <a:lnTo>
                    <a:pt x="201" y="9"/>
                  </a:lnTo>
                  <a:lnTo>
                    <a:pt x="224" y="4"/>
                  </a:lnTo>
                  <a:lnTo>
                    <a:pt x="248" y="1"/>
                  </a:lnTo>
                  <a:lnTo>
                    <a:pt x="273" y="0"/>
                  </a:lnTo>
                  <a:lnTo>
                    <a:pt x="273" y="0"/>
                  </a:lnTo>
                  <a:lnTo>
                    <a:pt x="291" y="0"/>
                  </a:lnTo>
                  <a:lnTo>
                    <a:pt x="308" y="1"/>
                  </a:lnTo>
                  <a:lnTo>
                    <a:pt x="324" y="4"/>
                  </a:lnTo>
                  <a:lnTo>
                    <a:pt x="341" y="7"/>
                  </a:lnTo>
                  <a:lnTo>
                    <a:pt x="357" y="11"/>
                  </a:lnTo>
                  <a:lnTo>
                    <a:pt x="373" y="16"/>
                  </a:lnTo>
                  <a:lnTo>
                    <a:pt x="387" y="22"/>
                  </a:lnTo>
                  <a:lnTo>
                    <a:pt x="402" y="29"/>
                  </a:lnTo>
                  <a:lnTo>
                    <a:pt x="416" y="38"/>
                  </a:lnTo>
                  <a:lnTo>
                    <a:pt x="430" y="46"/>
                  </a:lnTo>
                  <a:lnTo>
                    <a:pt x="443" y="57"/>
                  </a:lnTo>
                  <a:lnTo>
                    <a:pt x="455" y="70"/>
                  </a:lnTo>
                  <a:lnTo>
                    <a:pt x="468" y="82"/>
                  </a:lnTo>
                  <a:lnTo>
                    <a:pt x="480" y="95"/>
                  </a:lnTo>
                  <a:lnTo>
                    <a:pt x="491" y="111"/>
                  </a:lnTo>
                  <a:lnTo>
                    <a:pt x="500" y="127"/>
                  </a:lnTo>
                  <a:lnTo>
                    <a:pt x="382" y="209"/>
                  </a:lnTo>
                  <a:lnTo>
                    <a:pt x="382" y="209"/>
                  </a:lnTo>
                  <a:lnTo>
                    <a:pt x="373" y="193"/>
                  </a:lnTo>
                  <a:lnTo>
                    <a:pt x="362" y="179"/>
                  </a:lnTo>
                  <a:lnTo>
                    <a:pt x="351" y="168"/>
                  </a:lnTo>
                  <a:lnTo>
                    <a:pt x="337" y="159"/>
                  </a:lnTo>
                  <a:lnTo>
                    <a:pt x="324" y="153"/>
                  </a:lnTo>
                  <a:lnTo>
                    <a:pt x="309" y="148"/>
                  </a:lnTo>
                  <a:lnTo>
                    <a:pt x="293" y="144"/>
                  </a:lnTo>
                  <a:lnTo>
                    <a:pt x="276" y="143"/>
                  </a:lnTo>
                  <a:lnTo>
                    <a:pt x="276" y="143"/>
                  </a:lnTo>
                  <a:lnTo>
                    <a:pt x="261" y="144"/>
                  </a:lnTo>
                  <a:lnTo>
                    <a:pt x="246" y="148"/>
                  </a:lnTo>
                  <a:lnTo>
                    <a:pt x="233" y="153"/>
                  </a:lnTo>
                  <a:lnTo>
                    <a:pt x="220" y="159"/>
                  </a:lnTo>
                  <a:lnTo>
                    <a:pt x="209" y="167"/>
                  </a:lnTo>
                  <a:lnTo>
                    <a:pt x="206" y="172"/>
                  </a:lnTo>
                  <a:lnTo>
                    <a:pt x="202" y="177"/>
                  </a:lnTo>
                  <a:lnTo>
                    <a:pt x="200" y="183"/>
                  </a:lnTo>
                  <a:lnTo>
                    <a:pt x="197" y="189"/>
                  </a:lnTo>
                  <a:lnTo>
                    <a:pt x="196" y="195"/>
                  </a:lnTo>
                  <a:lnTo>
                    <a:pt x="196" y="201"/>
                  </a:lnTo>
                  <a:lnTo>
                    <a:pt x="196" y="201"/>
                  </a:lnTo>
                  <a:lnTo>
                    <a:pt x="197" y="216"/>
                  </a:lnTo>
                  <a:lnTo>
                    <a:pt x="201" y="228"/>
                  </a:lnTo>
                  <a:lnTo>
                    <a:pt x="203" y="234"/>
                  </a:lnTo>
                  <a:lnTo>
                    <a:pt x="207" y="239"/>
                  </a:lnTo>
                  <a:lnTo>
                    <a:pt x="217" y="250"/>
                  </a:lnTo>
                  <a:lnTo>
                    <a:pt x="229" y="261"/>
                  </a:lnTo>
                  <a:lnTo>
                    <a:pt x="246" y="271"/>
                  </a:lnTo>
                  <a:lnTo>
                    <a:pt x="265" y="281"/>
                  </a:lnTo>
                  <a:lnTo>
                    <a:pt x="290" y="292"/>
                  </a:lnTo>
                  <a:lnTo>
                    <a:pt x="342" y="310"/>
                  </a:lnTo>
                  <a:lnTo>
                    <a:pt x="342" y="310"/>
                  </a:lnTo>
                  <a:lnTo>
                    <a:pt x="364" y="320"/>
                  </a:lnTo>
                  <a:lnTo>
                    <a:pt x="385" y="329"/>
                  </a:lnTo>
                  <a:lnTo>
                    <a:pt x="406" y="339"/>
                  </a:lnTo>
                  <a:lnTo>
                    <a:pt x="424" y="350"/>
                  </a:lnTo>
                  <a:lnTo>
                    <a:pt x="441" y="361"/>
                  </a:lnTo>
                  <a:lnTo>
                    <a:pt x="457" y="373"/>
                  </a:lnTo>
                  <a:lnTo>
                    <a:pt x="470" y="385"/>
                  </a:lnTo>
                  <a:lnTo>
                    <a:pt x="483" y="399"/>
                  </a:lnTo>
                  <a:lnTo>
                    <a:pt x="494" y="412"/>
                  </a:lnTo>
                  <a:lnTo>
                    <a:pt x="505" y="428"/>
                  </a:lnTo>
                  <a:lnTo>
                    <a:pt x="514" y="443"/>
                  </a:lnTo>
                  <a:lnTo>
                    <a:pt x="520" y="460"/>
                  </a:lnTo>
                  <a:lnTo>
                    <a:pt x="526" y="478"/>
                  </a:lnTo>
                  <a:lnTo>
                    <a:pt x="530" y="496"/>
                  </a:lnTo>
                  <a:lnTo>
                    <a:pt x="532" y="516"/>
                  </a:lnTo>
                  <a:lnTo>
                    <a:pt x="533" y="537"/>
                  </a:lnTo>
                  <a:lnTo>
                    <a:pt x="533" y="537"/>
                  </a:lnTo>
                  <a:lnTo>
                    <a:pt x="532" y="560"/>
                  </a:lnTo>
                  <a:lnTo>
                    <a:pt x="528" y="583"/>
                  </a:lnTo>
                  <a:lnTo>
                    <a:pt x="522" y="605"/>
                  </a:lnTo>
                  <a:lnTo>
                    <a:pt x="514" y="624"/>
                  </a:lnTo>
                  <a:lnTo>
                    <a:pt x="504" y="644"/>
                  </a:lnTo>
                  <a:lnTo>
                    <a:pt x="491" y="662"/>
                  </a:lnTo>
                  <a:lnTo>
                    <a:pt x="477" y="679"/>
                  </a:lnTo>
                  <a:lnTo>
                    <a:pt x="460" y="694"/>
                  </a:lnTo>
                  <a:lnTo>
                    <a:pt x="442" y="707"/>
                  </a:lnTo>
                  <a:lnTo>
                    <a:pt x="423" y="720"/>
                  </a:lnTo>
                  <a:lnTo>
                    <a:pt x="401" y="730"/>
                  </a:lnTo>
                  <a:lnTo>
                    <a:pt x="377" y="739"/>
                  </a:lnTo>
                  <a:lnTo>
                    <a:pt x="353" y="745"/>
                  </a:lnTo>
                  <a:lnTo>
                    <a:pt x="328" y="750"/>
                  </a:lnTo>
                  <a:lnTo>
                    <a:pt x="300" y="754"/>
                  </a:lnTo>
                  <a:lnTo>
                    <a:pt x="272" y="755"/>
                  </a:lnTo>
                  <a:lnTo>
                    <a:pt x="272" y="755"/>
                  </a:lnTo>
                  <a:lnTo>
                    <a:pt x="251" y="754"/>
                  </a:lnTo>
                  <a:lnTo>
                    <a:pt x="229" y="752"/>
                  </a:lnTo>
                  <a:lnTo>
                    <a:pt x="209" y="750"/>
                  </a:lnTo>
                  <a:lnTo>
                    <a:pt x="189" y="745"/>
                  </a:lnTo>
                  <a:lnTo>
                    <a:pt x="169" y="740"/>
                  </a:lnTo>
                  <a:lnTo>
                    <a:pt x="151" y="734"/>
                  </a:lnTo>
                  <a:lnTo>
                    <a:pt x="133" y="727"/>
                  </a:lnTo>
                  <a:lnTo>
                    <a:pt x="114" y="718"/>
                  </a:lnTo>
                  <a:lnTo>
                    <a:pt x="99" y="709"/>
                  </a:lnTo>
                  <a:lnTo>
                    <a:pt x="82" y="698"/>
                  </a:lnTo>
                  <a:lnTo>
                    <a:pt x="66" y="685"/>
                  </a:lnTo>
                  <a:lnTo>
                    <a:pt x="51" y="672"/>
                  </a:lnTo>
                  <a:lnTo>
                    <a:pt x="38" y="657"/>
                  </a:lnTo>
                  <a:lnTo>
                    <a:pt x="24" y="641"/>
                  </a:lnTo>
                  <a:lnTo>
                    <a:pt x="12" y="624"/>
                  </a:lnTo>
                  <a:lnTo>
                    <a:pt x="0" y="60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7"/>
            <p:cNvSpPr>
              <a:spLocks/>
            </p:cNvSpPr>
            <p:nvPr userDrawn="1"/>
          </p:nvSpPr>
          <p:spPr bwMode="auto">
            <a:xfrm>
              <a:off x="1333" y="2055"/>
              <a:ext cx="219" cy="251"/>
            </a:xfrm>
            <a:custGeom>
              <a:avLst/>
              <a:gdLst>
                <a:gd name="T0" fmla="*/ 1 w 656"/>
                <a:gd name="T1" fmla="*/ 357 h 755"/>
                <a:gd name="T2" fmla="*/ 7 w 656"/>
                <a:gd name="T3" fmla="*/ 300 h 755"/>
                <a:gd name="T4" fmla="*/ 22 w 656"/>
                <a:gd name="T5" fmla="*/ 245 h 755"/>
                <a:gd name="T6" fmla="*/ 43 w 656"/>
                <a:gd name="T7" fmla="*/ 195 h 755"/>
                <a:gd name="T8" fmla="*/ 73 w 656"/>
                <a:gd name="T9" fmla="*/ 149 h 755"/>
                <a:gd name="T10" fmla="*/ 107 w 656"/>
                <a:gd name="T11" fmla="*/ 109 h 755"/>
                <a:gd name="T12" fmla="*/ 148 w 656"/>
                <a:gd name="T13" fmla="*/ 73 h 755"/>
                <a:gd name="T14" fmla="*/ 193 w 656"/>
                <a:gd name="T15" fmla="*/ 44 h 755"/>
                <a:gd name="T16" fmla="*/ 244 w 656"/>
                <a:gd name="T17" fmla="*/ 22 h 755"/>
                <a:gd name="T18" fmla="*/ 299 w 656"/>
                <a:gd name="T19" fmla="*/ 7 h 755"/>
                <a:gd name="T20" fmla="*/ 356 w 656"/>
                <a:gd name="T21" fmla="*/ 0 h 755"/>
                <a:gd name="T22" fmla="*/ 399 w 656"/>
                <a:gd name="T23" fmla="*/ 0 h 755"/>
                <a:gd name="T24" fmla="*/ 460 w 656"/>
                <a:gd name="T25" fmla="*/ 9 h 755"/>
                <a:gd name="T26" fmla="*/ 517 w 656"/>
                <a:gd name="T27" fmla="*/ 26 h 755"/>
                <a:gd name="T28" fmla="*/ 568 w 656"/>
                <a:gd name="T29" fmla="*/ 51 h 755"/>
                <a:gd name="T30" fmla="*/ 615 w 656"/>
                <a:gd name="T31" fmla="*/ 83 h 755"/>
                <a:gd name="T32" fmla="*/ 656 w 656"/>
                <a:gd name="T33" fmla="*/ 121 h 755"/>
                <a:gd name="T34" fmla="*/ 532 w 656"/>
                <a:gd name="T35" fmla="*/ 218 h 755"/>
                <a:gd name="T36" fmla="*/ 476 w 656"/>
                <a:gd name="T37" fmla="*/ 178 h 755"/>
                <a:gd name="T38" fmla="*/ 430 w 656"/>
                <a:gd name="T39" fmla="*/ 162 h 755"/>
                <a:gd name="T40" fmla="*/ 391 w 656"/>
                <a:gd name="T41" fmla="*/ 156 h 755"/>
                <a:gd name="T42" fmla="*/ 354 w 656"/>
                <a:gd name="T43" fmla="*/ 157 h 755"/>
                <a:gd name="T44" fmla="*/ 292 w 656"/>
                <a:gd name="T45" fmla="*/ 173 h 755"/>
                <a:gd name="T46" fmla="*/ 240 w 656"/>
                <a:gd name="T47" fmla="*/ 205 h 755"/>
                <a:gd name="T48" fmla="*/ 199 w 656"/>
                <a:gd name="T49" fmla="*/ 251 h 755"/>
                <a:gd name="T50" fmla="*/ 174 w 656"/>
                <a:gd name="T51" fmla="*/ 310 h 755"/>
                <a:gd name="T52" fmla="*/ 165 w 656"/>
                <a:gd name="T53" fmla="*/ 377 h 755"/>
                <a:gd name="T54" fmla="*/ 169 w 656"/>
                <a:gd name="T55" fmla="*/ 423 h 755"/>
                <a:gd name="T56" fmla="*/ 190 w 656"/>
                <a:gd name="T57" fmla="*/ 485 h 755"/>
                <a:gd name="T58" fmla="*/ 225 w 656"/>
                <a:gd name="T59" fmla="*/ 535 h 755"/>
                <a:gd name="T60" fmla="*/ 272 w 656"/>
                <a:gd name="T61" fmla="*/ 572 h 755"/>
                <a:gd name="T62" fmla="*/ 332 w 656"/>
                <a:gd name="T63" fmla="*/ 594 h 755"/>
                <a:gd name="T64" fmla="*/ 377 w 656"/>
                <a:gd name="T65" fmla="*/ 598 h 755"/>
                <a:gd name="T66" fmla="*/ 417 w 656"/>
                <a:gd name="T67" fmla="*/ 595 h 755"/>
                <a:gd name="T68" fmla="*/ 454 w 656"/>
                <a:gd name="T69" fmla="*/ 585 h 755"/>
                <a:gd name="T70" fmla="*/ 515 w 656"/>
                <a:gd name="T71" fmla="*/ 551 h 755"/>
                <a:gd name="T72" fmla="*/ 656 w 656"/>
                <a:gd name="T73" fmla="*/ 633 h 755"/>
                <a:gd name="T74" fmla="*/ 629 w 656"/>
                <a:gd name="T75" fmla="*/ 660 h 755"/>
                <a:gd name="T76" fmla="*/ 585 w 656"/>
                <a:gd name="T77" fmla="*/ 694 h 755"/>
                <a:gd name="T78" fmla="*/ 535 w 656"/>
                <a:gd name="T79" fmla="*/ 721 h 755"/>
                <a:gd name="T80" fmla="*/ 479 w 656"/>
                <a:gd name="T81" fmla="*/ 741 h 755"/>
                <a:gd name="T82" fmla="*/ 420 w 656"/>
                <a:gd name="T83" fmla="*/ 752 h 755"/>
                <a:gd name="T84" fmla="*/ 377 w 656"/>
                <a:gd name="T85" fmla="*/ 755 h 755"/>
                <a:gd name="T86" fmla="*/ 317 w 656"/>
                <a:gd name="T87" fmla="*/ 750 h 755"/>
                <a:gd name="T88" fmla="*/ 261 w 656"/>
                <a:gd name="T89" fmla="*/ 738 h 755"/>
                <a:gd name="T90" fmla="*/ 210 w 656"/>
                <a:gd name="T91" fmla="*/ 718 h 755"/>
                <a:gd name="T92" fmla="*/ 163 w 656"/>
                <a:gd name="T93" fmla="*/ 691 h 755"/>
                <a:gd name="T94" fmla="*/ 120 w 656"/>
                <a:gd name="T95" fmla="*/ 659 h 755"/>
                <a:gd name="T96" fmla="*/ 84 w 656"/>
                <a:gd name="T97" fmla="*/ 620 h 755"/>
                <a:gd name="T98" fmla="*/ 53 w 656"/>
                <a:gd name="T99" fmla="*/ 576 h 755"/>
                <a:gd name="T100" fmla="*/ 29 w 656"/>
                <a:gd name="T101" fmla="*/ 527 h 755"/>
                <a:gd name="T102" fmla="*/ 12 w 656"/>
                <a:gd name="T103" fmla="*/ 473 h 755"/>
                <a:gd name="T104" fmla="*/ 2 w 656"/>
                <a:gd name="T105" fmla="*/ 41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6" h="755">
                  <a:moveTo>
                    <a:pt x="0" y="377"/>
                  </a:moveTo>
                  <a:lnTo>
                    <a:pt x="0" y="377"/>
                  </a:lnTo>
                  <a:lnTo>
                    <a:pt x="1" y="357"/>
                  </a:lnTo>
                  <a:lnTo>
                    <a:pt x="2" y="338"/>
                  </a:lnTo>
                  <a:lnTo>
                    <a:pt x="5" y="318"/>
                  </a:lnTo>
                  <a:lnTo>
                    <a:pt x="7" y="300"/>
                  </a:lnTo>
                  <a:lnTo>
                    <a:pt x="12" y="282"/>
                  </a:lnTo>
                  <a:lnTo>
                    <a:pt x="17" y="264"/>
                  </a:lnTo>
                  <a:lnTo>
                    <a:pt x="22" y="245"/>
                  </a:lnTo>
                  <a:lnTo>
                    <a:pt x="29" y="228"/>
                  </a:lnTo>
                  <a:lnTo>
                    <a:pt x="36" y="211"/>
                  </a:lnTo>
                  <a:lnTo>
                    <a:pt x="43" y="195"/>
                  </a:lnTo>
                  <a:lnTo>
                    <a:pt x="53" y="179"/>
                  </a:lnTo>
                  <a:lnTo>
                    <a:pt x="62" y="164"/>
                  </a:lnTo>
                  <a:lnTo>
                    <a:pt x="73" y="149"/>
                  </a:lnTo>
                  <a:lnTo>
                    <a:pt x="84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20" y="96"/>
                  </a:lnTo>
                  <a:lnTo>
                    <a:pt x="134" y="84"/>
                  </a:lnTo>
                  <a:lnTo>
                    <a:pt x="148" y="73"/>
                  </a:lnTo>
                  <a:lnTo>
                    <a:pt x="163" y="64"/>
                  </a:lnTo>
                  <a:lnTo>
                    <a:pt x="177" y="54"/>
                  </a:lnTo>
                  <a:lnTo>
                    <a:pt x="193" y="44"/>
                  </a:lnTo>
                  <a:lnTo>
                    <a:pt x="210" y="37"/>
                  </a:lnTo>
                  <a:lnTo>
                    <a:pt x="227" y="29"/>
                  </a:lnTo>
                  <a:lnTo>
                    <a:pt x="244" y="22"/>
                  </a:lnTo>
                  <a:lnTo>
                    <a:pt x="261" y="16"/>
                  </a:lnTo>
                  <a:lnTo>
                    <a:pt x="280" y="11"/>
                  </a:lnTo>
                  <a:lnTo>
                    <a:pt x="299" y="7"/>
                  </a:lnTo>
                  <a:lnTo>
                    <a:pt x="317" y="4"/>
                  </a:lnTo>
                  <a:lnTo>
                    <a:pt x="337" y="1"/>
                  </a:lnTo>
                  <a:lnTo>
                    <a:pt x="356" y="0"/>
                  </a:lnTo>
                  <a:lnTo>
                    <a:pt x="377" y="0"/>
                  </a:lnTo>
                  <a:lnTo>
                    <a:pt x="377" y="0"/>
                  </a:lnTo>
                  <a:lnTo>
                    <a:pt x="399" y="0"/>
                  </a:lnTo>
                  <a:lnTo>
                    <a:pt x="420" y="3"/>
                  </a:lnTo>
                  <a:lnTo>
                    <a:pt x="440" y="5"/>
                  </a:lnTo>
                  <a:lnTo>
                    <a:pt x="460" y="9"/>
                  </a:lnTo>
                  <a:lnTo>
                    <a:pt x="479" y="14"/>
                  </a:lnTo>
                  <a:lnTo>
                    <a:pt x="499" y="20"/>
                  </a:lnTo>
                  <a:lnTo>
                    <a:pt x="517" y="26"/>
                  </a:lnTo>
                  <a:lnTo>
                    <a:pt x="535" y="33"/>
                  </a:lnTo>
                  <a:lnTo>
                    <a:pt x="552" y="42"/>
                  </a:lnTo>
                  <a:lnTo>
                    <a:pt x="568" y="51"/>
                  </a:lnTo>
                  <a:lnTo>
                    <a:pt x="585" y="61"/>
                  </a:lnTo>
                  <a:lnTo>
                    <a:pt x="600" y="72"/>
                  </a:lnTo>
                  <a:lnTo>
                    <a:pt x="615" y="83"/>
                  </a:lnTo>
                  <a:lnTo>
                    <a:pt x="629" y="95"/>
                  </a:lnTo>
                  <a:lnTo>
                    <a:pt x="643" y="107"/>
                  </a:lnTo>
                  <a:lnTo>
                    <a:pt x="656" y="121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32" y="218"/>
                  </a:lnTo>
                  <a:lnTo>
                    <a:pt x="515" y="204"/>
                  </a:lnTo>
                  <a:lnTo>
                    <a:pt x="496" y="190"/>
                  </a:lnTo>
                  <a:lnTo>
                    <a:pt x="476" y="178"/>
                  </a:lnTo>
                  <a:lnTo>
                    <a:pt x="454" y="170"/>
                  </a:lnTo>
                  <a:lnTo>
                    <a:pt x="442" y="166"/>
                  </a:lnTo>
                  <a:lnTo>
                    <a:pt x="430" y="162"/>
                  </a:lnTo>
                  <a:lnTo>
                    <a:pt x="417" y="160"/>
                  </a:lnTo>
                  <a:lnTo>
                    <a:pt x="404" y="157"/>
                  </a:lnTo>
                  <a:lnTo>
                    <a:pt x="391" y="156"/>
                  </a:lnTo>
                  <a:lnTo>
                    <a:pt x="377" y="156"/>
                  </a:lnTo>
                  <a:lnTo>
                    <a:pt x="377" y="156"/>
                  </a:lnTo>
                  <a:lnTo>
                    <a:pt x="354" y="157"/>
                  </a:lnTo>
                  <a:lnTo>
                    <a:pt x="332" y="161"/>
                  </a:lnTo>
                  <a:lnTo>
                    <a:pt x="311" y="166"/>
                  </a:lnTo>
                  <a:lnTo>
                    <a:pt x="292" y="173"/>
                  </a:lnTo>
                  <a:lnTo>
                    <a:pt x="272" y="182"/>
                  </a:lnTo>
                  <a:lnTo>
                    <a:pt x="255" y="193"/>
                  </a:lnTo>
                  <a:lnTo>
                    <a:pt x="240" y="205"/>
                  </a:lnTo>
                  <a:lnTo>
                    <a:pt x="225" y="220"/>
                  </a:lnTo>
                  <a:lnTo>
                    <a:pt x="212" y="234"/>
                  </a:lnTo>
                  <a:lnTo>
                    <a:pt x="199" y="251"/>
                  </a:lnTo>
                  <a:lnTo>
                    <a:pt x="190" y="270"/>
                  </a:lnTo>
                  <a:lnTo>
                    <a:pt x="181" y="289"/>
                  </a:lnTo>
                  <a:lnTo>
                    <a:pt x="174" y="310"/>
                  </a:lnTo>
                  <a:lnTo>
                    <a:pt x="169" y="332"/>
                  </a:lnTo>
                  <a:lnTo>
                    <a:pt x="166" y="354"/>
                  </a:lnTo>
                  <a:lnTo>
                    <a:pt x="165" y="377"/>
                  </a:lnTo>
                  <a:lnTo>
                    <a:pt x="165" y="377"/>
                  </a:lnTo>
                  <a:lnTo>
                    <a:pt x="166" y="401"/>
                  </a:lnTo>
                  <a:lnTo>
                    <a:pt x="169" y="423"/>
                  </a:lnTo>
                  <a:lnTo>
                    <a:pt x="174" y="445"/>
                  </a:lnTo>
                  <a:lnTo>
                    <a:pt x="181" y="466"/>
                  </a:lnTo>
                  <a:lnTo>
                    <a:pt x="190" y="485"/>
                  </a:lnTo>
                  <a:lnTo>
                    <a:pt x="199" y="502"/>
                  </a:lnTo>
                  <a:lnTo>
                    <a:pt x="212" y="520"/>
                  </a:lnTo>
                  <a:lnTo>
                    <a:pt x="225" y="535"/>
                  </a:lnTo>
                  <a:lnTo>
                    <a:pt x="240" y="549"/>
                  </a:lnTo>
                  <a:lnTo>
                    <a:pt x="255" y="562"/>
                  </a:lnTo>
                  <a:lnTo>
                    <a:pt x="272" y="572"/>
                  </a:lnTo>
                  <a:lnTo>
                    <a:pt x="292" y="582"/>
                  </a:lnTo>
                  <a:lnTo>
                    <a:pt x="311" y="589"/>
                  </a:lnTo>
                  <a:lnTo>
                    <a:pt x="332" y="594"/>
                  </a:lnTo>
                  <a:lnTo>
                    <a:pt x="354" y="598"/>
                  </a:lnTo>
                  <a:lnTo>
                    <a:pt x="377" y="598"/>
                  </a:lnTo>
                  <a:lnTo>
                    <a:pt x="377" y="598"/>
                  </a:lnTo>
                  <a:lnTo>
                    <a:pt x="391" y="598"/>
                  </a:lnTo>
                  <a:lnTo>
                    <a:pt x="404" y="596"/>
                  </a:lnTo>
                  <a:lnTo>
                    <a:pt x="417" y="595"/>
                  </a:lnTo>
                  <a:lnTo>
                    <a:pt x="430" y="593"/>
                  </a:lnTo>
                  <a:lnTo>
                    <a:pt x="442" y="589"/>
                  </a:lnTo>
                  <a:lnTo>
                    <a:pt x="454" y="585"/>
                  </a:lnTo>
                  <a:lnTo>
                    <a:pt x="476" y="576"/>
                  </a:lnTo>
                  <a:lnTo>
                    <a:pt x="496" y="565"/>
                  </a:lnTo>
                  <a:lnTo>
                    <a:pt x="515" y="551"/>
                  </a:lnTo>
                  <a:lnTo>
                    <a:pt x="532" y="537"/>
                  </a:lnTo>
                  <a:lnTo>
                    <a:pt x="546" y="521"/>
                  </a:lnTo>
                  <a:lnTo>
                    <a:pt x="656" y="633"/>
                  </a:lnTo>
                  <a:lnTo>
                    <a:pt x="656" y="633"/>
                  </a:lnTo>
                  <a:lnTo>
                    <a:pt x="643" y="646"/>
                  </a:lnTo>
                  <a:lnTo>
                    <a:pt x="629" y="660"/>
                  </a:lnTo>
                  <a:lnTo>
                    <a:pt x="615" y="672"/>
                  </a:lnTo>
                  <a:lnTo>
                    <a:pt x="600" y="683"/>
                  </a:lnTo>
                  <a:lnTo>
                    <a:pt x="585" y="694"/>
                  </a:lnTo>
                  <a:lnTo>
                    <a:pt x="568" y="704"/>
                  </a:lnTo>
                  <a:lnTo>
                    <a:pt x="552" y="713"/>
                  </a:lnTo>
                  <a:lnTo>
                    <a:pt x="535" y="721"/>
                  </a:lnTo>
                  <a:lnTo>
                    <a:pt x="517" y="729"/>
                  </a:lnTo>
                  <a:lnTo>
                    <a:pt x="499" y="735"/>
                  </a:lnTo>
                  <a:lnTo>
                    <a:pt x="479" y="741"/>
                  </a:lnTo>
                  <a:lnTo>
                    <a:pt x="460" y="746"/>
                  </a:lnTo>
                  <a:lnTo>
                    <a:pt x="440" y="750"/>
                  </a:lnTo>
                  <a:lnTo>
                    <a:pt x="420" y="752"/>
                  </a:lnTo>
                  <a:lnTo>
                    <a:pt x="399" y="754"/>
                  </a:lnTo>
                  <a:lnTo>
                    <a:pt x="377" y="755"/>
                  </a:lnTo>
                  <a:lnTo>
                    <a:pt x="377" y="755"/>
                  </a:lnTo>
                  <a:lnTo>
                    <a:pt x="356" y="754"/>
                  </a:lnTo>
                  <a:lnTo>
                    <a:pt x="337" y="752"/>
                  </a:lnTo>
                  <a:lnTo>
                    <a:pt x="317" y="750"/>
                  </a:lnTo>
                  <a:lnTo>
                    <a:pt x="299" y="748"/>
                  </a:lnTo>
                  <a:lnTo>
                    <a:pt x="280" y="743"/>
                  </a:lnTo>
                  <a:lnTo>
                    <a:pt x="261" y="738"/>
                  </a:lnTo>
                  <a:lnTo>
                    <a:pt x="244" y="732"/>
                  </a:lnTo>
                  <a:lnTo>
                    <a:pt x="227" y="726"/>
                  </a:lnTo>
                  <a:lnTo>
                    <a:pt x="210" y="718"/>
                  </a:lnTo>
                  <a:lnTo>
                    <a:pt x="193" y="710"/>
                  </a:lnTo>
                  <a:lnTo>
                    <a:pt x="177" y="701"/>
                  </a:lnTo>
                  <a:lnTo>
                    <a:pt x="163" y="691"/>
                  </a:lnTo>
                  <a:lnTo>
                    <a:pt x="148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4" y="620"/>
                  </a:lnTo>
                  <a:lnTo>
                    <a:pt x="73" y="605"/>
                  </a:lnTo>
                  <a:lnTo>
                    <a:pt x="62" y="590"/>
                  </a:lnTo>
                  <a:lnTo>
                    <a:pt x="53" y="576"/>
                  </a:lnTo>
                  <a:lnTo>
                    <a:pt x="43" y="560"/>
                  </a:lnTo>
                  <a:lnTo>
                    <a:pt x="36" y="543"/>
                  </a:lnTo>
                  <a:lnTo>
                    <a:pt x="29" y="527"/>
                  </a:lnTo>
                  <a:lnTo>
                    <a:pt x="22" y="509"/>
                  </a:lnTo>
                  <a:lnTo>
                    <a:pt x="17" y="492"/>
                  </a:lnTo>
                  <a:lnTo>
                    <a:pt x="12" y="473"/>
                  </a:lnTo>
                  <a:lnTo>
                    <a:pt x="7" y="455"/>
                  </a:lnTo>
                  <a:lnTo>
                    <a:pt x="5" y="435"/>
                  </a:lnTo>
                  <a:lnTo>
                    <a:pt x="2" y="417"/>
                  </a:lnTo>
                  <a:lnTo>
                    <a:pt x="1" y="398"/>
                  </a:lnTo>
                  <a:lnTo>
                    <a:pt x="0" y="37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8"/>
            <p:cNvSpPr>
              <a:spLocks/>
            </p:cNvSpPr>
            <p:nvPr userDrawn="1"/>
          </p:nvSpPr>
          <p:spPr bwMode="auto">
            <a:xfrm>
              <a:off x="1333" y="2055"/>
              <a:ext cx="219" cy="251"/>
            </a:xfrm>
            <a:custGeom>
              <a:avLst/>
              <a:gdLst>
                <a:gd name="T0" fmla="*/ 1 w 656"/>
                <a:gd name="T1" fmla="*/ 357 h 755"/>
                <a:gd name="T2" fmla="*/ 7 w 656"/>
                <a:gd name="T3" fmla="*/ 300 h 755"/>
                <a:gd name="T4" fmla="*/ 22 w 656"/>
                <a:gd name="T5" fmla="*/ 245 h 755"/>
                <a:gd name="T6" fmla="*/ 43 w 656"/>
                <a:gd name="T7" fmla="*/ 195 h 755"/>
                <a:gd name="T8" fmla="*/ 73 w 656"/>
                <a:gd name="T9" fmla="*/ 149 h 755"/>
                <a:gd name="T10" fmla="*/ 107 w 656"/>
                <a:gd name="T11" fmla="*/ 109 h 755"/>
                <a:gd name="T12" fmla="*/ 148 w 656"/>
                <a:gd name="T13" fmla="*/ 73 h 755"/>
                <a:gd name="T14" fmla="*/ 193 w 656"/>
                <a:gd name="T15" fmla="*/ 44 h 755"/>
                <a:gd name="T16" fmla="*/ 244 w 656"/>
                <a:gd name="T17" fmla="*/ 22 h 755"/>
                <a:gd name="T18" fmla="*/ 299 w 656"/>
                <a:gd name="T19" fmla="*/ 7 h 755"/>
                <a:gd name="T20" fmla="*/ 356 w 656"/>
                <a:gd name="T21" fmla="*/ 0 h 755"/>
                <a:gd name="T22" fmla="*/ 399 w 656"/>
                <a:gd name="T23" fmla="*/ 0 h 755"/>
                <a:gd name="T24" fmla="*/ 460 w 656"/>
                <a:gd name="T25" fmla="*/ 9 h 755"/>
                <a:gd name="T26" fmla="*/ 517 w 656"/>
                <a:gd name="T27" fmla="*/ 26 h 755"/>
                <a:gd name="T28" fmla="*/ 568 w 656"/>
                <a:gd name="T29" fmla="*/ 51 h 755"/>
                <a:gd name="T30" fmla="*/ 615 w 656"/>
                <a:gd name="T31" fmla="*/ 83 h 755"/>
                <a:gd name="T32" fmla="*/ 656 w 656"/>
                <a:gd name="T33" fmla="*/ 121 h 755"/>
                <a:gd name="T34" fmla="*/ 532 w 656"/>
                <a:gd name="T35" fmla="*/ 218 h 755"/>
                <a:gd name="T36" fmla="*/ 476 w 656"/>
                <a:gd name="T37" fmla="*/ 178 h 755"/>
                <a:gd name="T38" fmla="*/ 430 w 656"/>
                <a:gd name="T39" fmla="*/ 162 h 755"/>
                <a:gd name="T40" fmla="*/ 391 w 656"/>
                <a:gd name="T41" fmla="*/ 156 h 755"/>
                <a:gd name="T42" fmla="*/ 354 w 656"/>
                <a:gd name="T43" fmla="*/ 157 h 755"/>
                <a:gd name="T44" fmla="*/ 292 w 656"/>
                <a:gd name="T45" fmla="*/ 173 h 755"/>
                <a:gd name="T46" fmla="*/ 240 w 656"/>
                <a:gd name="T47" fmla="*/ 205 h 755"/>
                <a:gd name="T48" fmla="*/ 199 w 656"/>
                <a:gd name="T49" fmla="*/ 251 h 755"/>
                <a:gd name="T50" fmla="*/ 174 w 656"/>
                <a:gd name="T51" fmla="*/ 310 h 755"/>
                <a:gd name="T52" fmla="*/ 165 w 656"/>
                <a:gd name="T53" fmla="*/ 377 h 755"/>
                <a:gd name="T54" fmla="*/ 169 w 656"/>
                <a:gd name="T55" fmla="*/ 423 h 755"/>
                <a:gd name="T56" fmla="*/ 190 w 656"/>
                <a:gd name="T57" fmla="*/ 485 h 755"/>
                <a:gd name="T58" fmla="*/ 225 w 656"/>
                <a:gd name="T59" fmla="*/ 535 h 755"/>
                <a:gd name="T60" fmla="*/ 272 w 656"/>
                <a:gd name="T61" fmla="*/ 572 h 755"/>
                <a:gd name="T62" fmla="*/ 332 w 656"/>
                <a:gd name="T63" fmla="*/ 594 h 755"/>
                <a:gd name="T64" fmla="*/ 377 w 656"/>
                <a:gd name="T65" fmla="*/ 598 h 755"/>
                <a:gd name="T66" fmla="*/ 417 w 656"/>
                <a:gd name="T67" fmla="*/ 595 h 755"/>
                <a:gd name="T68" fmla="*/ 454 w 656"/>
                <a:gd name="T69" fmla="*/ 585 h 755"/>
                <a:gd name="T70" fmla="*/ 515 w 656"/>
                <a:gd name="T71" fmla="*/ 551 h 755"/>
                <a:gd name="T72" fmla="*/ 656 w 656"/>
                <a:gd name="T73" fmla="*/ 633 h 755"/>
                <a:gd name="T74" fmla="*/ 629 w 656"/>
                <a:gd name="T75" fmla="*/ 660 h 755"/>
                <a:gd name="T76" fmla="*/ 585 w 656"/>
                <a:gd name="T77" fmla="*/ 694 h 755"/>
                <a:gd name="T78" fmla="*/ 535 w 656"/>
                <a:gd name="T79" fmla="*/ 721 h 755"/>
                <a:gd name="T80" fmla="*/ 479 w 656"/>
                <a:gd name="T81" fmla="*/ 741 h 755"/>
                <a:gd name="T82" fmla="*/ 420 w 656"/>
                <a:gd name="T83" fmla="*/ 752 h 755"/>
                <a:gd name="T84" fmla="*/ 377 w 656"/>
                <a:gd name="T85" fmla="*/ 755 h 755"/>
                <a:gd name="T86" fmla="*/ 317 w 656"/>
                <a:gd name="T87" fmla="*/ 750 h 755"/>
                <a:gd name="T88" fmla="*/ 261 w 656"/>
                <a:gd name="T89" fmla="*/ 738 h 755"/>
                <a:gd name="T90" fmla="*/ 210 w 656"/>
                <a:gd name="T91" fmla="*/ 718 h 755"/>
                <a:gd name="T92" fmla="*/ 163 w 656"/>
                <a:gd name="T93" fmla="*/ 691 h 755"/>
                <a:gd name="T94" fmla="*/ 120 w 656"/>
                <a:gd name="T95" fmla="*/ 659 h 755"/>
                <a:gd name="T96" fmla="*/ 84 w 656"/>
                <a:gd name="T97" fmla="*/ 620 h 755"/>
                <a:gd name="T98" fmla="*/ 53 w 656"/>
                <a:gd name="T99" fmla="*/ 576 h 755"/>
                <a:gd name="T100" fmla="*/ 29 w 656"/>
                <a:gd name="T101" fmla="*/ 527 h 755"/>
                <a:gd name="T102" fmla="*/ 12 w 656"/>
                <a:gd name="T103" fmla="*/ 473 h 755"/>
                <a:gd name="T104" fmla="*/ 2 w 656"/>
                <a:gd name="T105" fmla="*/ 41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6" h="755">
                  <a:moveTo>
                    <a:pt x="0" y="377"/>
                  </a:moveTo>
                  <a:lnTo>
                    <a:pt x="0" y="377"/>
                  </a:lnTo>
                  <a:lnTo>
                    <a:pt x="1" y="357"/>
                  </a:lnTo>
                  <a:lnTo>
                    <a:pt x="2" y="338"/>
                  </a:lnTo>
                  <a:lnTo>
                    <a:pt x="5" y="318"/>
                  </a:lnTo>
                  <a:lnTo>
                    <a:pt x="7" y="300"/>
                  </a:lnTo>
                  <a:lnTo>
                    <a:pt x="12" y="282"/>
                  </a:lnTo>
                  <a:lnTo>
                    <a:pt x="17" y="264"/>
                  </a:lnTo>
                  <a:lnTo>
                    <a:pt x="22" y="245"/>
                  </a:lnTo>
                  <a:lnTo>
                    <a:pt x="29" y="228"/>
                  </a:lnTo>
                  <a:lnTo>
                    <a:pt x="36" y="211"/>
                  </a:lnTo>
                  <a:lnTo>
                    <a:pt x="43" y="195"/>
                  </a:lnTo>
                  <a:lnTo>
                    <a:pt x="53" y="179"/>
                  </a:lnTo>
                  <a:lnTo>
                    <a:pt x="62" y="164"/>
                  </a:lnTo>
                  <a:lnTo>
                    <a:pt x="73" y="149"/>
                  </a:lnTo>
                  <a:lnTo>
                    <a:pt x="84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20" y="96"/>
                  </a:lnTo>
                  <a:lnTo>
                    <a:pt x="134" y="84"/>
                  </a:lnTo>
                  <a:lnTo>
                    <a:pt x="148" y="73"/>
                  </a:lnTo>
                  <a:lnTo>
                    <a:pt x="163" y="64"/>
                  </a:lnTo>
                  <a:lnTo>
                    <a:pt x="177" y="54"/>
                  </a:lnTo>
                  <a:lnTo>
                    <a:pt x="193" y="44"/>
                  </a:lnTo>
                  <a:lnTo>
                    <a:pt x="210" y="37"/>
                  </a:lnTo>
                  <a:lnTo>
                    <a:pt x="227" y="29"/>
                  </a:lnTo>
                  <a:lnTo>
                    <a:pt x="244" y="22"/>
                  </a:lnTo>
                  <a:lnTo>
                    <a:pt x="261" y="16"/>
                  </a:lnTo>
                  <a:lnTo>
                    <a:pt x="280" y="11"/>
                  </a:lnTo>
                  <a:lnTo>
                    <a:pt x="299" y="7"/>
                  </a:lnTo>
                  <a:lnTo>
                    <a:pt x="317" y="4"/>
                  </a:lnTo>
                  <a:lnTo>
                    <a:pt x="337" y="1"/>
                  </a:lnTo>
                  <a:lnTo>
                    <a:pt x="356" y="0"/>
                  </a:lnTo>
                  <a:lnTo>
                    <a:pt x="377" y="0"/>
                  </a:lnTo>
                  <a:lnTo>
                    <a:pt x="377" y="0"/>
                  </a:lnTo>
                  <a:lnTo>
                    <a:pt x="399" y="0"/>
                  </a:lnTo>
                  <a:lnTo>
                    <a:pt x="420" y="3"/>
                  </a:lnTo>
                  <a:lnTo>
                    <a:pt x="440" y="5"/>
                  </a:lnTo>
                  <a:lnTo>
                    <a:pt x="460" y="9"/>
                  </a:lnTo>
                  <a:lnTo>
                    <a:pt x="479" y="14"/>
                  </a:lnTo>
                  <a:lnTo>
                    <a:pt x="499" y="20"/>
                  </a:lnTo>
                  <a:lnTo>
                    <a:pt x="517" y="26"/>
                  </a:lnTo>
                  <a:lnTo>
                    <a:pt x="535" y="33"/>
                  </a:lnTo>
                  <a:lnTo>
                    <a:pt x="552" y="42"/>
                  </a:lnTo>
                  <a:lnTo>
                    <a:pt x="568" y="51"/>
                  </a:lnTo>
                  <a:lnTo>
                    <a:pt x="585" y="61"/>
                  </a:lnTo>
                  <a:lnTo>
                    <a:pt x="600" y="72"/>
                  </a:lnTo>
                  <a:lnTo>
                    <a:pt x="615" y="83"/>
                  </a:lnTo>
                  <a:lnTo>
                    <a:pt x="629" y="95"/>
                  </a:lnTo>
                  <a:lnTo>
                    <a:pt x="643" y="107"/>
                  </a:lnTo>
                  <a:lnTo>
                    <a:pt x="656" y="121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32" y="218"/>
                  </a:lnTo>
                  <a:lnTo>
                    <a:pt x="515" y="204"/>
                  </a:lnTo>
                  <a:lnTo>
                    <a:pt x="496" y="190"/>
                  </a:lnTo>
                  <a:lnTo>
                    <a:pt x="476" y="178"/>
                  </a:lnTo>
                  <a:lnTo>
                    <a:pt x="454" y="170"/>
                  </a:lnTo>
                  <a:lnTo>
                    <a:pt x="442" y="166"/>
                  </a:lnTo>
                  <a:lnTo>
                    <a:pt x="430" y="162"/>
                  </a:lnTo>
                  <a:lnTo>
                    <a:pt x="417" y="160"/>
                  </a:lnTo>
                  <a:lnTo>
                    <a:pt x="404" y="157"/>
                  </a:lnTo>
                  <a:lnTo>
                    <a:pt x="391" y="156"/>
                  </a:lnTo>
                  <a:lnTo>
                    <a:pt x="377" y="156"/>
                  </a:lnTo>
                  <a:lnTo>
                    <a:pt x="377" y="156"/>
                  </a:lnTo>
                  <a:lnTo>
                    <a:pt x="354" y="157"/>
                  </a:lnTo>
                  <a:lnTo>
                    <a:pt x="332" y="161"/>
                  </a:lnTo>
                  <a:lnTo>
                    <a:pt x="311" y="166"/>
                  </a:lnTo>
                  <a:lnTo>
                    <a:pt x="292" y="173"/>
                  </a:lnTo>
                  <a:lnTo>
                    <a:pt x="272" y="182"/>
                  </a:lnTo>
                  <a:lnTo>
                    <a:pt x="255" y="193"/>
                  </a:lnTo>
                  <a:lnTo>
                    <a:pt x="240" y="205"/>
                  </a:lnTo>
                  <a:lnTo>
                    <a:pt x="225" y="220"/>
                  </a:lnTo>
                  <a:lnTo>
                    <a:pt x="212" y="234"/>
                  </a:lnTo>
                  <a:lnTo>
                    <a:pt x="199" y="251"/>
                  </a:lnTo>
                  <a:lnTo>
                    <a:pt x="190" y="270"/>
                  </a:lnTo>
                  <a:lnTo>
                    <a:pt x="181" y="289"/>
                  </a:lnTo>
                  <a:lnTo>
                    <a:pt x="174" y="310"/>
                  </a:lnTo>
                  <a:lnTo>
                    <a:pt x="169" y="332"/>
                  </a:lnTo>
                  <a:lnTo>
                    <a:pt x="166" y="354"/>
                  </a:lnTo>
                  <a:lnTo>
                    <a:pt x="165" y="377"/>
                  </a:lnTo>
                  <a:lnTo>
                    <a:pt x="165" y="377"/>
                  </a:lnTo>
                  <a:lnTo>
                    <a:pt x="166" y="401"/>
                  </a:lnTo>
                  <a:lnTo>
                    <a:pt x="169" y="423"/>
                  </a:lnTo>
                  <a:lnTo>
                    <a:pt x="174" y="445"/>
                  </a:lnTo>
                  <a:lnTo>
                    <a:pt x="181" y="466"/>
                  </a:lnTo>
                  <a:lnTo>
                    <a:pt x="190" y="485"/>
                  </a:lnTo>
                  <a:lnTo>
                    <a:pt x="199" y="502"/>
                  </a:lnTo>
                  <a:lnTo>
                    <a:pt x="212" y="520"/>
                  </a:lnTo>
                  <a:lnTo>
                    <a:pt x="225" y="535"/>
                  </a:lnTo>
                  <a:lnTo>
                    <a:pt x="240" y="549"/>
                  </a:lnTo>
                  <a:lnTo>
                    <a:pt x="255" y="562"/>
                  </a:lnTo>
                  <a:lnTo>
                    <a:pt x="272" y="572"/>
                  </a:lnTo>
                  <a:lnTo>
                    <a:pt x="292" y="582"/>
                  </a:lnTo>
                  <a:lnTo>
                    <a:pt x="311" y="589"/>
                  </a:lnTo>
                  <a:lnTo>
                    <a:pt x="332" y="594"/>
                  </a:lnTo>
                  <a:lnTo>
                    <a:pt x="354" y="598"/>
                  </a:lnTo>
                  <a:lnTo>
                    <a:pt x="377" y="598"/>
                  </a:lnTo>
                  <a:lnTo>
                    <a:pt x="377" y="598"/>
                  </a:lnTo>
                  <a:lnTo>
                    <a:pt x="391" y="598"/>
                  </a:lnTo>
                  <a:lnTo>
                    <a:pt x="404" y="596"/>
                  </a:lnTo>
                  <a:lnTo>
                    <a:pt x="417" y="595"/>
                  </a:lnTo>
                  <a:lnTo>
                    <a:pt x="430" y="593"/>
                  </a:lnTo>
                  <a:lnTo>
                    <a:pt x="442" y="589"/>
                  </a:lnTo>
                  <a:lnTo>
                    <a:pt x="454" y="585"/>
                  </a:lnTo>
                  <a:lnTo>
                    <a:pt x="476" y="576"/>
                  </a:lnTo>
                  <a:lnTo>
                    <a:pt x="496" y="565"/>
                  </a:lnTo>
                  <a:lnTo>
                    <a:pt x="515" y="551"/>
                  </a:lnTo>
                  <a:lnTo>
                    <a:pt x="532" y="537"/>
                  </a:lnTo>
                  <a:lnTo>
                    <a:pt x="546" y="521"/>
                  </a:lnTo>
                  <a:lnTo>
                    <a:pt x="656" y="633"/>
                  </a:lnTo>
                  <a:lnTo>
                    <a:pt x="656" y="633"/>
                  </a:lnTo>
                  <a:lnTo>
                    <a:pt x="643" y="646"/>
                  </a:lnTo>
                  <a:lnTo>
                    <a:pt x="629" y="660"/>
                  </a:lnTo>
                  <a:lnTo>
                    <a:pt x="615" y="672"/>
                  </a:lnTo>
                  <a:lnTo>
                    <a:pt x="600" y="683"/>
                  </a:lnTo>
                  <a:lnTo>
                    <a:pt x="585" y="694"/>
                  </a:lnTo>
                  <a:lnTo>
                    <a:pt x="568" y="704"/>
                  </a:lnTo>
                  <a:lnTo>
                    <a:pt x="552" y="713"/>
                  </a:lnTo>
                  <a:lnTo>
                    <a:pt x="535" y="721"/>
                  </a:lnTo>
                  <a:lnTo>
                    <a:pt x="517" y="729"/>
                  </a:lnTo>
                  <a:lnTo>
                    <a:pt x="499" y="735"/>
                  </a:lnTo>
                  <a:lnTo>
                    <a:pt x="479" y="741"/>
                  </a:lnTo>
                  <a:lnTo>
                    <a:pt x="460" y="746"/>
                  </a:lnTo>
                  <a:lnTo>
                    <a:pt x="440" y="750"/>
                  </a:lnTo>
                  <a:lnTo>
                    <a:pt x="420" y="752"/>
                  </a:lnTo>
                  <a:lnTo>
                    <a:pt x="399" y="754"/>
                  </a:lnTo>
                  <a:lnTo>
                    <a:pt x="377" y="755"/>
                  </a:lnTo>
                  <a:lnTo>
                    <a:pt x="377" y="755"/>
                  </a:lnTo>
                  <a:lnTo>
                    <a:pt x="356" y="754"/>
                  </a:lnTo>
                  <a:lnTo>
                    <a:pt x="337" y="752"/>
                  </a:lnTo>
                  <a:lnTo>
                    <a:pt x="317" y="750"/>
                  </a:lnTo>
                  <a:lnTo>
                    <a:pt x="299" y="748"/>
                  </a:lnTo>
                  <a:lnTo>
                    <a:pt x="280" y="743"/>
                  </a:lnTo>
                  <a:lnTo>
                    <a:pt x="261" y="738"/>
                  </a:lnTo>
                  <a:lnTo>
                    <a:pt x="244" y="732"/>
                  </a:lnTo>
                  <a:lnTo>
                    <a:pt x="227" y="726"/>
                  </a:lnTo>
                  <a:lnTo>
                    <a:pt x="210" y="718"/>
                  </a:lnTo>
                  <a:lnTo>
                    <a:pt x="193" y="710"/>
                  </a:lnTo>
                  <a:lnTo>
                    <a:pt x="177" y="701"/>
                  </a:lnTo>
                  <a:lnTo>
                    <a:pt x="163" y="691"/>
                  </a:lnTo>
                  <a:lnTo>
                    <a:pt x="148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4" y="620"/>
                  </a:lnTo>
                  <a:lnTo>
                    <a:pt x="73" y="605"/>
                  </a:lnTo>
                  <a:lnTo>
                    <a:pt x="62" y="590"/>
                  </a:lnTo>
                  <a:lnTo>
                    <a:pt x="53" y="576"/>
                  </a:lnTo>
                  <a:lnTo>
                    <a:pt x="43" y="560"/>
                  </a:lnTo>
                  <a:lnTo>
                    <a:pt x="36" y="543"/>
                  </a:lnTo>
                  <a:lnTo>
                    <a:pt x="29" y="527"/>
                  </a:lnTo>
                  <a:lnTo>
                    <a:pt x="22" y="509"/>
                  </a:lnTo>
                  <a:lnTo>
                    <a:pt x="17" y="492"/>
                  </a:lnTo>
                  <a:lnTo>
                    <a:pt x="12" y="473"/>
                  </a:lnTo>
                  <a:lnTo>
                    <a:pt x="7" y="455"/>
                  </a:lnTo>
                  <a:lnTo>
                    <a:pt x="5" y="435"/>
                  </a:lnTo>
                  <a:lnTo>
                    <a:pt x="2" y="417"/>
                  </a:lnTo>
                  <a:lnTo>
                    <a:pt x="1" y="398"/>
                  </a:lnTo>
                  <a:lnTo>
                    <a:pt x="0" y="3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9"/>
            <p:cNvSpPr>
              <a:spLocks/>
            </p:cNvSpPr>
            <p:nvPr userDrawn="1"/>
          </p:nvSpPr>
          <p:spPr bwMode="auto">
            <a:xfrm>
              <a:off x="1646" y="2174"/>
              <a:ext cx="187" cy="131"/>
            </a:xfrm>
            <a:custGeom>
              <a:avLst/>
              <a:gdLst>
                <a:gd name="T0" fmla="*/ 562 w 562"/>
                <a:gd name="T1" fmla="*/ 393 h 393"/>
                <a:gd name="T2" fmla="*/ 216 w 562"/>
                <a:gd name="T3" fmla="*/ 0 h 393"/>
                <a:gd name="T4" fmla="*/ 0 w 562"/>
                <a:gd name="T5" fmla="*/ 0 h 393"/>
                <a:gd name="T6" fmla="*/ 342 w 562"/>
                <a:gd name="T7" fmla="*/ 393 h 393"/>
                <a:gd name="T8" fmla="*/ 562 w 562"/>
                <a:gd name="T9" fmla="*/ 39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2" h="393">
                  <a:moveTo>
                    <a:pt x="562" y="393"/>
                  </a:moveTo>
                  <a:lnTo>
                    <a:pt x="216" y="0"/>
                  </a:lnTo>
                  <a:lnTo>
                    <a:pt x="0" y="0"/>
                  </a:lnTo>
                  <a:lnTo>
                    <a:pt x="342" y="393"/>
                  </a:lnTo>
                  <a:lnTo>
                    <a:pt x="562" y="393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10"/>
            <p:cNvSpPr>
              <a:spLocks/>
            </p:cNvSpPr>
            <p:nvPr userDrawn="1"/>
          </p:nvSpPr>
          <p:spPr bwMode="auto">
            <a:xfrm>
              <a:off x="1579" y="1971"/>
              <a:ext cx="53" cy="334"/>
            </a:xfrm>
            <a:custGeom>
              <a:avLst/>
              <a:gdLst>
                <a:gd name="T0" fmla="*/ 0 w 161"/>
                <a:gd name="T1" fmla="*/ 0 h 1003"/>
                <a:gd name="T2" fmla="*/ 0 w 161"/>
                <a:gd name="T3" fmla="*/ 1003 h 1003"/>
                <a:gd name="T4" fmla="*/ 161 w 161"/>
                <a:gd name="T5" fmla="*/ 1003 h 1003"/>
                <a:gd name="T6" fmla="*/ 161 w 161"/>
                <a:gd name="T7" fmla="*/ 638 h 1003"/>
                <a:gd name="T8" fmla="*/ 161 w 161"/>
                <a:gd name="T9" fmla="*/ 639 h 1003"/>
                <a:gd name="T10" fmla="*/ 161 w 161"/>
                <a:gd name="T11" fmla="*/ 601 h 1003"/>
                <a:gd name="T12" fmla="*/ 161 w 161"/>
                <a:gd name="T13" fmla="*/ 601 h 1003"/>
                <a:gd name="T14" fmla="*/ 161 w 161"/>
                <a:gd name="T15" fmla="*/ 0 h 1003"/>
                <a:gd name="T16" fmla="*/ 0 w 161"/>
                <a:gd name="T17" fmla="*/ 0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1" h="1003">
                  <a:moveTo>
                    <a:pt x="0" y="0"/>
                  </a:moveTo>
                  <a:lnTo>
                    <a:pt x="0" y="1003"/>
                  </a:lnTo>
                  <a:lnTo>
                    <a:pt x="161" y="1003"/>
                  </a:lnTo>
                  <a:lnTo>
                    <a:pt x="161" y="638"/>
                  </a:lnTo>
                  <a:lnTo>
                    <a:pt x="161" y="639"/>
                  </a:lnTo>
                  <a:lnTo>
                    <a:pt x="161" y="601"/>
                  </a:lnTo>
                  <a:lnTo>
                    <a:pt x="161" y="601"/>
                  </a:lnTo>
                  <a:lnTo>
                    <a:pt x="16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11"/>
            <p:cNvSpPr>
              <a:spLocks/>
            </p:cNvSpPr>
            <p:nvPr userDrawn="1"/>
          </p:nvSpPr>
          <p:spPr bwMode="auto">
            <a:xfrm>
              <a:off x="1908" y="2055"/>
              <a:ext cx="218" cy="251"/>
            </a:xfrm>
            <a:custGeom>
              <a:avLst/>
              <a:gdLst>
                <a:gd name="T0" fmla="*/ 0 w 655"/>
                <a:gd name="T1" fmla="*/ 357 h 755"/>
                <a:gd name="T2" fmla="*/ 7 w 655"/>
                <a:gd name="T3" fmla="*/ 300 h 755"/>
                <a:gd name="T4" fmla="*/ 22 w 655"/>
                <a:gd name="T5" fmla="*/ 245 h 755"/>
                <a:gd name="T6" fmla="*/ 44 w 655"/>
                <a:gd name="T7" fmla="*/ 195 h 755"/>
                <a:gd name="T8" fmla="*/ 72 w 655"/>
                <a:gd name="T9" fmla="*/ 149 h 755"/>
                <a:gd name="T10" fmla="*/ 107 w 655"/>
                <a:gd name="T11" fmla="*/ 109 h 755"/>
                <a:gd name="T12" fmla="*/ 147 w 655"/>
                <a:gd name="T13" fmla="*/ 73 h 755"/>
                <a:gd name="T14" fmla="*/ 193 w 655"/>
                <a:gd name="T15" fmla="*/ 44 h 755"/>
                <a:gd name="T16" fmla="*/ 243 w 655"/>
                <a:gd name="T17" fmla="*/ 22 h 755"/>
                <a:gd name="T18" fmla="*/ 298 w 655"/>
                <a:gd name="T19" fmla="*/ 7 h 755"/>
                <a:gd name="T20" fmla="*/ 357 w 655"/>
                <a:gd name="T21" fmla="*/ 0 h 755"/>
                <a:gd name="T22" fmla="*/ 398 w 655"/>
                <a:gd name="T23" fmla="*/ 0 h 755"/>
                <a:gd name="T24" fmla="*/ 460 w 655"/>
                <a:gd name="T25" fmla="*/ 9 h 755"/>
                <a:gd name="T26" fmla="*/ 516 w 655"/>
                <a:gd name="T27" fmla="*/ 26 h 755"/>
                <a:gd name="T28" fmla="*/ 568 w 655"/>
                <a:gd name="T29" fmla="*/ 51 h 755"/>
                <a:gd name="T30" fmla="*/ 615 w 655"/>
                <a:gd name="T31" fmla="*/ 83 h 755"/>
                <a:gd name="T32" fmla="*/ 655 w 655"/>
                <a:gd name="T33" fmla="*/ 121 h 755"/>
                <a:gd name="T34" fmla="*/ 531 w 655"/>
                <a:gd name="T35" fmla="*/ 218 h 755"/>
                <a:gd name="T36" fmla="*/ 476 w 655"/>
                <a:gd name="T37" fmla="*/ 178 h 755"/>
                <a:gd name="T38" fmla="*/ 430 w 655"/>
                <a:gd name="T39" fmla="*/ 162 h 755"/>
                <a:gd name="T40" fmla="*/ 391 w 655"/>
                <a:gd name="T41" fmla="*/ 156 h 755"/>
                <a:gd name="T42" fmla="*/ 354 w 655"/>
                <a:gd name="T43" fmla="*/ 157 h 755"/>
                <a:gd name="T44" fmla="*/ 291 w 655"/>
                <a:gd name="T45" fmla="*/ 173 h 755"/>
                <a:gd name="T46" fmla="*/ 238 w 655"/>
                <a:gd name="T47" fmla="*/ 205 h 755"/>
                <a:gd name="T48" fmla="*/ 198 w 655"/>
                <a:gd name="T49" fmla="*/ 251 h 755"/>
                <a:gd name="T50" fmla="*/ 174 w 655"/>
                <a:gd name="T51" fmla="*/ 310 h 755"/>
                <a:gd name="T52" fmla="*/ 164 w 655"/>
                <a:gd name="T53" fmla="*/ 377 h 755"/>
                <a:gd name="T54" fmla="*/ 169 w 655"/>
                <a:gd name="T55" fmla="*/ 423 h 755"/>
                <a:gd name="T56" fmla="*/ 188 w 655"/>
                <a:gd name="T57" fmla="*/ 485 h 755"/>
                <a:gd name="T58" fmla="*/ 224 w 655"/>
                <a:gd name="T59" fmla="*/ 535 h 755"/>
                <a:gd name="T60" fmla="*/ 273 w 655"/>
                <a:gd name="T61" fmla="*/ 572 h 755"/>
                <a:gd name="T62" fmla="*/ 332 w 655"/>
                <a:gd name="T63" fmla="*/ 594 h 755"/>
                <a:gd name="T64" fmla="*/ 376 w 655"/>
                <a:gd name="T65" fmla="*/ 598 h 755"/>
                <a:gd name="T66" fmla="*/ 417 w 655"/>
                <a:gd name="T67" fmla="*/ 595 h 755"/>
                <a:gd name="T68" fmla="*/ 453 w 655"/>
                <a:gd name="T69" fmla="*/ 585 h 755"/>
                <a:gd name="T70" fmla="*/ 514 w 655"/>
                <a:gd name="T71" fmla="*/ 551 h 755"/>
                <a:gd name="T72" fmla="*/ 655 w 655"/>
                <a:gd name="T73" fmla="*/ 633 h 755"/>
                <a:gd name="T74" fmla="*/ 629 w 655"/>
                <a:gd name="T75" fmla="*/ 660 h 755"/>
                <a:gd name="T76" fmla="*/ 584 w 655"/>
                <a:gd name="T77" fmla="*/ 694 h 755"/>
                <a:gd name="T78" fmla="*/ 534 w 655"/>
                <a:gd name="T79" fmla="*/ 721 h 755"/>
                <a:gd name="T80" fmla="*/ 480 w 655"/>
                <a:gd name="T81" fmla="*/ 741 h 755"/>
                <a:gd name="T82" fmla="*/ 419 w 655"/>
                <a:gd name="T83" fmla="*/ 752 h 755"/>
                <a:gd name="T84" fmla="*/ 376 w 655"/>
                <a:gd name="T85" fmla="*/ 755 h 755"/>
                <a:gd name="T86" fmla="*/ 318 w 655"/>
                <a:gd name="T87" fmla="*/ 750 h 755"/>
                <a:gd name="T88" fmla="*/ 262 w 655"/>
                <a:gd name="T89" fmla="*/ 738 h 755"/>
                <a:gd name="T90" fmla="*/ 209 w 655"/>
                <a:gd name="T91" fmla="*/ 718 h 755"/>
                <a:gd name="T92" fmla="*/ 162 w 655"/>
                <a:gd name="T93" fmla="*/ 691 h 755"/>
                <a:gd name="T94" fmla="*/ 120 w 655"/>
                <a:gd name="T95" fmla="*/ 659 h 755"/>
                <a:gd name="T96" fmla="*/ 83 w 655"/>
                <a:gd name="T97" fmla="*/ 620 h 755"/>
                <a:gd name="T98" fmla="*/ 52 w 655"/>
                <a:gd name="T99" fmla="*/ 576 h 755"/>
                <a:gd name="T100" fmla="*/ 28 w 655"/>
                <a:gd name="T101" fmla="*/ 527 h 755"/>
                <a:gd name="T102" fmla="*/ 11 w 655"/>
                <a:gd name="T103" fmla="*/ 473 h 755"/>
                <a:gd name="T104" fmla="*/ 1 w 655"/>
                <a:gd name="T105" fmla="*/ 41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5" h="755">
                  <a:moveTo>
                    <a:pt x="0" y="377"/>
                  </a:moveTo>
                  <a:lnTo>
                    <a:pt x="0" y="377"/>
                  </a:lnTo>
                  <a:lnTo>
                    <a:pt x="0" y="357"/>
                  </a:lnTo>
                  <a:lnTo>
                    <a:pt x="1" y="338"/>
                  </a:lnTo>
                  <a:lnTo>
                    <a:pt x="3" y="318"/>
                  </a:lnTo>
                  <a:lnTo>
                    <a:pt x="7" y="300"/>
                  </a:lnTo>
                  <a:lnTo>
                    <a:pt x="11" y="282"/>
                  </a:lnTo>
                  <a:lnTo>
                    <a:pt x="16" y="264"/>
                  </a:lnTo>
                  <a:lnTo>
                    <a:pt x="22" y="245"/>
                  </a:lnTo>
                  <a:lnTo>
                    <a:pt x="28" y="228"/>
                  </a:lnTo>
                  <a:lnTo>
                    <a:pt x="35" y="211"/>
                  </a:lnTo>
                  <a:lnTo>
                    <a:pt x="44" y="195"/>
                  </a:lnTo>
                  <a:lnTo>
                    <a:pt x="52" y="179"/>
                  </a:lnTo>
                  <a:lnTo>
                    <a:pt x="62" y="164"/>
                  </a:lnTo>
                  <a:lnTo>
                    <a:pt x="72" y="149"/>
                  </a:lnTo>
                  <a:lnTo>
                    <a:pt x="83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20" y="96"/>
                  </a:lnTo>
                  <a:lnTo>
                    <a:pt x="134" y="84"/>
                  </a:lnTo>
                  <a:lnTo>
                    <a:pt x="147" y="73"/>
                  </a:lnTo>
                  <a:lnTo>
                    <a:pt x="162" y="64"/>
                  </a:lnTo>
                  <a:lnTo>
                    <a:pt x="178" y="54"/>
                  </a:lnTo>
                  <a:lnTo>
                    <a:pt x="193" y="44"/>
                  </a:lnTo>
                  <a:lnTo>
                    <a:pt x="209" y="37"/>
                  </a:lnTo>
                  <a:lnTo>
                    <a:pt x="226" y="29"/>
                  </a:lnTo>
                  <a:lnTo>
                    <a:pt x="243" y="22"/>
                  </a:lnTo>
                  <a:lnTo>
                    <a:pt x="262" y="16"/>
                  </a:lnTo>
                  <a:lnTo>
                    <a:pt x="280" y="11"/>
                  </a:lnTo>
                  <a:lnTo>
                    <a:pt x="298" y="7"/>
                  </a:lnTo>
                  <a:lnTo>
                    <a:pt x="318" y="4"/>
                  </a:lnTo>
                  <a:lnTo>
                    <a:pt x="337" y="1"/>
                  </a:lnTo>
                  <a:lnTo>
                    <a:pt x="357" y="0"/>
                  </a:lnTo>
                  <a:lnTo>
                    <a:pt x="376" y="0"/>
                  </a:lnTo>
                  <a:lnTo>
                    <a:pt x="376" y="0"/>
                  </a:lnTo>
                  <a:lnTo>
                    <a:pt x="398" y="0"/>
                  </a:lnTo>
                  <a:lnTo>
                    <a:pt x="419" y="3"/>
                  </a:lnTo>
                  <a:lnTo>
                    <a:pt x="439" y="5"/>
                  </a:lnTo>
                  <a:lnTo>
                    <a:pt x="460" y="9"/>
                  </a:lnTo>
                  <a:lnTo>
                    <a:pt x="480" y="14"/>
                  </a:lnTo>
                  <a:lnTo>
                    <a:pt x="498" y="20"/>
                  </a:lnTo>
                  <a:lnTo>
                    <a:pt x="516" y="26"/>
                  </a:lnTo>
                  <a:lnTo>
                    <a:pt x="534" y="33"/>
                  </a:lnTo>
                  <a:lnTo>
                    <a:pt x="551" y="42"/>
                  </a:lnTo>
                  <a:lnTo>
                    <a:pt x="568" y="51"/>
                  </a:lnTo>
                  <a:lnTo>
                    <a:pt x="584" y="61"/>
                  </a:lnTo>
                  <a:lnTo>
                    <a:pt x="600" y="72"/>
                  </a:lnTo>
                  <a:lnTo>
                    <a:pt x="615" y="83"/>
                  </a:lnTo>
                  <a:lnTo>
                    <a:pt x="629" y="95"/>
                  </a:lnTo>
                  <a:lnTo>
                    <a:pt x="643" y="107"/>
                  </a:lnTo>
                  <a:lnTo>
                    <a:pt x="655" y="121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31" y="218"/>
                  </a:lnTo>
                  <a:lnTo>
                    <a:pt x="514" y="204"/>
                  </a:lnTo>
                  <a:lnTo>
                    <a:pt x="495" y="190"/>
                  </a:lnTo>
                  <a:lnTo>
                    <a:pt x="476" y="178"/>
                  </a:lnTo>
                  <a:lnTo>
                    <a:pt x="453" y="170"/>
                  </a:lnTo>
                  <a:lnTo>
                    <a:pt x="442" y="166"/>
                  </a:lnTo>
                  <a:lnTo>
                    <a:pt x="430" y="162"/>
                  </a:lnTo>
                  <a:lnTo>
                    <a:pt x="417" y="160"/>
                  </a:lnTo>
                  <a:lnTo>
                    <a:pt x="404" y="157"/>
                  </a:lnTo>
                  <a:lnTo>
                    <a:pt x="391" y="156"/>
                  </a:lnTo>
                  <a:lnTo>
                    <a:pt x="376" y="156"/>
                  </a:lnTo>
                  <a:lnTo>
                    <a:pt x="376" y="156"/>
                  </a:lnTo>
                  <a:lnTo>
                    <a:pt x="354" y="157"/>
                  </a:lnTo>
                  <a:lnTo>
                    <a:pt x="332" y="161"/>
                  </a:lnTo>
                  <a:lnTo>
                    <a:pt x="310" y="166"/>
                  </a:lnTo>
                  <a:lnTo>
                    <a:pt x="291" y="173"/>
                  </a:lnTo>
                  <a:lnTo>
                    <a:pt x="273" y="182"/>
                  </a:lnTo>
                  <a:lnTo>
                    <a:pt x="254" y="193"/>
                  </a:lnTo>
                  <a:lnTo>
                    <a:pt x="238" y="205"/>
                  </a:lnTo>
                  <a:lnTo>
                    <a:pt x="224" y="220"/>
                  </a:lnTo>
                  <a:lnTo>
                    <a:pt x="210" y="234"/>
                  </a:lnTo>
                  <a:lnTo>
                    <a:pt x="198" y="251"/>
                  </a:lnTo>
                  <a:lnTo>
                    <a:pt x="188" y="270"/>
                  </a:lnTo>
                  <a:lnTo>
                    <a:pt x="180" y="289"/>
                  </a:lnTo>
                  <a:lnTo>
                    <a:pt x="174" y="310"/>
                  </a:lnTo>
                  <a:lnTo>
                    <a:pt x="169" y="332"/>
                  </a:lnTo>
                  <a:lnTo>
                    <a:pt x="165" y="354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5" y="401"/>
                  </a:lnTo>
                  <a:lnTo>
                    <a:pt x="169" y="423"/>
                  </a:lnTo>
                  <a:lnTo>
                    <a:pt x="174" y="445"/>
                  </a:lnTo>
                  <a:lnTo>
                    <a:pt x="180" y="466"/>
                  </a:lnTo>
                  <a:lnTo>
                    <a:pt x="188" y="485"/>
                  </a:lnTo>
                  <a:lnTo>
                    <a:pt x="198" y="502"/>
                  </a:lnTo>
                  <a:lnTo>
                    <a:pt x="210" y="520"/>
                  </a:lnTo>
                  <a:lnTo>
                    <a:pt x="224" y="535"/>
                  </a:lnTo>
                  <a:lnTo>
                    <a:pt x="238" y="549"/>
                  </a:lnTo>
                  <a:lnTo>
                    <a:pt x="254" y="562"/>
                  </a:lnTo>
                  <a:lnTo>
                    <a:pt x="273" y="572"/>
                  </a:lnTo>
                  <a:lnTo>
                    <a:pt x="291" y="582"/>
                  </a:lnTo>
                  <a:lnTo>
                    <a:pt x="310" y="589"/>
                  </a:lnTo>
                  <a:lnTo>
                    <a:pt x="332" y="594"/>
                  </a:lnTo>
                  <a:lnTo>
                    <a:pt x="354" y="598"/>
                  </a:lnTo>
                  <a:lnTo>
                    <a:pt x="376" y="598"/>
                  </a:lnTo>
                  <a:lnTo>
                    <a:pt x="376" y="598"/>
                  </a:lnTo>
                  <a:lnTo>
                    <a:pt x="391" y="598"/>
                  </a:lnTo>
                  <a:lnTo>
                    <a:pt x="404" y="596"/>
                  </a:lnTo>
                  <a:lnTo>
                    <a:pt x="417" y="595"/>
                  </a:lnTo>
                  <a:lnTo>
                    <a:pt x="430" y="593"/>
                  </a:lnTo>
                  <a:lnTo>
                    <a:pt x="442" y="589"/>
                  </a:lnTo>
                  <a:lnTo>
                    <a:pt x="453" y="585"/>
                  </a:lnTo>
                  <a:lnTo>
                    <a:pt x="476" y="576"/>
                  </a:lnTo>
                  <a:lnTo>
                    <a:pt x="495" y="565"/>
                  </a:lnTo>
                  <a:lnTo>
                    <a:pt x="514" y="551"/>
                  </a:lnTo>
                  <a:lnTo>
                    <a:pt x="531" y="537"/>
                  </a:lnTo>
                  <a:lnTo>
                    <a:pt x="545" y="521"/>
                  </a:lnTo>
                  <a:lnTo>
                    <a:pt x="655" y="633"/>
                  </a:lnTo>
                  <a:lnTo>
                    <a:pt x="655" y="633"/>
                  </a:lnTo>
                  <a:lnTo>
                    <a:pt x="643" y="646"/>
                  </a:lnTo>
                  <a:lnTo>
                    <a:pt x="629" y="660"/>
                  </a:lnTo>
                  <a:lnTo>
                    <a:pt x="615" y="672"/>
                  </a:lnTo>
                  <a:lnTo>
                    <a:pt x="600" y="683"/>
                  </a:lnTo>
                  <a:lnTo>
                    <a:pt x="584" y="694"/>
                  </a:lnTo>
                  <a:lnTo>
                    <a:pt x="568" y="704"/>
                  </a:lnTo>
                  <a:lnTo>
                    <a:pt x="551" y="713"/>
                  </a:lnTo>
                  <a:lnTo>
                    <a:pt x="534" y="721"/>
                  </a:lnTo>
                  <a:lnTo>
                    <a:pt x="516" y="729"/>
                  </a:lnTo>
                  <a:lnTo>
                    <a:pt x="498" y="735"/>
                  </a:lnTo>
                  <a:lnTo>
                    <a:pt x="480" y="741"/>
                  </a:lnTo>
                  <a:lnTo>
                    <a:pt x="460" y="746"/>
                  </a:lnTo>
                  <a:lnTo>
                    <a:pt x="439" y="750"/>
                  </a:lnTo>
                  <a:lnTo>
                    <a:pt x="419" y="752"/>
                  </a:lnTo>
                  <a:lnTo>
                    <a:pt x="398" y="754"/>
                  </a:lnTo>
                  <a:lnTo>
                    <a:pt x="376" y="755"/>
                  </a:lnTo>
                  <a:lnTo>
                    <a:pt x="376" y="755"/>
                  </a:lnTo>
                  <a:lnTo>
                    <a:pt x="357" y="754"/>
                  </a:lnTo>
                  <a:lnTo>
                    <a:pt x="337" y="752"/>
                  </a:lnTo>
                  <a:lnTo>
                    <a:pt x="318" y="750"/>
                  </a:lnTo>
                  <a:lnTo>
                    <a:pt x="298" y="748"/>
                  </a:lnTo>
                  <a:lnTo>
                    <a:pt x="280" y="743"/>
                  </a:lnTo>
                  <a:lnTo>
                    <a:pt x="262" y="738"/>
                  </a:lnTo>
                  <a:lnTo>
                    <a:pt x="243" y="732"/>
                  </a:lnTo>
                  <a:lnTo>
                    <a:pt x="226" y="726"/>
                  </a:lnTo>
                  <a:lnTo>
                    <a:pt x="209" y="718"/>
                  </a:lnTo>
                  <a:lnTo>
                    <a:pt x="193" y="710"/>
                  </a:lnTo>
                  <a:lnTo>
                    <a:pt x="178" y="701"/>
                  </a:lnTo>
                  <a:lnTo>
                    <a:pt x="162" y="691"/>
                  </a:lnTo>
                  <a:lnTo>
                    <a:pt x="147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3" y="620"/>
                  </a:lnTo>
                  <a:lnTo>
                    <a:pt x="72" y="605"/>
                  </a:lnTo>
                  <a:lnTo>
                    <a:pt x="62" y="590"/>
                  </a:lnTo>
                  <a:lnTo>
                    <a:pt x="52" y="576"/>
                  </a:lnTo>
                  <a:lnTo>
                    <a:pt x="44" y="560"/>
                  </a:lnTo>
                  <a:lnTo>
                    <a:pt x="35" y="543"/>
                  </a:lnTo>
                  <a:lnTo>
                    <a:pt x="28" y="527"/>
                  </a:lnTo>
                  <a:lnTo>
                    <a:pt x="22" y="509"/>
                  </a:lnTo>
                  <a:lnTo>
                    <a:pt x="16" y="492"/>
                  </a:lnTo>
                  <a:lnTo>
                    <a:pt x="11" y="473"/>
                  </a:lnTo>
                  <a:lnTo>
                    <a:pt x="7" y="455"/>
                  </a:lnTo>
                  <a:lnTo>
                    <a:pt x="3" y="435"/>
                  </a:lnTo>
                  <a:lnTo>
                    <a:pt x="1" y="417"/>
                  </a:lnTo>
                  <a:lnTo>
                    <a:pt x="0" y="398"/>
                  </a:lnTo>
                  <a:lnTo>
                    <a:pt x="0" y="37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2"/>
            <p:cNvSpPr>
              <a:spLocks/>
            </p:cNvSpPr>
            <p:nvPr userDrawn="1"/>
          </p:nvSpPr>
          <p:spPr bwMode="auto">
            <a:xfrm>
              <a:off x="1908" y="2055"/>
              <a:ext cx="218" cy="251"/>
            </a:xfrm>
            <a:custGeom>
              <a:avLst/>
              <a:gdLst>
                <a:gd name="T0" fmla="*/ 0 w 655"/>
                <a:gd name="T1" fmla="*/ 357 h 755"/>
                <a:gd name="T2" fmla="*/ 7 w 655"/>
                <a:gd name="T3" fmla="*/ 300 h 755"/>
                <a:gd name="T4" fmla="*/ 22 w 655"/>
                <a:gd name="T5" fmla="*/ 245 h 755"/>
                <a:gd name="T6" fmla="*/ 44 w 655"/>
                <a:gd name="T7" fmla="*/ 195 h 755"/>
                <a:gd name="T8" fmla="*/ 72 w 655"/>
                <a:gd name="T9" fmla="*/ 149 h 755"/>
                <a:gd name="T10" fmla="*/ 107 w 655"/>
                <a:gd name="T11" fmla="*/ 109 h 755"/>
                <a:gd name="T12" fmla="*/ 147 w 655"/>
                <a:gd name="T13" fmla="*/ 73 h 755"/>
                <a:gd name="T14" fmla="*/ 193 w 655"/>
                <a:gd name="T15" fmla="*/ 44 h 755"/>
                <a:gd name="T16" fmla="*/ 243 w 655"/>
                <a:gd name="T17" fmla="*/ 22 h 755"/>
                <a:gd name="T18" fmla="*/ 298 w 655"/>
                <a:gd name="T19" fmla="*/ 7 h 755"/>
                <a:gd name="T20" fmla="*/ 357 w 655"/>
                <a:gd name="T21" fmla="*/ 0 h 755"/>
                <a:gd name="T22" fmla="*/ 398 w 655"/>
                <a:gd name="T23" fmla="*/ 0 h 755"/>
                <a:gd name="T24" fmla="*/ 460 w 655"/>
                <a:gd name="T25" fmla="*/ 9 h 755"/>
                <a:gd name="T26" fmla="*/ 516 w 655"/>
                <a:gd name="T27" fmla="*/ 26 h 755"/>
                <a:gd name="T28" fmla="*/ 568 w 655"/>
                <a:gd name="T29" fmla="*/ 51 h 755"/>
                <a:gd name="T30" fmla="*/ 615 w 655"/>
                <a:gd name="T31" fmla="*/ 83 h 755"/>
                <a:gd name="T32" fmla="*/ 655 w 655"/>
                <a:gd name="T33" fmla="*/ 121 h 755"/>
                <a:gd name="T34" fmla="*/ 531 w 655"/>
                <a:gd name="T35" fmla="*/ 218 h 755"/>
                <a:gd name="T36" fmla="*/ 476 w 655"/>
                <a:gd name="T37" fmla="*/ 178 h 755"/>
                <a:gd name="T38" fmla="*/ 430 w 655"/>
                <a:gd name="T39" fmla="*/ 162 h 755"/>
                <a:gd name="T40" fmla="*/ 391 w 655"/>
                <a:gd name="T41" fmla="*/ 156 h 755"/>
                <a:gd name="T42" fmla="*/ 354 w 655"/>
                <a:gd name="T43" fmla="*/ 157 h 755"/>
                <a:gd name="T44" fmla="*/ 291 w 655"/>
                <a:gd name="T45" fmla="*/ 173 h 755"/>
                <a:gd name="T46" fmla="*/ 238 w 655"/>
                <a:gd name="T47" fmla="*/ 205 h 755"/>
                <a:gd name="T48" fmla="*/ 198 w 655"/>
                <a:gd name="T49" fmla="*/ 251 h 755"/>
                <a:gd name="T50" fmla="*/ 174 w 655"/>
                <a:gd name="T51" fmla="*/ 310 h 755"/>
                <a:gd name="T52" fmla="*/ 164 w 655"/>
                <a:gd name="T53" fmla="*/ 377 h 755"/>
                <a:gd name="T54" fmla="*/ 169 w 655"/>
                <a:gd name="T55" fmla="*/ 423 h 755"/>
                <a:gd name="T56" fmla="*/ 188 w 655"/>
                <a:gd name="T57" fmla="*/ 485 h 755"/>
                <a:gd name="T58" fmla="*/ 224 w 655"/>
                <a:gd name="T59" fmla="*/ 535 h 755"/>
                <a:gd name="T60" fmla="*/ 273 w 655"/>
                <a:gd name="T61" fmla="*/ 572 h 755"/>
                <a:gd name="T62" fmla="*/ 332 w 655"/>
                <a:gd name="T63" fmla="*/ 594 h 755"/>
                <a:gd name="T64" fmla="*/ 376 w 655"/>
                <a:gd name="T65" fmla="*/ 598 h 755"/>
                <a:gd name="T66" fmla="*/ 417 w 655"/>
                <a:gd name="T67" fmla="*/ 595 h 755"/>
                <a:gd name="T68" fmla="*/ 453 w 655"/>
                <a:gd name="T69" fmla="*/ 585 h 755"/>
                <a:gd name="T70" fmla="*/ 514 w 655"/>
                <a:gd name="T71" fmla="*/ 551 h 755"/>
                <a:gd name="T72" fmla="*/ 655 w 655"/>
                <a:gd name="T73" fmla="*/ 633 h 755"/>
                <a:gd name="T74" fmla="*/ 629 w 655"/>
                <a:gd name="T75" fmla="*/ 660 h 755"/>
                <a:gd name="T76" fmla="*/ 584 w 655"/>
                <a:gd name="T77" fmla="*/ 694 h 755"/>
                <a:gd name="T78" fmla="*/ 534 w 655"/>
                <a:gd name="T79" fmla="*/ 721 h 755"/>
                <a:gd name="T80" fmla="*/ 480 w 655"/>
                <a:gd name="T81" fmla="*/ 741 h 755"/>
                <a:gd name="T82" fmla="*/ 419 w 655"/>
                <a:gd name="T83" fmla="*/ 752 h 755"/>
                <a:gd name="T84" fmla="*/ 376 w 655"/>
                <a:gd name="T85" fmla="*/ 755 h 755"/>
                <a:gd name="T86" fmla="*/ 318 w 655"/>
                <a:gd name="T87" fmla="*/ 750 h 755"/>
                <a:gd name="T88" fmla="*/ 262 w 655"/>
                <a:gd name="T89" fmla="*/ 738 h 755"/>
                <a:gd name="T90" fmla="*/ 209 w 655"/>
                <a:gd name="T91" fmla="*/ 718 h 755"/>
                <a:gd name="T92" fmla="*/ 162 w 655"/>
                <a:gd name="T93" fmla="*/ 691 h 755"/>
                <a:gd name="T94" fmla="*/ 120 w 655"/>
                <a:gd name="T95" fmla="*/ 659 h 755"/>
                <a:gd name="T96" fmla="*/ 83 w 655"/>
                <a:gd name="T97" fmla="*/ 620 h 755"/>
                <a:gd name="T98" fmla="*/ 52 w 655"/>
                <a:gd name="T99" fmla="*/ 576 h 755"/>
                <a:gd name="T100" fmla="*/ 28 w 655"/>
                <a:gd name="T101" fmla="*/ 527 h 755"/>
                <a:gd name="T102" fmla="*/ 11 w 655"/>
                <a:gd name="T103" fmla="*/ 473 h 755"/>
                <a:gd name="T104" fmla="*/ 1 w 655"/>
                <a:gd name="T105" fmla="*/ 41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5" h="755">
                  <a:moveTo>
                    <a:pt x="0" y="377"/>
                  </a:moveTo>
                  <a:lnTo>
                    <a:pt x="0" y="377"/>
                  </a:lnTo>
                  <a:lnTo>
                    <a:pt x="0" y="357"/>
                  </a:lnTo>
                  <a:lnTo>
                    <a:pt x="1" y="338"/>
                  </a:lnTo>
                  <a:lnTo>
                    <a:pt x="3" y="318"/>
                  </a:lnTo>
                  <a:lnTo>
                    <a:pt x="7" y="300"/>
                  </a:lnTo>
                  <a:lnTo>
                    <a:pt x="11" y="282"/>
                  </a:lnTo>
                  <a:lnTo>
                    <a:pt x="16" y="264"/>
                  </a:lnTo>
                  <a:lnTo>
                    <a:pt x="22" y="245"/>
                  </a:lnTo>
                  <a:lnTo>
                    <a:pt x="28" y="228"/>
                  </a:lnTo>
                  <a:lnTo>
                    <a:pt x="35" y="211"/>
                  </a:lnTo>
                  <a:lnTo>
                    <a:pt x="44" y="195"/>
                  </a:lnTo>
                  <a:lnTo>
                    <a:pt x="52" y="179"/>
                  </a:lnTo>
                  <a:lnTo>
                    <a:pt x="62" y="164"/>
                  </a:lnTo>
                  <a:lnTo>
                    <a:pt x="72" y="149"/>
                  </a:lnTo>
                  <a:lnTo>
                    <a:pt x="83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20" y="96"/>
                  </a:lnTo>
                  <a:lnTo>
                    <a:pt x="134" y="84"/>
                  </a:lnTo>
                  <a:lnTo>
                    <a:pt x="147" y="73"/>
                  </a:lnTo>
                  <a:lnTo>
                    <a:pt x="162" y="64"/>
                  </a:lnTo>
                  <a:lnTo>
                    <a:pt x="178" y="54"/>
                  </a:lnTo>
                  <a:lnTo>
                    <a:pt x="193" y="44"/>
                  </a:lnTo>
                  <a:lnTo>
                    <a:pt x="209" y="37"/>
                  </a:lnTo>
                  <a:lnTo>
                    <a:pt x="226" y="29"/>
                  </a:lnTo>
                  <a:lnTo>
                    <a:pt x="243" y="22"/>
                  </a:lnTo>
                  <a:lnTo>
                    <a:pt x="262" y="16"/>
                  </a:lnTo>
                  <a:lnTo>
                    <a:pt x="280" y="11"/>
                  </a:lnTo>
                  <a:lnTo>
                    <a:pt x="298" y="7"/>
                  </a:lnTo>
                  <a:lnTo>
                    <a:pt x="318" y="4"/>
                  </a:lnTo>
                  <a:lnTo>
                    <a:pt x="337" y="1"/>
                  </a:lnTo>
                  <a:lnTo>
                    <a:pt x="357" y="0"/>
                  </a:lnTo>
                  <a:lnTo>
                    <a:pt x="376" y="0"/>
                  </a:lnTo>
                  <a:lnTo>
                    <a:pt x="376" y="0"/>
                  </a:lnTo>
                  <a:lnTo>
                    <a:pt x="398" y="0"/>
                  </a:lnTo>
                  <a:lnTo>
                    <a:pt x="419" y="3"/>
                  </a:lnTo>
                  <a:lnTo>
                    <a:pt x="439" y="5"/>
                  </a:lnTo>
                  <a:lnTo>
                    <a:pt x="460" y="9"/>
                  </a:lnTo>
                  <a:lnTo>
                    <a:pt x="480" y="14"/>
                  </a:lnTo>
                  <a:lnTo>
                    <a:pt x="498" y="20"/>
                  </a:lnTo>
                  <a:lnTo>
                    <a:pt x="516" y="26"/>
                  </a:lnTo>
                  <a:lnTo>
                    <a:pt x="534" y="33"/>
                  </a:lnTo>
                  <a:lnTo>
                    <a:pt x="551" y="42"/>
                  </a:lnTo>
                  <a:lnTo>
                    <a:pt x="568" y="51"/>
                  </a:lnTo>
                  <a:lnTo>
                    <a:pt x="584" y="61"/>
                  </a:lnTo>
                  <a:lnTo>
                    <a:pt x="600" y="72"/>
                  </a:lnTo>
                  <a:lnTo>
                    <a:pt x="615" y="83"/>
                  </a:lnTo>
                  <a:lnTo>
                    <a:pt x="629" y="95"/>
                  </a:lnTo>
                  <a:lnTo>
                    <a:pt x="643" y="107"/>
                  </a:lnTo>
                  <a:lnTo>
                    <a:pt x="655" y="121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31" y="218"/>
                  </a:lnTo>
                  <a:lnTo>
                    <a:pt x="514" y="204"/>
                  </a:lnTo>
                  <a:lnTo>
                    <a:pt x="495" y="190"/>
                  </a:lnTo>
                  <a:lnTo>
                    <a:pt x="476" y="178"/>
                  </a:lnTo>
                  <a:lnTo>
                    <a:pt x="453" y="170"/>
                  </a:lnTo>
                  <a:lnTo>
                    <a:pt x="442" y="166"/>
                  </a:lnTo>
                  <a:lnTo>
                    <a:pt x="430" y="162"/>
                  </a:lnTo>
                  <a:lnTo>
                    <a:pt x="417" y="160"/>
                  </a:lnTo>
                  <a:lnTo>
                    <a:pt x="404" y="157"/>
                  </a:lnTo>
                  <a:lnTo>
                    <a:pt x="391" y="156"/>
                  </a:lnTo>
                  <a:lnTo>
                    <a:pt x="376" y="156"/>
                  </a:lnTo>
                  <a:lnTo>
                    <a:pt x="376" y="156"/>
                  </a:lnTo>
                  <a:lnTo>
                    <a:pt x="354" y="157"/>
                  </a:lnTo>
                  <a:lnTo>
                    <a:pt x="332" y="161"/>
                  </a:lnTo>
                  <a:lnTo>
                    <a:pt x="310" y="166"/>
                  </a:lnTo>
                  <a:lnTo>
                    <a:pt x="291" y="173"/>
                  </a:lnTo>
                  <a:lnTo>
                    <a:pt x="273" y="182"/>
                  </a:lnTo>
                  <a:lnTo>
                    <a:pt x="254" y="193"/>
                  </a:lnTo>
                  <a:lnTo>
                    <a:pt x="238" y="205"/>
                  </a:lnTo>
                  <a:lnTo>
                    <a:pt x="224" y="220"/>
                  </a:lnTo>
                  <a:lnTo>
                    <a:pt x="210" y="234"/>
                  </a:lnTo>
                  <a:lnTo>
                    <a:pt x="198" y="251"/>
                  </a:lnTo>
                  <a:lnTo>
                    <a:pt x="188" y="270"/>
                  </a:lnTo>
                  <a:lnTo>
                    <a:pt x="180" y="289"/>
                  </a:lnTo>
                  <a:lnTo>
                    <a:pt x="174" y="310"/>
                  </a:lnTo>
                  <a:lnTo>
                    <a:pt x="169" y="332"/>
                  </a:lnTo>
                  <a:lnTo>
                    <a:pt x="165" y="354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5" y="401"/>
                  </a:lnTo>
                  <a:lnTo>
                    <a:pt x="169" y="423"/>
                  </a:lnTo>
                  <a:lnTo>
                    <a:pt x="174" y="445"/>
                  </a:lnTo>
                  <a:lnTo>
                    <a:pt x="180" y="466"/>
                  </a:lnTo>
                  <a:lnTo>
                    <a:pt x="188" y="485"/>
                  </a:lnTo>
                  <a:lnTo>
                    <a:pt x="198" y="502"/>
                  </a:lnTo>
                  <a:lnTo>
                    <a:pt x="210" y="520"/>
                  </a:lnTo>
                  <a:lnTo>
                    <a:pt x="224" y="535"/>
                  </a:lnTo>
                  <a:lnTo>
                    <a:pt x="238" y="549"/>
                  </a:lnTo>
                  <a:lnTo>
                    <a:pt x="254" y="562"/>
                  </a:lnTo>
                  <a:lnTo>
                    <a:pt x="273" y="572"/>
                  </a:lnTo>
                  <a:lnTo>
                    <a:pt x="291" y="582"/>
                  </a:lnTo>
                  <a:lnTo>
                    <a:pt x="310" y="589"/>
                  </a:lnTo>
                  <a:lnTo>
                    <a:pt x="332" y="594"/>
                  </a:lnTo>
                  <a:lnTo>
                    <a:pt x="354" y="598"/>
                  </a:lnTo>
                  <a:lnTo>
                    <a:pt x="376" y="598"/>
                  </a:lnTo>
                  <a:lnTo>
                    <a:pt x="376" y="598"/>
                  </a:lnTo>
                  <a:lnTo>
                    <a:pt x="391" y="598"/>
                  </a:lnTo>
                  <a:lnTo>
                    <a:pt x="404" y="596"/>
                  </a:lnTo>
                  <a:lnTo>
                    <a:pt x="417" y="595"/>
                  </a:lnTo>
                  <a:lnTo>
                    <a:pt x="430" y="593"/>
                  </a:lnTo>
                  <a:lnTo>
                    <a:pt x="442" y="589"/>
                  </a:lnTo>
                  <a:lnTo>
                    <a:pt x="453" y="585"/>
                  </a:lnTo>
                  <a:lnTo>
                    <a:pt x="476" y="576"/>
                  </a:lnTo>
                  <a:lnTo>
                    <a:pt x="495" y="565"/>
                  </a:lnTo>
                  <a:lnTo>
                    <a:pt x="514" y="551"/>
                  </a:lnTo>
                  <a:lnTo>
                    <a:pt x="531" y="537"/>
                  </a:lnTo>
                  <a:lnTo>
                    <a:pt x="545" y="521"/>
                  </a:lnTo>
                  <a:lnTo>
                    <a:pt x="655" y="633"/>
                  </a:lnTo>
                  <a:lnTo>
                    <a:pt x="655" y="633"/>
                  </a:lnTo>
                  <a:lnTo>
                    <a:pt x="643" y="646"/>
                  </a:lnTo>
                  <a:lnTo>
                    <a:pt x="629" y="660"/>
                  </a:lnTo>
                  <a:lnTo>
                    <a:pt x="615" y="672"/>
                  </a:lnTo>
                  <a:lnTo>
                    <a:pt x="600" y="683"/>
                  </a:lnTo>
                  <a:lnTo>
                    <a:pt x="584" y="694"/>
                  </a:lnTo>
                  <a:lnTo>
                    <a:pt x="568" y="704"/>
                  </a:lnTo>
                  <a:lnTo>
                    <a:pt x="551" y="713"/>
                  </a:lnTo>
                  <a:lnTo>
                    <a:pt x="534" y="721"/>
                  </a:lnTo>
                  <a:lnTo>
                    <a:pt x="516" y="729"/>
                  </a:lnTo>
                  <a:lnTo>
                    <a:pt x="498" y="735"/>
                  </a:lnTo>
                  <a:lnTo>
                    <a:pt x="480" y="741"/>
                  </a:lnTo>
                  <a:lnTo>
                    <a:pt x="460" y="746"/>
                  </a:lnTo>
                  <a:lnTo>
                    <a:pt x="439" y="750"/>
                  </a:lnTo>
                  <a:lnTo>
                    <a:pt x="419" y="752"/>
                  </a:lnTo>
                  <a:lnTo>
                    <a:pt x="398" y="754"/>
                  </a:lnTo>
                  <a:lnTo>
                    <a:pt x="376" y="755"/>
                  </a:lnTo>
                  <a:lnTo>
                    <a:pt x="376" y="755"/>
                  </a:lnTo>
                  <a:lnTo>
                    <a:pt x="357" y="754"/>
                  </a:lnTo>
                  <a:lnTo>
                    <a:pt x="337" y="752"/>
                  </a:lnTo>
                  <a:lnTo>
                    <a:pt x="318" y="750"/>
                  </a:lnTo>
                  <a:lnTo>
                    <a:pt x="298" y="748"/>
                  </a:lnTo>
                  <a:lnTo>
                    <a:pt x="280" y="743"/>
                  </a:lnTo>
                  <a:lnTo>
                    <a:pt x="262" y="738"/>
                  </a:lnTo>
                  <a:lnTo>
                    <a:pt x="243" y="732"/>
                  </a:lnTo>
                  <a:lnTo>
                    <a:pt x="226" y="726"/>
                  </a:lnTo>
                  <a:lnTo>
                    <a:pt x="209" y="718"/>
                  </a:lnTo>
                  <a:lnTo>
                    <a:pt x="193" y="710"/>
                  </a:lnTo>
                  <a:lnTo>
                    <a:pt x="178" y="701"/>
                  </a:lnTo>
                  <a:lnTo>
                    <a:pt x="162" y="691"/>
                  </a:lnTo>
                  <a:lnTo>
                    <a:pt x="147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3" y="620"/>
                  </a:lnTo>
                  <a:lnTo>
                    <a:pt x="72" y="605"/>
                  </a:lnTo>
                  <a:lnTo>
                    <a:pt x="62" y="590"/>
                  </a:lnTo>
                  <a:lnTo>
                    <a:pt x="52" y="576"/>
                  </a:lnTo>
                  <a:lnTo>
                    <a:pt x="44" y="560"/>
                  </a:lnTo>
                  <a:lnTo>
                    <a:pt x="35" y="543"/>
                  </a:lnTo>
                  <a:lnTo>
                    <a:pt x="28" y="527"/>
                  </a:lnTo>
                  <a:lnTo>
                    <a:pt x="22" y="509"/>
                  </a:lnTo>
                  <a:lnTo>
                    <a:pt x="16" y="492"/>
                  </a:lnTo>
                  <a:lnTo>
                    <a:pt x="11" y="473"/>
                  </a:lnTo>
                  <a:lnTo>
                    <a:pt x="7" y="455"/>
                  </a:lnTo>
                  <a:lnTo>
                    <a:pt x="3" y="435"/>
                  </a:lnTo>
                  <a:lnTo>
                    <a:pt x="1" y="417"/>
                  </a:lnTo>
                  <a:lnTo>
                    <a:pt x="0" y="398"/>
                  </a:lnTo>
                  <a:lnTo>
                    <a:pt x="0" y="3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 noEditPoints="1"/>
            </p:cNvSpPr>
            <p:nvPr userDrawn="1"/>
          </p:nvSpPr>
          <p:spPr bwMode="auto">
            <a:xfrm>
              <a:off x="2130" y="2055"/>
              <a:ext cx="241" cy="251"/>
            </a:xfrm>
            <a:custGeom>
              <a:avLst/>
              <a:gdLst>
                <a:gd name="T0" fmla="*/ 545 w 723"/>
                <a:gd name="T1" fmla="*/ 296 h 755"/>
                <a:gd name="T2" fmla="*/ 531 w 723"/>
                <a:gd name="T3" fmla="*/ 246 h 755"/>
                <a:gd name="T4" fmla="*/ 505 w 723"/>
                <a:gd name="T5" fmla="*/ 206 h 755"/>
                <a:gd name="T6" fmla="*/ 471 w 723"/>
                <a:gd name="T7" fmla="*/ 176 h 755"/>
                <a:gd name="T8" fmla="*/ 428 w 723"/>
                <a:gd name="T9" fmla="*/ 157 h 755"/>
                <a:gd name="T10" fmla="*/ 380 w 723"/>
                <a:gd name="T11" fmla="*/ 148 h 755"/>
                <a:gd name="T12" fmla="*/ 346 w 723"/>
                <a:gd name="T13" fmla="*/ 149 h 755"/>
                <a:gd name="T14" fmla="*/ 299 w 723"/>
                <a:gd name="T15" fmla="*/ 157 h 755"/>
                <a:gd name="T16" fmla="*/ 257 w 723"/>
                <a:gd name="T17" fmla="*/ 178 h 755"/>
                <a:gd name="T18" fmla="*/ 220 w 723"/>
                <a:gd name="T19" fmla="*/ 209 h 755"/>
                <a:gd name="T20" fmla="*/ 191 w 723"/>
                <a:gd name="T21" fmla="*/ 249 h 755"/>
                <a:gd name="T22" fmla="*/ 170 w 723"/>
                <a:gd name="T23" fmla="*/ 296 h 755"/>
                <a:gd name="T24" fmla="*/ 0 w 723"/>
                <a:gd name="T25" fmla="*/ 357 h 755"/>
                <a:gd name="T26" fmla="*/ 7 w 723"/>
                <a:gd name="T27" fmla="*/ 300 h 755"/>
                <a:gd name="T28" fmla="*/ 22 w 723"/>
                <a:gd name="T29" fmla="*/ 245 h 755"/>
                <a:gd name="T30" fmla="*/ 44 w 723"/>
                <a:gd name="T31" fmla="*/ 195 h 755"/>
                <a:gd name="T32" fmla="*/ 72 w 723"/>
                <a:gd name="T33" fmla="*/ 149 h 755"/>
                <a:gd name="T34" fmla="*/ 107 w 723"/>
                <a:gd name="T35" fmla="*/ 109 h 755"/>
                <a:gd name="T36" fmla="*/ 147 w 723"/>
                <a:gd name="T37" fmla="*/ 73 h 755"/>
                <a:gd name="T38" fmla="*/ 192 w 723"/>
                <a:gd name="T39" fmla="*/ 44 h 755"/>
                <a:gd name="T40" fmla="*/ 242 w 723"/>
                <a:gd name="T41" fmla="*/ 22 h 755"/>
                <a:gd name="T42" fmla="*/ 296 w 723"/>
                <a:gd name="T43" fmla="*/ 7 h 755"/>
                <a:gd name="T44" fmla="*/ 354 w 723"/>
                <a:gd name="T45" fmla="*/ 0 h 755"/>
                <a:gd name="T46" fmla="*/ 392 w 723"/>
                <a:gd name="T47" fmla="*/ 0 h 755"/>
                <a:gd name="T48" fmla="*/ 447 w 723"/>
                <a:gd name="T49" fmla="*/ 6 h 755"/>
                <a:gd name="T50" fmla="*/ 497 w 723"/>
                <a:gd name="T51" fmla="*/ 20 h 755"/>
                <a:gd name="T52" fmla="*/ 543 w 723"/>
                <a:gd name="T53" fmla="*/ 40 h 755"/>
                <a:gd name="T54" fmla="*/ 584 w 723"/>
                <a:gd name="T55" fmla="*/ 67 h 755"/>
                <a:gd name="T56" fmla="*/ 621 w 723"/>
                <a:gd name="T57" fmla="*/ 101 h 755"/>
                <a:gd name="T58" fmla="*/ 653 w 723"/>
                <a:gd name="T59" fmla="*/ 140 h 755"/>
                <a:gd name="T60" fmla="*/ 678 w 723"/>
                <a:gd name="T61" fmla="*/ 185 h 755"/>
                <a:gd name="T62" fmla="*/ 699 w 723"/>
                <a:gd name="T63" fmla="*/ 237 h 755"/>
                <a:gd name="T64" fmla="*/ 713 w 723"/>
                <a:gd name="T65" fmla="*/ 294 h 755"/>
                <a:gd name="T66" fmla="*/ 722 w 723"/>
                <a:gd name="T67" fmla="*/ 356 h 755"/>
                <a:gd name="T68" fmla="*/ 167 w 723"/>
                <a:gd name="T69" fmla="*/ 421 h 755"/>
                <a:gd name="T70" fmla="*/ 175 w 723"/>
                <a:gd name="T71" fmla="*/ 459 h 755"/>
                <a:gd name="T72" fmla="*/ 200 w 723"/>
                <a:gd name="T73" fmla="*/ 507 h 755"/>
                <a:gd name="T74" fmla="*/ 236 w 723"/>
                <a:gd name="T75" fmla="*/ 548 h 755"/>
                <a:gd name="T76" fmla="*/ 282 w 723"/>
                <a:gd name="T77" fmla="*/ 576 h 755"/>
                <a:gd name="T78" fmla="*/ 337 w 723"/>
                <a:gd name="T79" fmla="*/ 592 h 755"/>
                <a:gd name="T80" fmla="*/ 376 w 723"/>
                <a:gd name="T81" fmla="*/ 595 h 755"/>
                <a:gd name="T82" fmla="*/ 424 w 723"/>
                <a:gd name="T83" fmla="*/ 592 h 755"/>
                <a:gd name="T84" fmla="*/ 465 w 723"/>
                <a:gd name="T85" fmla="*/ 581 h 755"/>
                <a:gd name="T86" fmla="*/ 513 w 723"/>
                <a:gd name="T87" fmla="*/ 557 h 755"/>
                <a:gd name="T88" fmla="*/ 566 w 723"/>
                <a:gd name="T89" fmla="*/ 512 h 755"/>
                <a:gd name="T90" fmla="*/ 662 w 723"/>
                <a:gd name="T91" fmla="*/ 640 h 755"/>
                <a:gd name="T92" fmla="*/ 620 w 723"/>
                <a:gd name="T93" fmla="*/ 678 h 755"/>
                <a:gd name="T94" fmla="*/ 569 w 723"/>
                <a:gd name="T95" fmla="*/ 710 h 755"/>
                <a:gd name="T96" fmla="*/ 511 w 723"/>
                <a:gd name="T97" fmla="*/ 734 h 755"/>
                <a:gd name="T98" fmla="*/ 447 w 723"/>
                <a:gd name="T99" fmla="*/ 749 h 755"/>
                <a:gd name="T100" fmla="*/ 376 w 723"/>
                <a:gd name="T101" fmla="*/ 755 h 755"/>
                <a:gd name="T102" fmla="*/ 337 w 723"/>
                <a:gd name="T103" fmla="*/ 752 h 755"/>
                <a:gd name="T104" fmla="*/ 280 w 723"/>
                <a:gd name="T105" fmla="*/ 743 h 755"/>
                <a:gd name="T106" fmla="*/ 226 w 723"/>
                <a:gd name="T107" fmla="*/ 726 h 755"/>
                <a:gd name="T108" fmla="*/ 178 w 723"/>
                <a:gd name="T109" fmla="*/ 701 h 755"/>
                <a:gd name="T110" fmla="*/ 134 w 723"/>
                <a:gd name="T111" fmla="*/ 670 h 755"/>
                <a:gd name="T112" fmla="*/ 95 w 723"/>
                <a:gd name="T113" fmla="*/ 633 h 755"/>
                <a:gd name="T114" fmla="*/ 62 w 723"/>
                <a:gd name="T115" fmla="*/ 590 h 755"/>
                <a:gd name="T116" fmla="*/ 35 w 723"/>
                <a:gd name="T117" fmla="*/ 543 h 755"/>
                <a:gd name="T118" fmla="*/ 16 w 723"/>
                <a:gd name="T119" fmla="*/ 492 h 755"/>
                <a:gd name="T120" fmla="*/ 4 w 723"/>
                <a:gd name="T121" fmla="*/ 435 h 755"/>
                <a:gd name="T122" fmla="*/ 0 w 723"/>
                <a:gd name="T123" fmla="*/ 37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23" h="755">
                  <a:moveTo>
                    <a:pt x="170" y="296"/>
                  </a:moveTo>
                  <a:lnTo>
                    <a:pt x="545" y="296"/>
                  </a:lnTo>
                  <a:lnTo>
                    <a:pt x="545" y="296"/>
                  </a:lnTo>
                  <a:lnTo>
                    <a:pt x="542" y="279"/>
                  </a:lnTo>
                  <a:lnTo>
                    <a:pt x="537" y="262"/>
                  </a:lnTo>
                  <a:lnTo>
                    <a:pt x="531" y="246"/>
                  </a:lnTo>
                  <a:lnTo>
                    <a:pt x="522" y="232"/>
                  </a:lnTo>
                  <a:lnTo>
                    <a:pt x="514" y="218"/>
                  </a:lnTo>
                  <a:lnTo>
                    <a:pt x="505" y="206"/>
                  </a:lnTo>
                  <a:lnTo>
                    <a:pt x="494" y="195"/>
                  </a:lnTo>
                  <a:lnTo>
                    <a:pt x="483" y="185"/>
                  </a:lnTo>
                  <a:lnTo>
                    <a:pt x="471" y="176"/>
                  </a:lnTo>
                  <a:lnTo>
                    <a:pt x="458" y="168"/>
                  </a:lnTo>
                  <a:lnTo>
                    <a:pt x="443" y="162"/>
                  </a:lnTo>
                  <a:lnTo>
                    <a:pt x="428" y="157"/>
                  </a:lnTo>
                  <a:lnTo>
                    <a:pt x="413" y="153"/>
                  </a:lnTo>
                  <a:lnTo>
                    <a:pt x="397" y="150"/>
                  </a:lnTo>
                  <a:lnTo>
                    <a:pt x="380" y="148"/>
                  </a:lnTo>
                  <a:lnTo>
                    <a:pt x="362" y="148"/>
                  </a:lnTo>
                  <a:lnTo>
                    <a:pt x="362" y="148"/>
                  </a:lnTo>
                  <a:lnTo>
                    <a:pt x="346" y="149"/>
                  </a:lnTo>
                  <a:lnTo>
                    <a:pt x="330" y="150"/>
                  </a:lnTo>
                  <a:lnTo>
                    <a:pt x="314" y="154"/>
                  </a:lnTo>
                  <a:lnTo>
                    <a:pt x="299" y="157"/>
                  </a:lnTo>
                  <a:lnTo>
                    <a:pt x="285" y="164"/>
                  </a:lnTo>
                  <a:lnTo>
                    <a:pt x="270" y="171"/>
                  </a:lnTo>
                  <a:lnTo>
                    <a:pt x="257" y="178"/>
                  </a:lnTo>
                  <a:lnTo>
                    <a:pt x="243" y="188"/>
                  </a:lnTo>
                  <a:lnTo>
                    <a:pt x="231" y="198"/>
                  </a:lnTo>
                  <a:lnTo>
                    <a:pt x="220" y="209"/>
                  </a:lnTo>
                  <a:lnTo>
                    <a:pt x="209" y="221"/>
                  </a:lnTo>
                  <a:lnTo>
                    <a:pt x="200" y="234"/>
                  </a:lnTo>
                  <a:lnTo>
                    <a:pt x="191" y="249"/>
                  </a:lnTo>
                  <a:lnTo>
                    <a:pt x="183" y="264"/>
                  </a:lnTo>
                  <a:lnTo>
                    <a:pt x="176" y="281"/>
                  </a:lnTo>
                  <a:lnTo>
                    <a:pt x="170" y="296"/>
                  </a:lnTo>
                  <a:close/>
                  <a:moveTo>
                    <a:pt x="0" y="377"/>
                  </a:moveTo>
                  <a:lnTo>
                    <a:pt x="0" y="377"/>
                  </a:lnTo>
                  <a:lnTo>
                    <a:pt x="0" y="357"/>
                  </a:lnTo>
                  <a:lnTo>
                    <a:pt x="1" y="338"/>
                  </a:lnTo>
                  <a:lnTo>
                    <a:pt x="4" y="318"/>
                  </a:lnTo>
                  <a:lnTo>
                    <a:pt x="7" y="300"/>
                  </a:lnTo>
                  <a:lnTo>
                    <a:pt x="11" y="282"/>
                  </a:lnTo>
                  <a:lnTo>
                    <a:pt x="16" y="264"/>
                  </a:lnTo>
                  <a:lnTo>
                    <a:pt x="22" y="245"/>
                  </a:lnTo>
                  <a:lnTo>
                    <a:pt x="28" y="228"/>
                  </a:lnTo>
                  <a:lnTo>
                    <a:pt x="35" y="211"/>
                  </a:lnTo>
                  <a:lnTo>
                    <a:pt x="44" y="195"/>
                  </a:lnTo>
                  <a:lnTo>
                    <a:pt x="52" y="179"/>
                  </a:lnTo>
                  <a:lnTo>
                    <a:pt x="62" y="164"/>
                  </a:lnTo>
                  <a:lnTo>
                    <a:pt x="72" y="149"/>
                  </a:lnTo>
                  <a:lnTo>
                    <a:pt x="83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19" y="96"/>
                  </a:lnTo>
                  <a:lnTo>
                    <a:pt x="133" y="84"/>
                  </a:lnTo>
                  <a:lnTo>
                    <a:pt x="147" y="73"/>
                  </a:lnTo>
                  <a:lnTo>
                    <a:pt x="162" y="64"/>
                  </a:lnTo>
                  <a:lnTo>
                    <a:pt x="176" y="54"/>
                  </a:lnTo>
                  <a:lnTo>
                    <a:pt x="192" y="44"/>
                  </a:lnTo>
                  <a:lnTo>
                    <a:pt x="208" y="37"/>
                  </a:lnTo>
                  <a:lnTo>
                    <a:pt x="225" y="29"/>
                  </a:lnTo>
                  <a:lnTo>
                    <a:pt x="242" y="22"/>
                  </a:lnTo>
                  <a:lnTo>
                    <a:pt x="260" y="16"/>
                  </a:lnTo>
                  <a:lnTo>
                    <a:pt x="277" y="11"/>
                  </a:lnTo>
                  <a:lnTo>
                    <a:pt x="296" y="7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4" y="0"/>
                  </a:lnTo>
                  <a:lnTo>
                    <a:pt x="374" y="0"/>
                  </a:lnTo>
                  <a:lnTo>
                    <a:pt x="374" y="0"/>
                  </a:lnTo>
                  <a:lnTo>
                    <a:pt x="392" y="0"/>
                  </a:lnTo>
                  <a:lnTo>
                    <a:pt x="411" y="1"/>
                  </a:lnTo>
                  <a:lnTo>
                    <a:pt x="428" y="4"/>
                  </a:lnTo>
                  <a:lnTo>
                    <a:pt x="447" y="6"/>
                  </a:lnTo>
                  <a:lnTo>
                    <a:pt x="464" y="10"/>
                  </a:lnTo>
                  <a:lnTo>
                    <a:pt x="481" y="15"/>
                  </a:lnTo>
                  <a:lnTo>
                    <a:pt x="497" y="20"/>
                  </a:lnTo>
                  <a:lnTo>
                    <a:pt x="513" y="26"/>
                  </a:lnTo>
                  <a:lnTo>
                    <a:pt x="527" y="33"/>
                  </a:lnTo>
                  <a:lnTo>
                    <a:pt x="543" y="40"/>
                  </a:lnTo>
                  <a:lnTo>
                    <a:pt x="556" y="49"/>
                  </a:lnTo>
                  <a:lnTo>
                    <a:pt x="571" y="57"/>
                  </a:lnTo>
                  <a:lnTo>
                    <a:pt x="584" y="67"/>
                  </a:lnTo>
                  <a:lnTo>
                    <a:pt x="597" y="78"/>
                  </a:lnTo>
                  <a:lnTo>
                    <a:pt x="609" y="89"/>
                  </a:lnTo>
                  <a:lnTo>
                    <a:pt x="621" y="101"/>
                  </a:lnTo>
                  <a:lnTo>
                    <a:pt x="632" y="114"/>
                  </a:lnTo>
                  <a:lnTo>
                    <a:pt x="642" y="127"/>
                  </a:lnTo>
                  <a:lnTo>
                    <a:pt x="653" y="140"/>
                  </a:lnTo>
                  <a:lnTo>
                    <a:pt x="661" y="155"/>
                  </a:lnTo>
                  <a:lnTo>
                    <a:pt x="670" y="171"/>
                  </a:lnTo>
                  <a:lnTo>
                    <a:pt x="678" y="185"/>
                  </a:lnTo>
                  <a:lnTo>
                    <a:pt x="685" y="203"/>
                  </a:lnTo>
                  <a:lnTo>
                    <a:pt x="693" y="220"/>
                  </a:lnTo>
                  <a:lnTo>
                    <a:pt x="699" y="237"/>
                  </a:lnTo>
                  <a:lnTo>
                    <a:pt x="704" y="255"/>
                  </a:lnTo>
                  <a:lnTo>
                    <a:pt x="709" y="274"/>
                  </a:lnTo>
                  <a:lnTo>
                    <a:pt x="713" y="294"/>
                  </a:lnTo>
                  <a:lnTo>
                    <a:pt x="717" y="314"/>
                  </a:lnTo>
                  <a:lnTo>
                    <a:pt x="720" y="334"/>
                  </a:lnTo>
                  <a:lnTo>
                    <a:pt x="722" y="356"/>
                  </a:lnTo>
                  <a:lnTo>
                    <a:pt x="723" y="377"/>
                  </a:lnTo>
                  <a:lnTo>
                    <a:pt x="723" y="421"/>
                  </a:lnTo>
                  <a:lnTo>
                    <a:pt x="167" y="421"/>
                  </a:lnTo>
                  <a:lnTo>
                    <a:pt x="167" y="421"/>
                  </a:lnTo>
                  <a:lnTo>
                    <a:pt x="170" y="440"/>
                  </a:lnTo>
                  <a:lnTo>
                    <a:pt x="175" y="459"/>
                  </a:lnTo>
                  <a:lnTo>
                    <a:pt x="183" y="476"/>
                  </a:lnTo>
                  <a:lnTo>
                    <a:pt x="191" y="493"/>
                  </a:lnTo>
                  <a:lnTo>
                    <a:pt x="200" y="507"/>
                  </a:lnTo>
                  <a:lnTo>
                    <a:pt x="211" y="522"/>
                  </a:lnTo>
                  <a:lnTo>
                    <a:pt x="223" y="535"/>
                  </a:lnTo>
                  <a:lnTo>
                    <a:pt x="236" y="548"/>
                  </a:lnTo>
                  <a:lnTo>
                    <a:pt x="251" y="557"/>
                  </a:lnTo>
                  <a:lnTo>
                    <a:pt x="267" y="567"/>
                  </a:lnTo>
                  <a:lnTo>
                    <a:pt x="282" y="576"/>
                  </a:lnTo>
                  <a:lnTo>
                    <a:pt x="299" y="583"/>
                  </a:lnTo>
                  <a:lnTo>
                    <a:pt x="318" y="588"/>
                  </a:lnTo>
                  <a:lnTo>
                    <a:pt x="337" y="592"/>
                  </a:lnTo>
                  <a:lnTo>
                    <a:pt x="357" y="594"/>
                  </a:lnTo>
                  <a:lnTo>
                    <a:pt x="376" y="595"/>
                  </a:lnTo>
                  <a:lnTo>
                    <a:pt x="376" y="595"/>
                  </a:lnTo>
                  <a:lnTo>
                    <a:pt x="393" y="595"/>
                  </a:lnTo>
                  <a:lnTo>
                    <a:pt x="408" y="594"/>
                  </a:lnTo>
                  <a:lnTo>
                    <a:pt x="424" y="592"/>
                  </a:lnTo>
                  <a:lnTo>
                    <a:pt x="438" y="588"/>
                  </a:lnTo>
                  <a:lnTo>
                    <a:pt x="452" y="584"/>
                  </a:lnTo>
                  <a:lnTo>
                    <a:pt x="465" y="581"/>
                  </a:lnTo>
                  <a:lnTo>
                    <a:pt x="478" y="574"/>
                  </a:lnTo>
                  <a:lnTo>
                    <a:pt x="491" y="570"/>
                  </a:lnTo>
                  <a:lnTo>
                    <a:pt x="513" y="557"/>
                  </a:lnTo>
                  <a:lnTo>
                    <a:pt x="533" y="543"/>
                  </a:lnTo>
                  <a:lnTo>
                    <a:pt x="551" y="528"/>
                  </a:lnTo>
                  <a:lnTo>
                    <a:pt x="566" y="512"/>
                  </a:lnTo>
                  <a:lnTo>
                    <a:pt x="674" y="627"/>
                  </a:lnTo>
                  <a:lnTo>
                    <a:pt x="674" y="627"/>
                  </a:lnTo>
                  <a:lnTo>
                    <a:pt x="662" y="640"/>
                  </a:lnTo>
                  <a:lnTo>
                    <a:pt x="649" y="654"/>
                  </a:lnTo>
                  <a:lnTo>
                    <a:pt x="634" y="666"/>
                  </a:lnTo>
                  <a:lnTo>
                    <a:pt x="620" y="678"/>
                  </a:lnTo>
                  <a:lnTo>
                    <a:pt x="604" y="689"/>
                  </a:lnTo>
                  <a:lnTo>
                    <a:pt x="587" y="700"/>
                  </a:lnTo>
                  <a:lnTo>
                    <a:pt x="569" y="710"/>
                  </a:lnTo>
                  <a:lnTo>
                    <a:pt x="550" y="718"/>
                  </a:lnTo>
                  <a:lnTo>
                    <a:pt x="531" y="727"/>
                  </a:lnTo>
                  <a:lnTo>
                    <a:pt x="511" y="734"/>
                  </a:lnTo>
                  <a:lnTo>
                    <a:pt x="489" y="740"/>
                  </a:lnTo>
                  <a:lnTo>
                    <a:pt x="469" y="745"/>
                  </a:lnTo>
                  <a:lnTo>
                    <a:pt x="447" y="749"/>
                  </a:lnTo>
                  <a:lnTo>
                    <a:pt x="424" y="752"/>
                  </a:lnTo>
                  <a:lnTo>
                    <a:pt x="400" y="754"/>
                  </a:lnTo>
                  <a:lnTo>
                    <a:pt x="376" y="755"/>
                  </a:lnTo>
                  <a:lnTo>
                    <a:pt x="376" y="755"/>
                  </a:lnTo>
                  <a:lnTo>
                    <a:pt x="357" y="754"/>
                  </a:lnTo>
                  <a:lnTo>
                    <a:pt x="337" y="752"/>
                  </a:lnTo>
                  <a:lnTo>
                    <a:pt x="318" y="750"/>
                  </a:lnTo>
                  <a:lnTo>
                    <a:pt x="298" y="748"/>
                  </a:lnTo>
                  <a:lnTo>
                    <a:pt x="280" y="743"/>
                  </a:lnTo>
                  <a:lnTo>
                    <a:pt x="262" y="738"/>
                  </a:lnTo>
                  <a:lnTo>
                    <a:pt x="243" y="732"/>
                  </a:lnTo>
                  <a:lnTo>
                    <a:pt x="226" y="726"/>
                  </a:lnTo>
                  <a:lnTo>
                    <a:pt x="209" y="718"/>
                  </a:lnTo>
                  <a:lnTo>
                    <a:pt x="193" y="710"/>
                  </a:lnTo>
                  <a:lnTo>
                    <a:pt x="178" y="701"/>
                  </a:lnTo>
                  <a:lnTo>
                    <a:pt x="162" y="691"/>
                  </a:lnTo>
                  <a:lnTo>
                    <a:pt x="147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3" y="620"/>
                  </a:lnTo>
                  <a:lnTo>
                    <a:pt x="72" y="605"/>
                  </a:lnTo>
                  <a:lnTo>
                    <a:pt x="62" y="590"/>
                  </a:lnTo>
                  <a:lnTo>
                    <a:pt x="52" y="576"/>
                  </a:lnTo>
                  <a:lnTo>
                    <a:pt x="44" y="560"/>
                  </a:lnTo>
                  <a:lnTo>
                    <a:pt x="35" y="543"/>
                  </a:lnTo>
                  <a:lnTo>
                    <a:pt x="28" y="527"/>
                  </a:lnTo>
                  <a:lnTo>
                    <a:pt x="22" y="509"/>
                  </a:lnTo>
                  <a:lnTo>
                    <a:pt x="16" y="492"/>
                  </a:lnTo>
                  <a:lnTo>
                    <a:pt x="11" y="473"/>
                  </a:lnTo>
                  <a:lnTo>
                    <a:pt x="7" y="455"/>
                  </a:lnTo>
                  <a:lnTo>
                    <a:pt x="4" y="435"/>
                  </a:lnTo>
                  <a:lnTo>
                    <a:pt x="1" y="417"/>
                  </a:lnTo>
                  <a:lnTo>
                    <a:pt x="0" y="398"/>
                  </a:lnTo>
                  <a:lnTo>
                    <a:pt x="0" y="377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2186" y="2104"/>
              <a:ext cx="125" cy="49"/>
            </a:xfrm>
            <a:custGeom>
              <a:avLst/>
              <a:gdLst>
                <a:gd name="T0" fmla="*/ 0 w 375"/>
                <a:gd name="T1" fmla="*/ 148 h 148"/>
                <a:gd name="T2" fmla="*/ 375 w 375"/>
                <a:gd name="T3" fmla="*/ 148 h 148"/>
                <a:gd name="T4" fmla="*/ 375 w 375"/>
                <a:gd name="T5" fmla="*/ 148 h 148"/>
                <a:gd name="T6" fmla="*/ 372 w 375"/>
                <a:gd name="T7" fmla="*/ 131 h 148"/>
                <a:gd name="T8" fmla="*/ 367 w 375"/>
                <a:gd name="T9" fmla="*/ 114 h 148"/>
                <a:gd name="T10" fmla="*/ 361 w 375"/>
                <a:gd name="T11" fmla="*/ 98 h 148"/>
                <a:gd name="T12" fmla="*/ 352 w 375"/>
                <a:gd name="T13" fmla="*/ 84 h 148"/>
                <a:gd name="T14" fmla="*/ 344 w 375"/>
                <a:gd name="T15" fmla="*/ 70 h 148"/>
                <a:gd name="T16" fmla="*/ 335 w 375"/>
                <a:gd name="T17" fmla="*/ 58 h 148"/>
                <a:gd name="T18" fmla="*/ 324 w 375"/>
                <a:gd name="T19" fmla="*/ 47 h 148"/>
                <a:gd name="T20" fmla="*/ 313 w 375"/>
                <a:gd name="T21" fmla="*/ 37 h 148"/>
                <a:gd name="T22" fmla="*/ 301 w 375"/>
                <a:gd name="T23" fmla="*/ 28 h 148"/>
                <a:gd name="T24" fmla="*/ 288 w 375"/>
                <a:gd name="T25" fmla="*/ 20 h 148"/>
                <a:gd name="T26" fmla="*/ 273 w 375"/>
                <a:gd name="T27" fmla="*/ 14 h 148"/>
                <a:gd name="T28" fmla="*/ 258 w 375"/>
                <a:gd name="T29" fmla="*/ 9 h 148"/>
                <a:gd name="T30" fmla="*/ 243 w 375"/>
                <a:gd name="T31" fmla="*/ 5 h 148"/>
                <a:gd name="T32" fmla="*/ 227 w 375"/>
                <a:gd name="T33" fmla="*/ 2 h 148"/>
                <a:gd name="T34" fmla="*/ 210 w 375"/>
                <a:gd name="T35" fmla="*/ 0 h 148"/>
                <a:gd name="T36" fmla="*/ 192 w 375"/>
                <a:gd name="T37" fmla="*/ 0 h 148"/>
                <a:gd name="T38" fmla="*/ 192 w 375"/>
                <a:gd name="T39" fmla="*/ 0 h 148"/>
                <a:gd name="T40" fmla="*/ 176 w 375"/>
                <a:gd name="T41" fmla="*/ 1 h 148"/>
                <a:gd name="T42" fmla="*/ 160 w 375"/>
                <a:gd name="T43" fmla="*/ 2 h 148"/>
                <a:gd name="T44" fmla="*/ 144 w 375"/>
                <a:gd name="T45" fmla="*/ 6 h 148"/>
                <a:gd name="T46" fmla="*/ 129 w 375"/>
                <a:gd name="T47" fmla="*/ 9 h 148"/>
                <a:gd name="T48" fmla="*/ 115 w 375"/>
                <a:gd name="T49" fmla="*/ 16 h 148"/>
                <a:gd name="T50" fmla="*/ 100 w 375"/>
                <a:gd name="T51" fmla="*/ 23 h 148"/>
                <a:gd name="T52" fmla="*/ 87 w 375"/>
                <a:gd name="T53" fmla="*/ 30 h 148"/>
                <a:gd name="T54" fmla="*/ 73 w 375"/>
                <a:gd name="T55" fmla="*/ 40 h 148"/>
                <a:gd name="T56" fmla="*/ 61 w 375"/>
                <a:gd name="T57" fmla="*/ 50 h 148"/>
                <a:gd name="T58" fmla="*/ 50 w 375"/>
                <a:gd name="T59" fmla="*/ 61 h 148"/>
                <a:gd name="T60" fmla="*/ 39 w 375"/>
                <a:gd name="T61" fmla="*/ 73 h 148"/>
                <a:gd name="T62" fmla="*/ 30 w 375"/>
                <a:gd name="T63" fmla="*/ 86 h 148"/>
                <a:gd name="T64" fmla="*/ 21 w 375"/>
                <a:gd name="T65" fmla="*/ 101 h 148"/>
                <a:gd name="T66" fmla="*/ 13 w 375"/>
                <a:gd name="T67" fmla="*/ 116 h 148"/>
                <a:gd name="T68" fmla="*/ 6 w 375"/>
                <a:gd name="T69" fmla="*/ 133 h 148"/>
                <a:gd name="T70" fmla="*/ 0 w 375"/>
                <a:gd name="T71" fmla="*/ 14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5" h="148">
                  <a:moveTo>
                    <a:pt x="0" y="148"/>
                  </a:moveTo>
                  <a:lnTo>
                    <a:pt x="375" y="148"/>
                  </a:lnTo>
                  <a:lnTo>
                    <a:pt x="375" y="148"/>
                  </a:lnTo>
                  <a:lnTo>
                    <a:pt x="372" y="131"/>
                  </a:lnTo>
                  <a:lnTo>
                    <a:pt x="367" y="114"/>
                  </a:lnTo>
                  <a:lnTo>
                    <a:pt x="361" y="98"/>
                  </a:lnTo>
                  <a:lnTo>
                    <a:pt x="352" y="84"/>
                  </a:lnTo>
                  <a:lnTo>
                    <a:pt x="344" y="70"/>
                  </a:lnTo>
                  <a:lnTo>
                    <a:pt x="335" y="58"/>
                  </a:lnTo>
                  <a:lnTo>
                    <a:pt x="324" y="47"/>
                  </a:lnTo>
                  <a:lnTo>
                    <a:pt x="313" y="37"/>
                  </a:lnTo>
                  <a:lnTo>
                    <a:pt x="301" y="28"/>
                  </a:lnTo>
                  <a:lnTo>
                    <a:pt x="288" y="20"/>
                  </a:lnTo>
                  <a:lnTo>
                    <a:pt x="273" y="14"/>
                  </a:lnTo>
                  <a:lnTo>
                    <a:pt x="258" y="9"/>
                  </a:lnTo>
                  <a:lnTo>
                    <a:pt x="243" y="5"/>
                  </a:lnTo>
                  <a:lnTo>
                    <a:pt x="227" y="2"/>
                  </a:lnTo>
                  <a:lnTo>
                    <a:pt x="210" y="0"/>
                  </a:lnTo>
                  <a:lnTo>
                    <a:pt x="192" y="0"/>
                  </a:lnTo>
                  <a:lnTo>
                    <a:pt x="192" y="0"/>
                  </a:lnTo>
                  <a:lnTo>
                    <a:pt x="176" y="1"/>
                  </a:lnTo>
                  <a:lnTo>
                    <a:pt x="160" y="2"/>
                  </a:lnTo>
                  <a:lnTo>
                    <a:pt x="144" y="6"/>
                  </a:lnTo>
                  <a:lnTo>
                    <a:pt x="129" y="9"/>
                  </a:lnTo>
                  <a:lnTo>
                    <a:pt x="115" y="16"/>
                  </a:lnTo>
                  <a:lnTo>
                    <a:pt x="100" y="23"/>
                  </a:lnTo>
                  <a:lnTo>
                    <a:pt x="87" y="30"/>
                  </a:lnTo>
                  <a:lnTo>
                    <a:pt x="73" y="40"/>
                  </a:lnTo>
                  <a:lnTo>
                    <a:pt x="61" y="50"/>
                  </a:lnTo>
                  <a:lnTo>
                    <a:pt x="50" y="61"/>
                  </a:lnTo>
                  <a:lnTo>
                    <a:pt x="39" y="73"/>
                  </a:lnTo>
                  <a:lnTo>
                    <a:pt x="30" y="86"/>
                  </a:lnTo>
                  <a:lnTo>
                    <a:pt x="21" y="101"/>
                  </a:lnTo>
                  <a:lnTo>
                    <a:pt x="13" y="116"/>
                  </a:lnTo>
                  <a:lnTo>
                    <a:pt x="6" y="133"/>
                  </a:lnTo>
                  <a:lnTo>
                    <a:pt x="0" y="1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5"/>
            <p:cNvSpPr>
              <a:spLocks/>
            </p:cNvSpPr>
            <p:nvPr userDrawn="1"/>
          </p:nvSpPr>
          <p:spPr bwMode="auto">
            <a:xfrm>
              <a:off x="2130" y="2055"/>
              <a:ext cx="241" cy="251"/>
            </a:xfrm>
            <a:custGeom>
              <a:avLst/>
              <a:gdLst>
                <a:gd name="T0" fmla="*/ 0 w 723"/>
                <a:gd name="T1" fmla="*/ 357 h 755"/>
                <a:gd name="T2" fmla="*/ 7 w 723"/>
                <a:gd name="T3" fmla="*/ 300 h 755"/>
                <a:gd name="T4" fmla="*/ 22 w 723"/>
                <a:gd name="T5" fmla="*/ 245 h 755"/>
                <a:gd name="T6" fmla="*/ 44 w 723"/>
                <a:gd name="T7" fmla="*/ 195 h 755"/>
                <a:gd name="T8" fmla="*/ 72 w 723"/>
                <a:gd name="T9" fmla="*/ 149 h 755"/>
                <a:gd name="T10" fmla="*/ 107 w 723"/>
                <a:gd name="T11" fmla="*/ 109 h 755"/>
                <a:gd name="T12" fmla="*/ 147 w 723"/>
                <a:gd name="T13" fmla="*/ 73 h 755"/>
                <a:gd name="T14" fmla="*/ 192 w 723"/>
                <a:gd name="T15" fmla="*/ 44 h 755"/>
                <a:gd name="T16" fmla="*/ 242 w 723"/>
                <a:gd name="T17" fmla="*/ 22 h 755"/>
                <a:gd name="T18" fmla="*/ 296 w 723"/>
                <a:gd name="T19" fmla="*/ 7 h 755"/>
                <a:gd name="T20" fmla="*/ 354 w 723"/>
                <a:gd name="T21" fmla="*/ 0 h 755"/>
                <a:gd name="T22" fmla="*/ 392 w 723"/>
                <a:gd name="T23" fmla="*/ 0 h 755"/>
                <a:gd name="T24" fmla="*/ 447 w 723"/>
                <a:gd name="T25" fmla="*/ 6 h 755"/>
                <a:gd name="T26" fmla="*/ 497 w 723"/>
                <a:gd name="T27" fmla="*/ 20 h 755"/>
                <a:gd name="T28" fmla="*/ 543 w 723"/>
                <a:gd name="T29" fmla="*/ 40 h 755"/>
                <a:gd name="T30" fmla="*/ 584 w 723"/>
                <a:gd name="T31" fmla="*/ 67 h 755"/>
                <a:gd name="T32" fmla="*/ 621 w 723"/>
                <a:gd name="T33" fmla="*/ 101 h 755"/>
                <a:gd name="T34" fmla="*/ 653 w 723"/>
                <a:gd name="T35" fmla="*/ 140 h 755"/>
                <a:gd name="T36" fmla="*/ 678 w 723"/>
                <a:gd name="T37" fmla="*/ 185 h 755"/>
                <a:gd name="T38" fmla="*/ 699 w 723"/>
                <a:gd name="T39" fmla="*/ 237 h 755"/>
                <a:gd name="T40" fmla="*/ 713 w 723"/>
                <a:gd name="T41" fmla="*/ 294 h 755"/>
                <a:gd name="T42" fmla="*/ 722 w 723"/>
                <a:gd name="T43" fmla="*/ 356 h 755"/>
                <a:gd name="T44" fmla="*/ 167 w 723"/>
                <a:gd name="T45" fmla="*/ 421 h 755"/>
                <a:gd name="T46" fmla="*/ 175 w 723"/>
                <a:gd name="T47" fmla="*/ 459 h 755"/>
                <a:gd name="T48" fmla="*/ 200 w 723"/>
                <a:gd name="T49" fmla="*/ 507 h 755"/>
                <a:gd name="T50" fmla="*/ 236 w 723"/>
                <a:gd name="T51" fmla="*/ 548 h 755"/>
                <a:gd name="T52" fmla="*/ 282 w 723"/>
                <a:gd name="T53" fmla="*/ 576 h 755"/>
                <a:gd name="T54" fmla="*/ 337 w 723"/>
                <a:gd name="T55" fmla="*/ 592 h 755"/>
                <a:gd name="T56" fmla="*/ 376 w 723"/>
                <a:gd name="T57" fmla="*/ 595 h 755"/>
                <a:gd name="T58" fmla="*/ 424 w 723"/>
                <a:gd name="T59" fmla="*/ 592 h 755"/>
                <a:gd name="T60" fmla="*/ 465 w 723"/>
                <a:gd name="T61" fmla="*/ 581 h 755"/>
                <a:gd name="T62" fmla="*/ 513 w 723"/>
                <a:gd name="T63" fmla="*/ 557 h 755"/>
                <a:gd name="T64" fmla="*/ 566 w 723"/>
                <a:gd name="T65" fmla="*/ 512 h 755"/>
                <a:gd name="T66" fmla="*/ 662 w 723"/>
                <a:gd name="T67" fmla="*/ 640 h 755"/>
                <a:gd name="T68" fmla="*/ 620 w 723"/>
                <a:gd name="T69" fmla="*/ 678 h 755"/>
                <a:gd name="T70" fmla="*/ 569 w 723"/>
                <a:gd name="T71" fmla="*/ 710 h 755"/>
                <a:gd name="T72" fmla="*/ 511 w 723"/>
                <a:gd name="T73" fmla="*/ 734 h 755"/>
                <a:gd name="T74" fmla="*/ 447 w 723"/>
                <a:gd name="T75" fmla="*/ 749 h 755"/>
                <a:gd name="T76" fmla="*/ 376 w 723"/>
                <a:gd name="T77" fmla="*/ 755 h 755"/>
                <a:gd name="T78" fmla="*/ 337 w 723"/>
                <a:gd name="T79" fmla="*/ 752 h 755"/>
                <a:gd name="T80" fmla="*/ 280 w 723"/>
                <a:gd name="T81" fmla="*/ 743 h 755"/>
                <a:gd name="T82" fmla="*/ 226 w 723"/>
                <a:gd name="T83" fmla="*/ 726 h 755"/>
                <a:gd name="T84" fmla="*/ 178 w 723"/>
                <a:gd name="T85" fmla="*/ 701 h 755"/>
                <a:gd name="T86" fmla="*/ 134 w 723"/>
                <a:gd name="T87" fmla="*/ 670 h 755"/>
                <a:gd name="T88" fmla="*/ 95 w 723"/>
                <a:gd name="T89" fmla="*/ 633 h 755"/>
                <a:gd name="T90" fmla="*/ 62 w 723"/>
                <a:gd name="T91" fmla="*/ 590 h 755"/>
                <a:gd name="T92" fmla="*/ 35 w 723"/>
                <a:gd name="T93" fmla="*/ 543 h 755"/>
                <a:gd name="T94" fmla="*/ 16 w 723"/>
                <a:gd name="T95" fmla="*/ 492 h 755"/>
                <a:gd name="T96" fmla="*/ 4 w 723"/>
                <a:gd name="T97" fmla="*/ 435 h 755"/>
                <a:gd name="T98" fmla="*/ 0 w 723"/>
                <a:gd name="T99" fmla="*/ 377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23" h="755">
                  <a:moveTo>
                    <a:pt x="0" y="377"/>
                  </a:moveTo>
                  <a:lnTo>
                    <a:pt x="0" y="377"/>
                  </a:lnTo>
                  <a:lnTo>
                    <a:pt x="0" y="357"/>
                  </a:lnTo>
                  <a:lnTo>
                    <a:pt x="1" y="338"/>
                  </a:lnTo>
                  <a:lnTo>
                    <a:pt x="4" y="318"/>
                  </a:lnTo>
                  <a:lnTo>
                    <a:pt x="7" y="300"/>
                  </a:lnTo>
                  <a:lnTo>
                    <a:pt x="11" y="282"/>
                  </a:lnTo>
                  <a:lnTo>
                    <a:pt x="16" y="264"/>
                  </a:lnTo>
                  <a:lnTo>
                    <a:pt x="22" y="245"/>
                  </a:lnTo>
                  <a:lnTo>
                    <a:pt x="28" y="228"/>
                  </a:lnTo>
                  <a:lnTo>
                    <a:pt x="35" y="211"/>
                  </a:lnTo>
                  <a:lnTo>
                    <a:pt x="44" y="195"/>
                  </a:lnTo>
                  <a:lnTo>
                    <a:pt x="52" y="179"/>
                  </a:lnTo>
                  <a:lnTo>
                    <a:pt x="62" y="164"/>
                  </a:lnTo>
                  <a:lnTo>
                    <a:pt x="72" y="149"/>
                  </a:lnTo>
                  <a:lnTo>
                    <a:pt x="83" y="136"/>
                  </a:lnTo>
                  <a:lnTo>
                    <a:pt x="95" y="122"/>
                  </a:lnTo>
                  <a:lnTo>
                    <a:pt x="107" y="109"/>
                  </a:lnTo>
                  <a:lnTo>
                    <a:pt x="119" y="96"/>
                  </a:lnTo>
                  <a:lnTo>
                    <a:pt x="133" y="84"/>
                  </a:lnTo>
                  <a:lnTo>
                    <a:pt x="147" y="73"/>
                  </a:lnTo>
                  <a:lnTo>
                    <a:pt x="162" y="64"/>
                  </a:lnTo>
                  <a:lnTo>
                    <a:pt x="176" y="54"/>
                  </a:lnTo>
                  <a:lnTo>
                    <a:pt x="192" y="44"/>
                  </a:lnTo>
                  <a:lnTo>
                    <a:pt x="208" y="37"/>
                  </a:lnTo>
                  <a:lnTo>
                    <a:pt x="225" y="29"/>
                  </a:lnTo>
                  <a:lnTo>
                    <a:pt x="242" y="22"/>
                  </a:lnTo>
                  <a:lnTo>
                    <a:pt x="260" y="16"/>
                  </a:lnTo>
                  <a:lnTo>
                    <a:pt x="277" y="11"/>
                  </a:lnTo>
                  <a:lnTo>
                    <a:pt x="296" y="7"/>
                  </a:lnTo>
                  <a:lnTo>
                    <a:pt x="315" y="4"/>
                  </a:lnTo>
                  <a:lnTo>
                    <a:pt x="335" y="1"/>
                  </a:lnTo>
                  <a:lnTo>
                    <a:pt x="354" y="0"/>
                  </a:lnTo>
                  <a:lnTo>
                    <a:pt x="374" y="0"/>
                  </a:lnTo>
                  <a:lnTo>
                    <a:pt x="374" y="0"/>
                  </a:lnTo>
                  <a:lnTo>
                    <a:pt x="392" y="0"/>
                  </a:lnTo>
                  <a:lnTo>
                    <a:pt x="411" y="1"/>
                  </a:lnTo>
                  <a:lnTo>
                    <a:pt x="428" y="4"/>
                  </a:lnTo>
                  <a:lnTo>
                    <a:pt x="447" y="6"/>
                  </a:lnTo>
                  <a:lnTo>
                    <a:pt x="464" y="10"/>
                  </a:lnTo>
                  <a:lnTo>
                    <a:pt x="481" y="15"/>
                  </a:lnTo>
                  <a:lnTo>
                    <a:pt x="497" y="20"/>
                  </a:lnTo>
                  <a:lnTo>
                    <a:pt x="513" y="26"/>
                  </a:lnTo>
                  <a:lnTo>
                    <a:pt x="527" y="33"/>
                  </a:lnTo>
                  <a:lnTo>
                    <a:pt x="543" y="40"/>
                  </a:lnTo>
                  <a:lnTo>
                    <a:pt x="556" y="49"/>
                  </a:lnTo>
                  <a:lnTo>
                    <a:pt x="571" y="57"/>
                  </a:lnTo>
                  <a:lnTo>
                    <a:pt x="584" y="67"/>
                  </a:lnTo>
                  <a:lnTo>
                    <a:pt x="597" y="78"/>
                  </a:lnTo>
                  <a:lnTo>
                    <a:pt x="609" y="89"/>
                  </a:lnTo>
                  <a:lnTo>
                    <a:pt x="621" y="101"/>
                  </a:lnTo>
                  <a:lnTo>
                    <a:pt x="632" y="114"/>
                  </a:lnTo>
                  <a:lnTo>
                    <a:pt x="642" y="127"/>
                  </a:lnTo>
                  <a:lnTo>
                    <a:pt x="653" y="140"/>
                  </a:lnTo>
                  <a:lnTo>
                    <a:pt x="661" y="155"/>
                  </a:lnTo>
                  <a:lnTo>
                    <a:pt x="670" y="171"/>
                  </a:lnTo>
                  <a:lnTo>
                    <a:pt x="678" y="185"/>
                  </a:lnTo>
                  <a:lnTo>
                    <a:pt x="685" y="203"/>
                  </a:lnTo>
                  <a:lnTo>
                    <a:pt x="693" y="220"/>
                  </a:lnTo>
                  <a:lnTo>
                    <a:pt x="699" y="237"/>
                  </a:lnTo>
                  <a:lnTo>
                    <a:pt x="704" y="255"/>
                  </a:lnTo>
                  <a:lnTo>
                    <a:pt x="709" y="274"/>
                  </a:lnTo>
                  <a:lnTo>
                    <a:pt x="713" y="294"/>
                  </a:lnTo>
                  <a:lnTo>
                    <a:pt x="717" y="314"/>
                  </a:lnTo>
                  <a:lnTo>
                    <a:pt x="720" y="334"/>
                  </a:lnTo>
                  <a:lnTo>
                    <a:pt x="722" y="356"/>
                  </a:lnTo>
                  <a:lnTo>
                    <a:pt x="723" y="377"/>
                  </a:lnTo>
                  <a:lnTo>
                    <a:pt x="723" y="421"/>
                  </a:lnTo>
                  <a:lnTo>
                    <a:pt x="167" y="421"/>
                  </a:lnTo>
                  <a:lnTo>
                    <a:pt x="167" y="421"/>
                  </a:lnTo>
                  <a:lnTo>
                    <a:pt x="170" y="440"/>
                  </a:lnTo>
                  <a:lnTo>
                    <a:pt x="175" y="459"/>
                  </a:lnTo>
                  <a:lnTo>
                    <a:pt x="183" y="476"/>
                  </a:lnTo>
                  <a:lnTo>
                    <a:pt x="191" y="493"/>
                  </a:lnTo>
                  <a:lnTo>
                    <a:pt x="200" y="507"/>
                  </a:lnTo>
                  <a:lnTo>
                    <a:pt x="211" y="522"/>
                  </a:lnTo>
                  <a:lnTo>
                    <a:pt x="223" y="535"/>
                  </a:lnTo>
                  <a:lnTo>
                    <a:pt x="236" y="548"/>
                  </a:lnTo>
                  <a:lnTo>
                    <a:pt x="251" y="557"/>
                  </a:lnTo>
                  <a:lnTo>
                    <a:pt x="267" y="567"/>
                  </a:lnTo>
                  <a:lnTo>
                    <a:pt x="282" y="576"/>
                  </a:lnTo>
                  <a:lnTo>
                    <a:pt x="299" y="583"/>
                  </a:lnTo>
                  <a:lnTo>
                    <a:pt x="318" y="588"/>
                  </a:lnTo>
                  <a:lnTo>
                    <a:pt x="337" y="592"/>
                  </a:lnTo>
                  <a:lnTo>
                    <a:pt x="357" y="594"/>
                  </a:lnTo>
                  <a:lnTo>
                    <a:pt x="376" y="595"/>
                  </a:lnTo>
                  <a:lnTo>
                    <a:pt x="376" y="595"/>
                  </a:lnTo>
                  <a:lnTo>
                    <a:pt x="393" y="595"/>
                  </a:lnTo>
                  <a:lnTo>
                    <a:pt x="408" y="594"/>
                  </a:lnTo>
                  <a:lnTo>
                    <a:pt x="424" y="592"/>
                  </a:lnTo>
                  <a:lnTo>
                    <a:pt x="438" y="588"/>
                  </a:lnTo>
                  <a:lnTo>
                    <a:pt x="452" y="584"/>
                  </a:lnTo>
                  <a:lnTo>
                    <a:pt x="465" y="581"/>
                  </a:lnTo>
                  <a:lnTo>
                    <a:pt x="478" y="574"/>
                  </a:lnTo>
                  <a:lnTo>
                    <a:pt x="491" y="570"/>
                  </a:lnTo>
                  <a:lnTo>
                    <a:pt x="513" y="557"/>
                  </a:lnTo>
                  <a:lnTo>
                    <a:pt x="533" y="543"/>
                  </a:lnTo>
                  <a:lnTo>
                    <a:pt x="551" y="528"/>
                  </a:lnTo>
                  <a:lnTo>
                    <a:pt x="566" y="512"/>
                  </a:lnTo>
                  <a:lnTo>
                    <a:pt x="674" y="627"/>
                  </a:lnTo>
                  <a:lnTo>
                    <a:pt x="674" y="627"/>
                  </a:lnTo>
                  <a:lnTo>
                    <a:pt x="662" y="640"/>
                  </a:lnTo>
                  <a:lnTo>
                    <a:pt x="649" y="654"/>
                  </a:lnTo>
                  <a:lnTo>
                    <a:pt x="634" y="666"/>
                  </a:lnTo>
                  <a:lnTo>
                    <a:pt x="620" y="678"/>
                  </a:lnTo>
                  <a:lnTo>
                    <a:pt x="604" y="689"/>
                  </a:lnTo>
                  <a:lnTo>
                    <a:pt x="587" y="700"/>
                  </a:lnTo>
                  <a:lnTo>
                    <a:pt x="569" y="710"/>
                  </a:lnTo>
                  <a:lnTo>
                    <a:pt x="550" y="718"/>
                  </a:lnTo>
                  <a:lnTo>
                    <a:pt x="531" y="727"/>
                  </a:lnTo>
                  <a:lnTo>
                    <a:pt x="511" y="734"/>
                  </a:lnTo>
                  <a:lnTo>
                    <a:pt x="489" y="740"/>
                  </a:lnTo>
                  <a:lnTo>
                    <a:pt x="469" y="745"/>
                  </a:lnTo>
                  <a:lnTo>
                    <a:pt x="447" y="749"/>
                  </a:lnTo>
                  <a:lnTo>
                    <a:pt x="424" y="752"/>
                  </a:lnTo>
                  <a:lnTo>
                    <a:pt x="400" y="754"/>
                  </a:lnTo>
                  <a:lnTo>
                    <a:pt x="376" y="755"/>
                  </a:lnTo>
                  <a:lnTo>
                    <a:pt x="376" y="755"/>
                  </a:lnTo>
                  <a:lnTo>
                    <a:pt x="357" y="754"/>
                  </a:lnTo>
                  <a:lnTo>
                    <a:pt x="337" y="752"/>
                  </a:lnTo>
                  <a:lnTo>
                    <a:pt x="318" y="750"/>
                  </a:lnTo>
                  <a:lnTo>
                    <a:pt x="298" y="748"/>
                  </a:lnTo>
                  <a:lnTo>
                    <a:pt x="280" y="743"/>
                  </a:lnTo>
                  <a:lnTo>
                    <a:pt x="262" y="738"/>
                  </a:lnTo>
                  <a:lnTo>
                    <a:pt x="243" y="732"/>
                  </a:lnTo>
                  <a:lnTo>
                    <a:pt x="226" y="726"/>
                  </a:lnTo>
                  <a:lnTo>
                    <a:pt x="209" y="718"/>
                  </a:lnTo>
                  <a:lnTo>
                    <a:pt x="193" y="710"/>
                  </a:lnTo>
                  <a:lnTo>
                    <a:pt x="178" y="701"/>
                  </a:lnTo>
                  <a:lnTo>
                    <a:pt x="162" y="691"/>
                  </a:lnTo>
                  <a:lnTo>
                    <a:pt x="147" y="682"/>
                  </a:lnTo>
                  <a:lnTo>
                    <a:pt x="134" y="670"/>
                  </a:lnTo>
                  <a:lnTo>
                    <a:pt x="120" y="659"/>
                  </a:lnTo>
                  <a:lnTo>
                    <a:pt x="107" y="646"/>
                  </a:lnTo>
                  <a:lnTo>
                    <a:pt x="95" y="633"/>
                  </a:lnTo>
                  <a:lnTo>
                    <a:pt x="83" y="620"/>
                  </a:lnTo>
                  <a:lnTo>
                    <a:pt x="72" y="605"/>
                  </a:lnTo>
                  <a:lnTo>
                    <a:pt x="62" y="590"/>
                  </a:lnTo>
                  <a:lnTo>
                    <a:pt x="52" y="576"/>
                  </a:lnTo>
                  <a:lnTo>
                    <a:pt x="44" y="560"/>
                  </a:lnTo>
                  <a:lnTo>
                    <a:pt x="35" y="543"/>
                  </a:lnTo>
                  <a:lnTo>
                    <a:pt x="28" y="527"/>
                  </a:lnTo>
                  <a:lnTo>
                    <a:pt x="22" y="509"/>
                  </a:lnTo>
                  <a:lnTo>
                    <a:pt x="16" y="492"/>
                  </a:lnTo>
                  <a:lnTo>
                    <a:pt x="11" y="473"/>
                  </a:lnTo>
                  <a:lnTo>
                    <a:pt x="7" y="455"/>
                  </a:lnTo>
                  <a:lnTo>
                    <a:pt x="4" y="435"/>
                  </a:lnTo>
                  <a:lnTo>
                    <a:pt x="1" y="417"/>
                  </a:lnTo>
                  <a:lnTo>
                    <a:pt x="0" y="398"/>
                  </a:lnTo>
                  <a:lnTo>
                    <a:pt x="0" y="3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6"/>
            <p:cNvSpPr>
              <a:spLocks/>
            </p:cNvSpPr>
            <p:nvPr userDrawn="1"/>
          </p:nvSpPr>
          <p:spPr bwMode="auto">
            <a:xfrm>
              <a:off x="2400" y="2055"/>
              <a:ext cx="209" cy="250"/>
            </a:xfrm>
            <a:custGeom>
              <a:avLst/>
              <a:gdLst>
                <a:gd name="T0" fmla="*/ 458 w 628"/>
                <a:gd name="T1" fmla="*/ 752 h 752"/>
                <a:gd name="T2" fmla="*/ 458 w 628"/>
                <a:gd name="T3" fmla="*/ 315 h 752"/>
                <a:gd name="T4" fmla="*/ 454 w 628"/>
                <a:gd name="T5" fmla="*/ 285 h 752"/>
                <a:gd name="T6" fmla="*/ 445 w 628"/>
                <a:gd name="T7" fmla="*/ 259 h 752"/>
                <a:gd name="T8" fmla="*/ 432 w 628"/>
                <a:gd name="T9" fmla="*/ 234 h 752"/>
                <a:gd name="T10" fmla="*/ 415 w 628"/>
                <a:gd name="T11" fmla="*/ 212 h 752"/>
                <a:gd name="T12" fmla="*/ 394 w 628"/>
                <a:gd name="T13" fmla="*/ 195 h 752"/>
                <a:gd name="T14" fmla="*/ 370 w 628"/>
                <a:gd name="T15" fmla="*/ 182 h 752"/>
                <a:gd name="T16" fmla="*/ 342 w 628"/>
                <a:gd name="T17" fmla="*/ 173 h 752"/>
                <a:gd name="T18" fmla="*/ 314 w 628"/>
                <a:gd name="T19" fmla="*/ 171 h 752"/>
                <a:gd name="T20" fmla="*/ 299 w 628"/>
                <a:gd name="T21" fmla="*/ 171 h 752"/>
                <a:gd name="T22" fmla="*/ 271 w 628"/>
                <a:gd name="T23" fmla="*/ 177 h 752"/>
                <a:gd name="T24" fmla="*/ 244 w 628"/>
                <a:gd name="T25" fmla="*/ 188 h 752"/>
                <a:gd name="T26" fmla="*/ 222 w 628"/>
                <a:gd name="T27" fmla="*/ 204 h 752"/>
                <a:gd name="T28" fmla="*/ 203 w 628"/>
                <a:gd name="T29" fmla="*/ 223 h 752"/>
                <a:gd name="T30" fmla="*/ 187 w 628"/>
                <a:gd name="T31" fmla="*/ 245 h 752"/>
                <a:gd name="T32" fmla="*/ 176 w 628"/>
                <a:gd name="T33" fmla="*/ 272 h 752"/>
                <a:gd name="T34" fmla="*/ 170 w 628"/>
                <a:gd name="T35" fmla="*/ 300 h 752"/>
                <a:gd name="T36" fmla="*/ 170 w 628"/>
                <a:gd name="T37" fmla="*/ 752 h 752"/>
                <a:gd name="T38" fmla="*/ 0 w 628"/>
                <a:gd name="T39" fmla="*/ 315 h 752"/>
                <a:gd name="T40" fmla="*/ 0 w 628"/>
                <a:gd name="T41" fmla="*/ 298 h 752"/>
                <a:gd name="T42" fmla="*/ 3 w 628"/>
                <a:gd name="T43" fmla="*/ 266 h 752"/>
                <a:gd name="T44" fmla="*/ 9 w 628"/>
                <a:gd name="T45" fmla="*/ 235 h 752"/>
                <a:gd name="T46" fmla="*/ 18 w 628"/>
                <a:gd name="T47" fmla="*/ 206 h 752"/>
                <a:gd name="T48" fmla="*/ 30 w 628"/>
                <a:gd name="T49" fmla="*/ 178 h 752"/>
                <a:gd name="T50" fmla="*/ 45 w 628"/>
                <a:gd name="T51" fmla="*/ 151 h 752"/>
                <a:gd name="T52" fmla="*/ 71 w 628"/>
                <a:gd name="T53" fmla="*/ 115 h 752"/>
                <a:gd name="T54" fmla="*/ 114 w 628"/>
                <a:gd name="T55" fmla="*/ 72 h 752"/>
                <a:gd name="T56" fmla="*/ 151 w 628"/>
                <a:gd name="T57" fmla="*/ 45 h 752"/>
                <a:gd name="T58" fmla="*/ 177 w 628"/>
                <a:gd name="T59" fmla="*/ 31 h 752"/>
                <a:gd name="T60" fmla="*/ 205 w 628"/>
                <a:gd name="T61" fmla="*/ 18 h 752"/>
                <a:gd name="T62" fmla="*/ 235 w 628"/>
                <a:gd name="T63" fmla="*/ 10 h 752"/>
                <a:gd name="T64" fmla="*/ 265 w 628"/>
                <a:gd name="T65" fmla="*/ 4 h 752"/>
                <a:gd name="T66" fmla="*/ 297 w 628"/>
                <a:gd name="T67" fmla="*/ 0 h 752"/>
                <a:gd name="T68" fmla="*/ 314 w 628"/>
                <a:gd name="T69" fmla="*/ 0 h 752"/>
                <a:gd name="T70" fmla="*/ 345 w 628"/>
                <a:gd name="T71" fmla="*/ 1 h 752"/>
                <a:gd name="T72" fmla="*/ 377 w 628"/>
                <a:gd name="T73" fmla="*/ 6 h 752"/>
                <a:gd name="T74" fmla="*/ 406 w 628"/>
                <a:gd name="T75" fmla="*/ 14 h 752"/>
                <a:gd name="T76" fmla="*/ 436 w 628"/>
                <a:gd name="T77" fmla="*/ 25 h 752"/>
                <a:gd name="T78" fmla="*/ 464 w 628"/>
                <a:gd name="T79" fmla="*/ 38 h 752"/>
                <a:gd name="T80" fmla="*/ 489 w 628"/>
                <a:gd name="T81" fmla="*/ 54 h 752"/>
                <a:gd name="T82" fmla="*/ 535 w 628"/>
                <a:gd name="T83" fmla="*/ 92 h 752"/>
                <a:gd name="T84" fmla="*/ 574 w 628"/>
                <a:gd name="T85" fmla="*/ 139 h 752"/>
                <a:gd name="T86" fmla="*/ 590 w 628"/>
                <a:gd name="T87" fmla="*/ 165 h 752"/>
                <a:gd name="T88" fmla="*/ 602 w 628"/>
                <a:gd name="T89" fmla="*/ 192 h 752"/>
                <a:gd name="T90" fmla="*/ 613 w 628"/>
                <a:gd name="T91" fmla="*/ 221 h 752"/>
                <a:gd name="T92" fmla="*/ 621 w 628"/>
                <a:gd name="T93" fmla="*/ 251 h 752"/>
                <a:gd name="T94" fmla="*/ 626 w 628"/>
                <a:gd name="T95" fmla="*/ 282 h 752"/>
                <a:gd name="T96" fmla="*/ 628 w 628"/>
                <a:gd name="T97" fmla="*/ 315 h 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28" h="752">
                  <a:moveTo>
                    <a:pt x="628" y="752"/>
                  </a:moveTo>
                  <a:lnTo>
                    <a:pt x="458" y="752"/>
                  </a:lnTo>
                  <a:lnTo>
                    <a:pt x="458" y="315"/>
                  </a:lnTo>
                  <a:lnTo>
                    <a:pt x="458" y="315"/>
                  </a:lnTo>
                  <a:lnTo>
                    <a:pt x="456" y="300"/>
                  </a:lnTo>
                  <a:lnTo>
                    <a:pt x="454" y="285"/>
                  </a:lnTo>
                  <a:lnTo>
                    <a:pt x="450" y="272"/>
                  </a:lnTo>
                  <a:lnTo>
                    <a:pt x="445" y="259"/>
                  </a:lnTo>
                  <a:lnTo>
                    <a:pt x="439" y="245"/>
                  </a:lnTo>
                  <a:lnTo>
                    <a:pt x="432" y="234"/>
                  </a:lnTo>
                  <a:lnTo>
                    <a:pt x="425" y="223"/>
                  </a:lnTo>
                  <a:lnTo>
                    <a:pt x="415" y="212"/>
                  </a:lnTo>
                  <a:lnTo>
                    <a:pt x="405" y="204"/>
                  </a:lnTo>
                  <a:lnTo>
                    <a:pt x="394" y="195"/>
                  </a:lnTo>
                  <a:lnTo>
                    <a:pt x="382" y="188"/>
                  </a:lnTo>
                  <a:lnTo>
                    <a:pt x="370" y="182"/>
                  </a:lnTo>
                  <a:lnTo>
                    <a:pt x="356" y="177"/>
                  </a:lnTo>
                  <a:lnTo>
                    <a:pt x="342" y="173"/>
                  </a:lnTo>
                  <a:lnTo>
                    <a:pt x="328" y="171"/>
                  </a:lnTo>
                  <a:lnTo>
                    <a:pt x="314" y="171"/>
                  </a:lnTo>
                  <a:lnTo>
                    <a:pt x="314" y="171"/>
                  </a:lnTo>
                  <a:lnTo>
                    <a:pt x="299" y="171"/>
                  </a:lnTo>
                  <a:lnTo>
                    <a:pt x="285" y="173"/>
                  </a:lnTo>
                  <a:lnTo>
                    <a:pt x="271" y="177"/>
                  </a:lnTo>
                  <a:lnTo>
                    <a:pt x="258" y="182"/>
                  </a:lnTo>
                  <a:lnTo>
                    <a:pt x="244" y="188"/>
                  </a:lnTo>
                  <a:lnTo>
                    <a:pt x="233" y="195"/>
                  </a:lnTo>
                  <a:lnTo>
                    <a:pt x="222" y="204"/>
                  </a:lnTo>
                  <a:lnTo>
                    <a:pt x="212" y="212"/>
                  </a:lnTo>
                  <a:lnTo>
                    <a:pt x="203" y="223"/>
                  </a:lnTo>
                  <a:lnTo>
                    <a:pt x="194" y="234"/>
                  </a:lnTo>
                  <a:lnTo>
                    <a:pt x="187" y="245"/>
                  </a:lnTo>
                  <a:lnTo>
                    <a:pt x="181" y="259"/>
                  </a:lnTo>
                  <a:lnTo>
                    <a:pt x="176" y="272"/>
                  </a:lnTo>
                  <a:lnTo>
                    <a:pt x="173" y="285"/>
                  </a:lnTo>
                  <a:lnTo>
                    <a:pt x="170" y="300"/>
                  </a:lnTo>
                  <a:lnTo>
                    <a:pt x="170" y="315"/>
                  </a:lnTo>
                  <a:lnTo>
                    <a:pt x="170" y="752"/>
                  </a:lnTo>
                  <a:lnTo>
                    <a:pt x="0" y="752"/>
                  </a:lnTo>
                  <a:lnTo>
                    <a:pt x="0" y="315"/>
                  </a:lnTo>
                  <a:lnTo>
                    <a:pt x="0" y="315"/>
                  </a:lnTo>
                  <a:lnTo>
                    <a:pt x="0" y="298"/>
                  </a:lnTo>
                  <a:lnTo>
                    <a:pt x="1" y="282"/>
                  </a:lnTo>
                  <a:lnTo>
                    <a:pt x="3" y="266"/>
                  </a:lnTo>
                  <a:lnTo>
                    <a:pt x="6" y="251"/>
                  </a:lnTo>
                  <a:lnTo>
                    <a:pt x="9" y="235"/>
                  </a:lnTo>
                  <a:lnTo>
                    <a:pt x="13" y="221"/>
                  </a:lnTo>
                  <a:lnTo>
                    <a:pt x="18" y="206"/>
                  </a:lnTo>
                  <a:lnTo>
                    <a:pt x="24" y="192"/>
                  </a:lnTo>
                  <a:lnTo>
                    <a:pt x="30" y="178"/>
                  </a:lnTo>
                  <a:lnTo>
                    <a:pt x="37" y="165"/>
                  </a:lnTo>
                  <a:lnTo>
                    <a:pt x="45" y="151"/>
                  </a:lnTo>
                  <a:lnTo>
                    <a:pt x="53" y="139"/>
                  </a:lnTo>
                  <a:lnTo>
                    <a:pt x="71" y="115"/>
                  </a:lnTo>
                  <a:lnTo>
                    <a:pt x="91" y="92"/>
                  </a:lnTo>
                  <a:lnTo>
                    <a:pt x="114" y="72"/>
                  </a:lnTo>
                  <a:lnTo>
                    <a:pt x="137" y="54"/>
                  </a:lnTo>
                  <a:lnTo>
                    <a:pt x="151" y="45"/>
                  </a:lnTo>
                  <a:lnTo>
                    <a:pt x="164" y="38"/>
                  </a:lnTo>
                  <a:lnTo>
                    <a:pt x="177" y="31"/>
                  </a:lnTo>
                  <a:lnTo>
                    <a:pt x="191" y="25"/>
                  </a:lnTo>
                  <a:lnTo>
                    <a:pt x="205" y="18"/>
                  </a:lnTo>
                  <a:lnTo>
                    <a:pt x="220" y="14"/>
                  </a:lnTo>
                  <a:lnTo>
                    <a:pt x="235" y="10"/>
                  </a:lnTo>
                  <a:lnTo>
                    <a:pt x="251" y="6"/>
                  </a:lnTo>
                  <a:lnTo>
                    <a:pt x="265" y="4"/>
                  </a:lnTo>
                  <a:lnTo>
                    <a:pt x="281" y="1"/>
                  </a:lnTo>
                  <a:lnTo>
                    <a:pt x="297" y="0"/>
                  </a:lnTo>
                  <a:lnTo>
                    <a:pt x="314" y="0"/>
                  </a:lnTo>
                  <a:lnTo>
                    <a:pt x="314" y="0"/>
                  </a:lnTo>
                  <a:lnTo>
                    <a:pt x="330" y="0"/>
                  </a:lnTo>
                  <a:lnTo>
                    <a:pt x="345" y="1"/>
                  </a:lnTo>
                  <a:lnTo>
                    <a:pt x="361" y="4"/>
                  </a:lnTo>
                  <a:lnTo>
                    <a:pt x="377" y="6"/>
                  </a:lnTo>
                  <a:lnTo>
                    <a:pt x="392" y="10"/>
                  </a:lnTo>
                  <a:lnTo>
                    <a:pt x="406" y="14"/>
                  </a:lnTo>
                  <a:lnTo>
                    <a:pt x="421" y="18"/>
                  </a:lnTo>
                  <a:lnTo>
                    <a:pt x="436" y="25"/>
                  </a:lnTo>
                  <a:lnTo>
                    <a:pt x="449" y="31"/>
                  </a:lnTo>
                  <a:lnTo>
                    <a:pt x="464" y="38"/>
                  </a:lnTo>
                  <a:lnTo>
                    <a:pt x="476" y="45"/>
                  </a:lnTo>
                  <a:lnTo>
                    <a:pt x="489" y="54"/>
                  </a:lnTo>
                  <a:lnTo>
                    <a:pt x="514" y="72"/>
                  </a:lnTo>
                  <a:lnTo>
                    <a:pt x="535" y="92"/>
                  </a:lnTo>
                  <a:lnTo>
                    <a:pt x="556" y="115"/>
                  </a:lnTo>
                  <a:lnTo>
                    <a:pt x="574" y="139"/>
                  </a:lnTo>
                  <a:lnTo>
                    <a:pt x="582" y="151"/>
                  </a:lnTo>
                  <a:lnTo>
                    <a:pt x="590" y="165"/>
                  </a:lnTo>
                  <a:lnTo>
                    <a:pt x="596" y="178"/>
                  </a:lnTo>
                  <a:lnTo>
                    <a:pt x="602" y="192"/>
                  </a:lnTo>
                  <a:lnTo>
                    <a:pt x="609" y="206"/>
                  </a:lnTo>
                  <a:lnTo>
                    <a:pt x="613" y="221"/>
                  </a:lnTo>
                  <a:lnTo>
                    <a:pt x="618" y="235"/>
                  </a:lnTo>
                  <a:lnTo>
                    <a:pt x="621" y="251"/>
                  </a:lnTo>
                  <a:lnTo>
                    <a:pt x="624" y="266"/>
                  </a:lnTo>
                  <a:lnTo>
                    <a:pt x="626" y="282"/>
                  </a:lnTo>
                  <a:lnTo>
                    <a:pt x="627" y="298"/>
                  </a:lnTo>
                  <a:lnTo>
                    <a:pt x="628" y="315"/>
                  </a:lnTo>
                  <a:lnTo>
                    <a:pt x="628" y="752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7"/>
            <p:cNvSpPr>
              <a:spLocks/>
            </p:cNvSpPr>
            <p:nvPr userDrawn="1"/>
          </p:nvSpPr>
          <p:spPr bwMode="auto">
            <a:xfrm>
              <a:off x="1694" y="2055"/>
              <a:ext cx="87" cy="86"/>
            </a:xfrm>
            <a:custGeom>
              <a:avLst/>
              <a:gdLst>
                <a:gd name="T0" fmla="*/ 259 w 259"/>
                <a:gd name="T1" fmla="*/ 130 h 259"/>
                <a:gd name="T2" fmla="*/ 256 w 259"/>
                <a:gd name="T3" fmla="*/ 155 h 259"/>
                <a:gd name="T4" fmla="*/ 249 w 259"/>
                <a:gd name="T5" fmla="*/ 180 h 259"/>
                <a:gd name="T6" fmla="*/ 237 w 259"/>
                <a:gd name="T7" fmla="*/ 202 h 259"/>
                <a:gd name="T8" fmla="*/ 221 w 259"/>
                <a:gd name="T9" fmla="*/ 221 h 259"/>
                <a:gd name="T10" fmla="*/ 201 w 259"/>
                <a:gd name="T11" fmla="*/ 237 h 259"/>
                <a:gd name="T12" fmla="*/ 179 w 259"/>
                <a:gd name="T13" fmla="*/ 248 h 259"/>
                <a:gd name="T14" fmla="*/ 155 w 259"/>
                <a:gd name="T15" fmla="*/ 256 h 259"/>
                <a:gd name="T16" fmla="*/ 130 w 259"/>
                <a:gd name="T17" fmla="*/ 259 h 259"/>
                <a:gd name="T18" fmla="*/ 116 w 259"/>
                <a:gd name="T19" fmla="*/ 258 h 259"/>
                <a:gd name="T20" fmla="*/ 91 w 259"/>
                <a:gd name="T21" fmla="*/ 253 h 259"/>
                <a:gd name="T22" fmla="*/ 67 w 259"/>
                <a:gd name="T23" fmla="*/ 243 h 259"/>
                <a:gd name="T24" fmla="*/ 48 w 259"/>
                <a:gd name="T25" fmla="*/ 230 h 259"/>
                <a:gd name="T26" fmla="*/ 30 w 259"/>
                <a:gd name="T27" fmla="*/ 211 h 259"/>
                <a:gd name="T28" fmla="*/ 16 w 259"/>
                <a:gd name="T29" fmla="*/ 191 h 259"/>
                <a:gd name="T30" fmla="*/ 7 w 259"/>
                <a:gd name="T31" fmla="*/ 167 h 259"/>
                <a:gd name="T32" fmla="*/ 0 w 259"/>
                <a:gd name="T33" fmla="*/ 143 h 259"/>
                <a:gd name="T34" fmla="*/ 0 w 259"/>
                <a:gd name="T35" fmla="*/ 130 h 259"/>
                <a:gd name="T36" fmla="*/ 3 w 259"/>
                <a:gd name="T37" fmla="*/ 103 h 259"/>
                <a:gd name="T38" fmla="*/ 10 w 259"/>
                <a:gd name="T39" fmla="*/ 78 h 259"/>
                <a:gd name="T40" fmla="*/ 22 w 259"/>
                <a:gd name="T41" fmla="*/ 56 h 259"/>
                <a:gd name="T42" fmla="*/ 38 w 259"/>
                <a:gd name="T43" fmla="*/ 38 h 259"/>
                <a:gd name="T44" fmla="*/ 58 w 259"/>
                <a:gd name="T45" fmla="*/ 22 h 259"/>
                <a:gd name="T46" fmla="*/ 80 w 259"/>
                <a:gd name="T47" fmla="*/ 10 h 259"/>
                <a:gd name="T48" fmla="*/ 104 w 259"/>
                <a:gd name="T49" fmla="*/ 3 h 259"/>
                <a:gd name="T50" fmla="*/ 130 w 259"/>
                <a:gd name="T51" fmla="*/ 0 h 259"/>
                <a:gd name="T52" fmla="*/ 143 w 259"/>
                <a:gd name="T53" fmla="*/ 0 h 259"/>
                <a:gd name="T54" fmla="*/ 167 w 259"/>
                <a:gd name="T55" fmla="*/ 5 h 259"/>
                <a:gd name="T56" fmla="*/ 190 w 259"/>
                <a:gd name="T57" fmla="*/ 15 h 259"/>
                <a:gd name="T58" fmla="*/ 211 w 259"/>
                <a:gd name="T59" fmla="*/ 30 h 259"/>
                <a:gd name="T60" fmla="*/ 229 w 259"/>
                <a:gd name="T61" fmla="*/ 47 h 259"/>
                <a:gd name="T62" fmla="*/ 243 w 259"/>
                <a:gd name="T63" fmla="*/ 67 h 259"/>
                <a:gd name="T64" fmla="*/ 253 w 259"/>
                <a:gd name="T65" fmla="*/ 91 h 259"/>
                <a:gd name="T66" fmla="*/ 257 w 259"/>
                <a:gd name="T67" fmla="*/ 11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9" h="259">
                  <a:moveTo>
                    <a:pt x="259" y="130"/>
                  </a:moveTo>
                  <a:lnTo>
                    <a:pt x="259" y="130"/>
                  </a:lnTo>
                  <a:lnTo>
                    <a:pt x="257" y="143"/>
                  </a:lnTo>
                  <a:lnTo>
                    <a:pt x="256" y="155"/>
                  </a:lnTo>
                  <a:lnTo>
                    <a:pt x="253" y="167"/>
                  </a:lnTo>
                  <a:lnTo>
                    <a:pt x="249" y="180"/>
                  </a:lnTo>
                  <a:lnTo>
                    <a:pt x="243" y="191"/>
                  </a:lnTo>
                  <a:lnTo>
                    <a:pt x="237" y="202"/>
                  </a:lnTo>
                  <a:lnTo>
                    <a:pt x="229" y="211"/>
                  </a:lnTo>
                  <a:lnTo>
                    <a:pt x="221" y="221"/>
                  </a:lnTo>
                  <a:lnTo>
                    <a:pt x="211" y="230"/>
                  </a:lnTo>
                  <a:lnTo>
                    <a:pt x="201" y="237"/>
                  </a:lnTo>
                  <a:lnTo>
                    <a:pt x="190" y="243"/>
                  </a:lnTo>
                  <a:lnTo>
                    <a:pt x="179" y="248"/>
                  </a:lnTo>
                  <a:lnTo>
                    <a:pt x="167" y="253"/>
                  </a:lnTo>
                  <a:lnTo>
                    <a:pt x="155" y="256"/>
                  </a:lnTo>
                  <a:lnTo>
                    <a:pt x="143" y="258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16" y="258"/>
                  </a:lnTo>
                  <a:lnTo>
                    <a:pt x="104" y="256"/>
                  </a:lnTo>
                  <a:lnTo>
                    <a:pt x="91" y="253"/>
                  </a:lnTo>
                  <a:lnTo>
                    <a:pt x="80" y="248"/>
                  </a:lnTo>
                  <a:lnTo>
                    <a:pt x="67" y="243"/>
                  </a:lnTo>
                  <a:lnTo>
                    <a:pt x="58" y="237"/>
                  </a:lnTo>
                  <a:lnTo>
                    <a:pt x="48" y="230"/>
                  </a:lnTo>
                  <a:lnTo>
                    <a:pt x="38" y="221"/>
                  </a:lnTo>
                  <a:lnTo>
                    <a:pt x="30" y="211"/>
                  </a:lnTo>
                  <a:lnTo>
                    <a:pt x="22" y="202"/>
                  </a:lnTo>
                  <a:lnTo>
                    <a:pt x="16" y="191"/>
                  </a:lnTo>
                  <a:lnTo>
                    <a:pt x="10" y="180"/>
                  </a:lnTo>
                  <a:lnTo>
                    <a:pt x="7" y="167"/>
                  </a:lnTo>
                  <a:lnTo>
                    <a:pt x="3" y="155"/>
                  </a:lnTo>
                  <a:lnTo>
                    <a:pt x="0" y="143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3" y="103"/>
                  </a:lnTo>
                  <a:lnTo>
                    <a:pt x="7" y="91"/>
                  </a:lnTo>
                  <a:lnTo>
                    <a:pt x="10" y="78"/>
                  </a:lnTo>
                  <a:lnTo>
                    <a:pt x="16" y="67"/>
                  </a:lnTo>
                  <a:lnTo>
                    <a:pt x="22" y="56"/>
                  </a:lnTo>
                  <a:lnTo>
                    <a:pt x="30" y="47"/>
                  </a:lnTo>
                  <a:lnTo>
                    <a:pt x="38" y="38"/>
                  </a:lnTo>
                  <a:lnTo>
                    <a:pt x="48" y="30"/>
                  </a:lnTo>
                  <a:lnTo>
                    <a:pt x="58" y="22"/>
                  </a:lnTo>
                  <a:lnTo>
                    <a:pt x="67" y="15"/>
                  </a:lnTo>
                  <a:lnTo>
                    <a:pt x="80" y="10"/>
                  </a:lnTo>
                  <a:lnTo>
                    <a:pt x="91" y="5"/>
                  </a:lnTo>
                  <a:lnTo>
                    <a:pt x="104" y="3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43" y="0"/>
                  </a:lnTo>
                  <a:lnTo>
                    <a:pt x="155" y="3"/>
                  </a:lnTo>
                  <a:lnTo>
                    <a:pt x="167" y="5"/>
                  </a:lnTo>
                  <a:lnTo>
                    <a:pt x="179" y="10"/>
                  </a:lnTo>
                  <a:lnTo>
                    <a:pt x="190" y="15"/>
                  </a:lnTo>
                  <a:lnTo>
                    <a:pt x="201" y="22"/>
                  </a:lnTo>
                  <a:lnTo>
                    <a:pt x="211" y="30"/>
                  </a:lnTo>
                  <a:lnTo>
                    <a:pt x="221" y="38"/>
                  </a:lnTo>
                  <a:lnTo>
                    <a:pt x="229" y="47"/>
                  </a:lnTo>
                  <a:lnTo>
                    <a:pt x="237" y="56"/>
                  </a:lnTo>
                  <a:lnTo>
                    <a:pt x="243" y="67"/>
                  </a:lnTo>
                  <a:lnTo>
                    <a:pt x="249" y="78"/>
                  </a:lnTo>
                  <a:lnTo>
                    <a:pt x="253" y="91"/>
                  </a:lnTo>
                  <a:lnTo>
                    <a:pt x="256" y="103"/>
                  </a:lnTo>
                  <a:lnTo>
                    <a:pt x="257" y="116"/>
                  </a:lnTo>
                  <a:lnTo>
                    <a:pt x="259" y="130"/>
                  </a:lnTo>
                  <a:close/>
                </a:path>
              </a:pathLst>
            </a:custGeom>
            <a:solidFill>
              <a:srgbClr val="201D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8"/>
            <p:cNvSpPr>
              <a:spLocks/>
            </p:cNvSpPr>
            <p:nvPr userDrawn="1"/>
          </p:nvSpPr>
          <p:spPr bwMode="auto">
            <a:xfrm>
              <a:off x="1694" y="2055"/>
              <a:ext cx="87" cy="86"/>
            </a:xfrm>
            <a:custGeom>
              <a:avLst/>
              <a:gdLst>
                <a:gd name="T0" fmla="*/ 259 w 259"/>
                <a:gd name="T1" fmla="*/ 130 h 259"/>
                <a:gd name="T2" fmla="*/ 256 w 259"/>
                <a:gd name="T3" fmla="*/ 155 h 259"/>
                <a:gd name="T4" fmla="*/ 249 w 259"/>
                <a:gd name="T5" fmla="*/ 180 h 259"/>
                <a:gd name="T6" fmla="*/ 237 w 259"/>
                <a:gd name="T7" fmla="*/ 202 h 259"/>
                <a:gd name="T8" fmla="*/ 221 w 259"/>
                <a:gd name="T9" fmla="*/ 221 h 259"/>
                <a:gd name="T10" fmla="*/ 201 w 259"/>
                <a:gd name="T11" fmla="*/ 237 h 259"/>
                <a:gd name="T12" fmla="*/ 179 w 259"/>
                <a:gd name="T13" fmla="*/ 248 h 259"/>
                <a:gd name="T14" fmla="*/ 155 w 259"/>
                <a:gd name="T15" fmla="*/ 256 h 259"/>
                <a:gd name="T16" fmla="*/ 130 w 259"/>
                <a:gd name="T17" fmla="*/ 259 h 259"/>
                <a:gd name="T18" fmla="*/ 116 w 259"/>
                <a:gd name="T19" fmla="*/ 258 h 259"/>
                <a:gd name="T20" fmla="*/ 91 w 259"/>
                <a:gd name="T21" fmla="*/ 253 h 259"/>
                <a:gd name="T22" fmla="*/ 67 w 259"/>
                <a:gd name="T23" fmla="*/ 243 h 259"/>
                <a:gd name="T24" fmla="*/ 48 w 259"/>
                <a:gd name="T25" fmla="*/ 230 h 259"/>
                <a:gd name="T26" fmla="*/ 30 w 259"/>
                <a:gd name="T27" fmla="*/ 211 h 259"/>
                <a:gd name="T28" fmla="*/ 16 w 259"/>
                <a:gd name="T29" fmla="*/ 191 h 259"/>
                <a:gd name="T30" fmla="*/ 7 w 259"/>
                <a:gd name="T31" fmla="*/ 167 h 259"/>
                <a:gd name="T32" fmla="*/ 0 w 259"/>
                <a:gd name="T33" fmla="*/ 143 h 259"/>
                <a:gd name="T34" fmla="*/ 0 w 259"/>
                <a:gd name="T35" fmla="*/ 130 h 259"/>
                <a:gd name="T36" fmla="*/ 3 w 259"/>
                <a:gd name="T37" fmla="*/ 103 h 259"/>
                <a:gd name="T38" fmla="*/ 10 w 259"/>
                <a:gd name="T39" fmla="*/ 78 h 259"/>
                <a:gd name="T40" fmla="*/ 22 w 259"/>
                <a:gd name="T41" fmla="*/ 56 h 259"/>
                <a:gd name="T42" fmla="*/ 38 w 259"/>
                <a:gd name="T43" fmla="*/ 38 h 259"/>
                <a:gd name="T44" fmla="*/ 58 w 259"/>
                <a:gd name="T45" fmla="*/ 22 h 259"/>
                <a:gd name="T46" fmla="*/ 80 w 259"/>
                <a:gd name="T47" fmla="*/ 10 h 259"/>
                <a:gd name="T48" fmla="*/ 104 w 259"/>
                <a:gd name="T49" fmla="*/ 3 h 259"/>
                <a:gd name="T50" fmla="*/ 130 w 259"/>
                <a:gd name="T51" fmla="*/ 0 h 259"/>
                <a:gd name="T52" fmla="*/ 143 w 259"/>
                <a:gd name="T53" fmla="*/ 0 h 259"/>
                <a:gd name="T54" fmla="*/ 167 w 259"/>
                <a:gd name="T55" fmla="*/ 5 h 259"/>
                <a:gd name="T56" fmla="*/ 190 w 259"/>
                <a:gd name="T57" fmla="*/ 15 h 259"/>
                <a:gd name="T58" fmla="*/ 211 w 259"/>
                <a:gd name="T59" fmla="*/ 30 h 259"/>
                <a:gd name="T60" fmla="*/ 229 w 259"/>
                <a:gd name="T61" fmla="*/ 47 h 259"/>
                <a:gd name="T62" fmla="*/ 243 w 259"/>
                <a:gd name="T63" fmla="*/ 67 h 259"/>
                <a:gd name="T64" fmla="*/ 253 w 259"/>
                <a:gd name="T65" fmla="*/ 91 h 259"/>
                <a:gd name="T66" fmla="*/ 257 w 259"/>
                <a:gd name="T67" fmla="*/ 116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59" h="259">
                  <a:moveTo>
                    <a:pt x="259" y="130"/>
                  </a:moveTo>
                  <a:lnTo>
                    <a:pt x="259" y="130"/>
                  </a:lnTo>
                  <a:lnTo>
                    <a:pt x="257" y="143"/>
                  </a:lnTo>
                  <a:lnTo>
                    <a:pt x="256" y="155"/>
                  </a:lnTo>
                  <a:lnTo>
                    <a:pt x="253" y="167"/>
                  </a:lnTo>
                  <a:lnTo>
                    <a:pt x="249" y="180"/>
                  </a:lnTo>
                  <a:lnTo>
                    <a:pt x="243" y="191"/>
                  </a:lnTo>
                  <a:lnTo>
                    <a:pt x="237" y="202"/>
                  </a:lnTo>
                  <a:lnTo>
                    <a:pt x="229" y="211"/>
                  </a:lnTo>
                  <a:lnTo>
                    <a:pt x="221" y="221"/>
                  </a:lnTo>
                  <a:lnTo>
                    <a:pt x="211" y="230"/>
                  </a:lnTo>
                  <a:lnTo>
                    <a:pt x="201" y="237"/>
                  </a:lnTo>
                  <a:lnTo>
                    <a:pt x="190" y="243"/>
                  </a:lnTo>
                  <a:lnTo>
                    <a:pt x="179" y="248"/>
                  </a:lnTo>
                  <a:lnTo>
                    <a:pt x="167" y="253"/>
                  </a:lnTo>
                  <a:lnTo>
                    <a:pt x="155" y="256"/>
                  </a:lnTo>
                  <a:lnTo>
                    <a:pt x="143" y="258"/>
                  </a:lnTo>
                  <a:lnTo>
                    <a:pt x="130" y="259"/>
                  </a:lnTo>
                  <a:lnTo>
                    <a:pt x="130" y="259"/>
                  </a:lnTo>
                  <a:lnTo>
                    <a:pt x="116" y="258"/>
                  </a:lnTo>
                  <a:lnTo>
                    <a:pt x="104" y="256"/>
                  </a:lnTo>
                  <a:lnTo>
                    <a:pt x="91" y="253"/>
                  </a:lnTo>
                  <a:lnTo>
                    <a:pt x="80" y="248"/>
                  </a:lnTo>
                  <a:lnTo>
                    <a:pt x="67" y="243"/>
                  </a:lnTo>
                  <a:lnTo>
                    <a:pt x="58" y="237"/>
                  </a:lnTo>
                  <a:lnTo>
                    <a:pt x="48" y="230"/>
                  </a:lnTo>
                  <a:lnTo>
                    <a:pt x="38" y="221"/>
                  </a:lnTo>
                  <a:lnTo>
                    <a:pt x="30" y="211"/>
                  </a:lnTo>
                  <a:lnTo>
                    <a:pt x="22" y="202"/>
                  </a:lnTo>
                  <a:lnTo>
                    <a:pt x="16" y="191"/>
                  </a:lnTo>
                  <a:lnTo>
                    <a:pt x="10" y="180"/>
                  </a:lnTo>
                  <a:lnTo>
                    <a:pt x="7" y="167"/>
                  </a:lnTo>
                  <a:lnTo>
                    <a:pt x="3" y="155"/>
                  </a:lnTo>
                  <a:lnTo>
                    <a:pt x="0" y="143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6"/>
                  </a:lnTo>
                  <a:lnTo>
                    <a:pt x="3" y="103"/>
                  </a:lnTo>
                  <a:lnTo>
                    <a:pt x="7" y="91"/>
                  </a:lnTo>
                  <a:lnTo>
                    <a:pt x="10" y="78"/>
                  </a:lnTo>
                  <a:lnTo>
                    <a:pt x="16" y="67"/>
                  </a:lnTo>
                  <a:lnTo>
                    <a:pt x="22" y="56"/>
                  </a:lnTo>
                  <a:lnTo>
                    <a:pt x="30" y="47"/>
                  </a:lnTo>
                  <a:lnTo>
                    <a:pt x="38" y="38"/>
                  </a:lnTo>
                  <a:lnTo>
                    <a:pt x="48" y="30"/>
                  </a:lnTo>
                  <a:lnTo>
                    <a:pt x="58" y="22"/>
                  </a:lnTo>
                  <a:lnTo>
                    <a:pt x="67" y="15"/>
                  </a:lnTo>
                  <a:lnTo>
                    <a:pt x="80" y="10"/>
                  </a:lnTo>
                  <a:lnTo>
                    <a:pt x="91" y="5"/>
                  </a:lnTo>
                  <a:lnTo>
                    <a:pt x="104" y="3"/>
                  </a:lnTo>
                  <a:lnTo>
                    <a:pt x="116" y="0"/>
                  </a:lnTo>
                  <a:lnTo>
                    <a:pt x="130" y="0"/>
                  </a:lnTo>
                  <a:lnTo>
                    <a:pt x="130" y="0"/>
                  </a:lnTo>
                  <a:lnTo>
                    <a:pt x="143" y="0"/>
                  </a:lnTo>
                  <a:lnTo>
                    <a:pt x="155" y="3"/>
                  </a:lnTo>
                  <a:lnTo>
                    <a:pt x="167" y="5"/>
                  </a:lnTo>
                  <a:lnTo>
                    <a:pt x="179" y="10"/>
                  </a:lnTo>
                  <a:lnTo>
                    <a:pt x="190" y="15"/>
                  </a:lnTo>
                  <a:lnTo>
                    <a:pt x="201" y="22"/>
                  </a:lnTo>
                  <a:lnTo>
                    <a:pt x="211" y="30"/>
                  </a:lnTo>
                  <a:lnTo>
                    <a:pt x="221" y="38"/>
                  </a:lnTo>
                  <a:lnTo>
                    <a:pt x="229" y="47"/>
                  </a:lnTo>
                  <a:lnTo>
                    <a:pt x="237" y="56"/>
                  </a:lnTo>
                  <a:lnTo>
                    <a:pt x="243" y="67"/>
                  </a:lnTo>
                  <a:lnTo>
                    <a:pt x="249" y="78"/>
                  </a:lnTo>
                  <a:lnTo>
                    <a:pt x="253" y="91"/>
                  </a:lnTo>
                  <a:lnTo>
                    <a:pt x="256" y="103"/>
                  </a:lnTo>
                  <a:lnTo>
                    <a:pt x="257" y="116"/>
                  </a:lnTo>
                  <a:lnTo>
                    <a:pt x="259" y="13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9"/>
            <p:cNvSpPr>
              <a:spLocks noEditPoints="1"/>
            </p:cNvSpPr>
            <p:nvPr userDrawn="1"/>
          </p:nvSpPr>
          <p:spPr bwMode="auto">
            <a:xfrm>
              <a:off x="1148" y="2410"/>
              <a:ext cx="45" cy="68"/>
            </a:xfrm>
            <a:custGeom>
              <a:avLst/>
              <a:gdLst>
                <a:gd name="T0" fmla="*/ 103 w 134"/>
                <a:gd name="T1" fmla="*/ 88 h 205"/>
                <a:gd name="T2" fmla="*/ 114 w 134"/>
                <a:gd name="T3" fmla="*/ 96 h 205"/>
                <a:gd name="T4" fmla="*/ 125 w 134"/>
                <a:gd name="T5" fmla="*/ 107 h 205"/>
                <a:gd name="T6" fmla="*/ 131 w 134"/>
                <a:gd name="T7" fmla="*/ 123 h 205"/>
                <a:gd name="T8" fmla="*/ 134 w 134"/>
                <a:gd name="T9" fmla="*/ 140 h 205"/>
                <a:gd name="T10" fmla="*/ 133 w 134"/>
                <a:gd name="T11" fmla="*/ 153 h 205"/>
                <a:gd name="T12" fmla="*/ 122 w 134"/>
                <a:gd name="T13" fmla="*/ 177 h 205"/>
                <a:gd name="T14" fmla="*/ 105 w 134"/>
                <a:gd name="T15" fmla="*/ 194 h 205"/>
                <a:gd name="T16" fmla="*/ 82 w 134"/>
                <a:gd name="T17" fmla="*/ 203 h 205"/>
                <a:gd name="T18" fmla="*/ 0 w 134"/>
                <a:gd name="T19" fmla="*/ 205 h 205"/>
                <a:gd name="T20" fmla="*/ 67 w 134"/>
                <a:gd name="T21" fmla="*/ 0 h 205"/>
                <a:gd name="T22" fmla="*/ 80 w 134"/>
                <a:gd name="T23" fmla="*/ 1 h 205"/>
                <a:gd name="T24" fmla="*/ 99 w 134"/>
                <a:gd name="T25" fmla="*/ 8 h 205"/>
                <a:gd name="T26" fmla="*/ 114 w 134"/>
                <a:gd name="T27" fmla="*/ 23 h 205"/>
                <a:gd name="T28" fmla="*/ 121 w 134"/>
                <a:gd name="T29" fmla="*/ 41 h 205"/>
                <a:gd name="T30" fmla="*/ 121 w 134"/>
                <a:gd name="T31" fmla="*/ 53 h 205"/>
                <a:gd name="T32" fmla="*/ 120 w 134"/>
                <a:gd name="T33" fmla="*/ 64 h 205"/>
                <a:gd name="T34" fmla="*/ 110 w 134"/>
                <a:gd name="T35" fmla="*/ 83 h 205"/>
                <a:gd name="T36" fmla="*/ 103 w 134"/>
                <a:gd name="T37" fmla="*/ 88 h 205"/>
                <a:gd name="T38" fmla="*/ 67 w 134"/>
                <a:gd name="T39" fmla="*/ 75 h 205"/>
                <a:gd name="T40" fmla="*/ 72 w 134"/>
                <a:gd name="T41" fmla="*/ 74 h 205"/>
                <a:gd name="T42" fmla="*/ 81 w 134"/>
                <a:gd name="T43" fmla="*/ 72 h 205"/>
                <a:gd name="T44" fmla="*/ 86 w 134"/>
                <a:gd name="T45" fmla="*/ 66 h 205"/>
                <a:gd name="T46" fmla="*/ 89 w 134"/>
                <a:gd name="T47" fmla="*/ 58 h 205"/>
                <a:gd name="T48" fmla="*/ 89 w 134"/>
                <a:gd name="T49" fmla="*/ 53 h 205"/>
                <a:gd name="T50" fmla="*/ 88 w 134"/>
                <a:gd name="T51" fmla="*/ 44 h 205"/>
                <a:gd name="T52" fmla="*/ 83 w 134"/>
                <a:gd name="T53" fmla="*/ 38 h 205"/>
                <a:gd name="T54" fmla="*/ 76 w 134"/>
                <a:gd name="T55" fmla="*/ 33 h 205"/>
                <a:gd name="T56" fmla="*/ 67 w 134"/>
                <a:gd name="T57" fmla="*/ 31 h 205"/>
                <a:gd name="T58" fmla="*/ 33 w 134"/>
                <a:gd name="T59" fmla="*/ 75 h 205"/>
                <a:gd name="T60" fmla="*/ 67 w 134"/>
                <a:gd name="T61" fmla="*/ 174 h 205"/>
                <a:gd name="T62" fmla="*/ 75 w 134"/>
                <a:gd name="T63" fmla="*/ 173 h 205"/>
                <a:gd name="T64" fmla="*/ 87 w 134"/>
                <a:gd name="T65" fmla="*/ 168 h 205"/>
                <a:gd name="T66" fmla="*/ 97 w 134"/>
                <a:gd name="T67" fmla="*/ 160 h 205"/>
                <a:gd name="T68" fmla="*/ 100 w 134"/>
                <a:gd name="T69" fmla="*/ 147 h 205"/>
                <a:gd name="T70" fmla="*/ 101 w 134"/>
                <a:gd name="T71" fmla="*/ 140 h 205"/>
                <a:gd name="T72" fmla="*/ 99 w 134"/>
                <a:gd name="T73" fmla="*/ 127 h 205"/>
                <a:gd name="T74" fmla="*/ 92 w 134"/>
                <a:gd name="T75" fmla="*/ 116 h 205"/>
                <a:gd name="T76" fmla="*/ 82 w 134"/>
                <a:gd name="T77" fmla="*/ 108 h 205"/>
                <a:gd name="T78" fmla="*/ 67 w 134"/>
                <a:gd name="T79" fmla="*/ 106 h 205"/>
                <a:gd name="T80" fmla="*/ 33 w 134"/>
                <a:gd name="T81" fmla="*/ 174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34" h="205">
                  <a:moveTo>
                    <a:pt x="103" y="88"/>
                  </a:moveTo>
                  <a:lnTo>
                    <a:pt x="103" y="88"/>
                  </a:lnTo>
                  <a:lnTo>
                    <a:pt x="109" y="91"/>
                  </a:lnTo>
                  <a:lnTo>
                    <a:pt x="114" y="96"/>
                  </a:lnTo>
                  <a:lnTo>
                    <a:pt x="120" y="101"/>
                  </a:lnTo>
                  <a:lnTo>
                    <a:pt x="125" y="107"/>
                  </a:lnTo>
                  <a:lnTo>
                    <a:pt x="128" y="114"/>
                  </a:lnTo>
                  <a:lnTo>
                    <a:pt x="131" y="123"/>
                  </a:lnTo>
                  <a:lnTo>
                    <a:pt x="133" y="130"/>
                  </a:lnTo>
                  <a:lnTo>
                    <a:pt x="134" y="140"/>
                  </a:lnTo>
                  <a:lnTo>
                    <a:pt x="134" y="140"/>
                  </a:lnTo>
                  <a:lnTo>
                    <a:pt x="133" y="153"/>
                  </a:lnTo>
                  <a:lnTo>
                    <a:pt x="128" y="166"/>
                  </a:lnTo>
                  <a:lnTo>
                    <a:pt x="122" y="177"/>
                  </a:lnTo>
                  <a:lnTo>
                    <a:pt x="115" y="186"/>
                  </a:lnTo>
                  <a:lnTo>
                    <a:pt x="105" y="194"/>
                  </a:lnTo>
                  <a:lnTo>
                    <a:pt x="94" y="200"/>
                  </a:lnTo>
                  <a:lnTo>
                    <a:pt x="82" y="203"/>
                  </a:lnTo>
                  <a:lnTo>
                    <a:pt x="69" y="205"/>
                  </a:lnTo>
                  <a:lnTo>
                    <a:pt x="0" y="205"/>
                  </a:lnTo>
                  <a:lnTo>
                    <a:pt x="0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80" y="1"/>
                  </a:lnTo>
                  <a:lnTo>
                    <a:pt x="89" y="3"/>
                  </a:lnTo>
                  <a:lnTo>
                    <a:pt x="99" y="8"/>
                  </a:lnTo>
                  <a:lnTo>
                    <a:pt x="106" y="14"/>
                  </a:lnTo>
                  <a:lnTo>
                    <a:pt x="114" y="23"/>
                  </a:lnTo>
                  <a:lnTo>
                    <a:pt x="117" y="31"/>
                  </a:lnTo>
                  <a:lnTo>
                    <a:pt x="121" y="41"/>
                  </a:lnTo>
                  <a:lnTo>
                    <a:pt x="121" y="53"/>
                  </a:lnTo>
                  <a:lnTo>
                    <a:pt x="121" y="53"/>
                  </a:lnTo>
                  <a:lnTo>
                    <a:pt x="121" y="60"/>
                  </a:lnTo>
                  <a:lnTo>
                    <a:pt x="120" y="64"/>
                  </a:lnTo>
                  <a:lnTo>
                    <a:pt x="116" y="74"/>
                  </a:lnTo>
                  <a:lnTo>
                    <a:pt x="110" y="83"/>
                  </a:lnTo>
                  <a:lnTo>
                    <a:pt x="103" y="88"/>
                  </a:lnTo>
                  <a:lnTo>
                    <a:pt x="103" y="88"/>
                  </a:lnTo>
                  <a:close/>
                  <a:moveTo>
                    <a:pt x="33" y="75"/>
                  </a:moveTo>
                  <a:lnTo>
                    <a:pt x="67" y="75"/>
                  </a:lnTo>
                  <a:lnTo>
                    <a:pt x="67" y="75"/>
                  </a:lnTo>
                  <a:lnTo>
                    <a:pt x="72" y="74"/>
                  </a:lnTo>
                  <a:lnTo>
                    <a:pt x="76" y="73"/>
                  </a:lnTo>
                  <a:lnTo>
                    <a:pt x="81" y="72"/>
                  </a:lnTo>
                  <a:lnTo>
                    <a:pt x="83" y="69"/>
                  </a:lnTo>
                  <a:lnTo>
                    <a:pt x="86" y="66"/>
                  </a:lnTo>
                  <a:lnTo>
                    <a:pt x="88" y="62"/>
                  </a:lnTo>
                  <a:lnTo>
                    <a:pt x="89" y="58"/>
                  </a:lnTo>
                  <a:lnTo>
                    <a:pt x="89" y="53"/>
                  </a:lnTo>
                  <a:lnTo>
                    <a:pt x="89" y="53"/>
                  </a:lnTo>
                  <a:lnTo>
                    <a:pt x="89" y="49"/>
                  </a:lnTo>
                  <a:lnTo>
                    <a:pt x="88" y="44"/>
                  </a:lnTo>
                  <a:lnTo>
                    <a:pt x="86" y="40"/>
                  </a:lnTo>
                  <a:lnTo>
                    <a:pt x="83" y="38"/>
                  </a:lnTo>
                  <a:lnTo>
                    <a:pt x="81" y="34"/>
                  </a:lnTo>
                  <a:lnTo>
                    <a:pt x="76" y="33"/>
                  </a:lnTo>
                  <a:lnTo>
                    <a:pt x="72" y="31"/>
                  </a:lnTo>
                  <a:lnTo>
                    <a:pt x="67" y="31"/>
                  </a:lnTo>
                  <a:lnTo>
                    <a:pt x="33" y="31"/>
                  </a:lnTo>
                  <a:lnTo>
                    <a:pt x="33" y="75"/>
                  </a:lnTo>
                  <a:close/>
                  <a:moveTo>
                    <a:pt x="33" y="174"/>
                  </a:moveTo>
                  <a:lnTo>
                    <a:pt x="67" y="174"/>
                  </a:lnTo>
                  <a:lnTo>
                    <a:pt x="67" y="174"/>
                  </a:lnTo>
                  <a:lnTo>
                    <a:pt x="75" y="173"/>
                  </a:lnTo>
                  <a:lnTo>
                    <a:pt x="82" y="172"/>
                  </a:lnTo>
                  <a:lnTo>
                    <a:pt x="87" y="168"/>
                  </a:lnTo>
                  <a:lnTo>
                    <a:pt x="92" y="164"/>
                  </a:lnTo>
                  <a:lnTo>
                    <a:pt x="97" y="160"/>
                  </a:lnTo>
                  <a:lnTo>
                    <a:pt x="99" y="153"/>
                  </a:lnTo>
                  <a:lnTo>
                    <a:pt x="100" y="147"/>
                  </a:lnTo>
                  <a:lnTo>
                    <a:pt x="101" y="140"/>
                  </a:lnTo>
                  <a:lnTo>
                    <a:pt x="101" y="140"/>
                  </a:lnTo>
                  <a:lnTo>
                    <a:pt x="100" y="133"/>
                  </a:lnTo>
                  <a:lnTo>
                    <a:pt x="99" y="127"/>
                  </a:lnTo>
                  <a:lnTo>
                    <a:pt x="97" y="120"/>
                  </a:lnTo>
                  <a:lnTo>
                    <a:pt x="92" y="116"/>
                  </a:lnTo>
                  <a:lnTo>
                    <a:pt x="87" y="111"/>
                  </a:lnTo>
                  <a:lnTo>
                    <a:pt x="82" y="108"/>
                  </a:lnTo>
                  <a:lnTo>
                    <a:pt x="75" y="107"/>
                  </a:lnTo>
                  <a:lnTo>
                    <a:pt x="67" y="106"/>
                  </a:lnTo>
                  <a:lnTo>
                    <a:pt x="33" y="106"/>
                  </a:lnTo>
                  <a:lnTo>
                    <a:pt x="33" y="17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0"/>
            <p:cNvSpPr>
              <a:spLocks noEditPoints="1"/>
            </p:cNvSpPr>
            <p:nvPr userDrawn="1"/>
          </p:nvSpPr>
          <p:spPr bwMode="auto">
            <a:xfrm>
              <a:off x="1201" y="2429"/>
              <a:ext cx="50" cy="50"/>
            </a:xfrm>
            <a:custGeom>
              <a:avLst/>
              <a:gdLst>
                <a:gd name="T0" fmla="*/ 34 w 148"/>
                <a:gd name="T1" fmla="*/ 85 h 149"/>
                <a:gd name="T2" fmla="*/ 39 w 148"/>
                <a:gd name="T3" fmla="*/ 99 h 149"/>
                <a:gd name="T4" fmla="*/ 47 w 148"/>
                <a:gd name="T5" fmla="*/ 110 h 149"/>
                <a:gd name="T6" fmla="*/ 60 w 148"/>
                <a:gd name="T7" fmla="*/ 116 h 149"/>
                <a:gd name="T8" fmla="*/ 75 w 148"/>
                <a:gd name="T9" fmla="*/ 120 h 149"/>
                <a:gd name="T10" fmla="*/ 85 w 148"/>
                <a:gd name="T11" fmla="*/ 118 h 149"/>
                <a:gd name="T12" fmla="*/ 102 w 148"/>
                <a:gd name="T13" fmla="*/ 111 h 149"/>
                <a:gd name="T14" fmla="*/ 146 w 148"/>
                <a:gd name="T15" fmla="*/ 105 h 149"/>
                <a:gd name="T16" fmla="*/ 141 w 148"/>
                <a:gd name="T17" fmla="*/ 115 h 149"/>
                <a:gd name="T18" fmla="*/ 128 w 148"/>
                <a:gd name="T19" fmla="*/ 131 h 149"/>
                <a:gd name="T20" fmla="*/ 109 w 148"/>
                <a:gd name="T21" fmla="*/ 143 h 149"/>
                <a:gd name="T22" fmla="*/ 86 w 148"/>
                <a:gd name="T23" fmla="*/ 149 h 149"/>
                <a:gd name="T24" fmla="*/ 75 w 148"/>
                <a:gd name="T25" fmla="*/ 149 h 149"/>
                <a:gd name="T26" fmla="*/ 60 w 148"/>
                <a:gd name="T27" fmla="*/ 148 h 149"/>
                <a:gd name="T28" fmla="*/ 45 w 148"/>
                <a:gd name="T29" fmla="*/ 144 h 149"/>
                <a:gd name="T30" fmla="*/ 22 w 148"/>
                <a:gd name="T31" fmla="*/ 128 h 149"/>
                <a:gd name="T32" fmla="*/ 6 w 148"/>
                <a:gd name="T33" fmla="*/ 104 h 149"/>
                <a:gd name="T34" fmla="*/ 1 w 148"/>
                <a:gd name="T35" fmla="*/ 90 h 149"/>
                <a:gd name="T36" fmla="*/ 0 w 148"/>
                <a:gd name="T37" fmla="*/ 74 h 149"/>
                <a:gd name="T38" fmla="*/ 0 w 148"/>
                <a:gd name="T39" fmla="*/ 67 h 149"/>
                <a:gd name="T40" fmla="*/ 6 w 148"/>
                <a:gd name="T41" fmla="*/ 45 h 149"/>
                <a:gd name="T42" fmla="*/ 22 w 148"/>
                <a:gd name="T43" fmla="*/ 22 h 149"/>
                <a:gd name="T44" fmla="*/ 45 w 148"/>
                <a:gd name="T45" fmla="*/ 6 h 149"/>
                <a:gd name="T46" fmla="*/ 58 w 148"/>
                <a:gd name="T47" fmla="*/ 1 h 149"/>
                <a:gd name="T48" fmla="*/ 74 w 148"/>
                <a:gd name="T49" fmla="*/ 0 h 149"/>
                <a:gd name="T50" fmla="*/ 81 w 148"/>
                <a:gd name="T51" fmla="*/ 0 h 149"/>
                <a:gd name="T52" fmla="*/ 96 w 148"/>
                <a:gd name="T53" fmla="*/ 4 h 149"/>
                <a:gd name="T54" fmla="*/ 116 w 148"/>
                <a:gd name="T55" fmla="*/ 12 h 149"/>
                <a:gd name="T56" fmla="*/ 135 w 148"/>
                <a:gd name="T57" fmla="*/ 33 h 149"/>
                <a:gd name="T58" fmla="*/ 146 w 148"/>
                <a:gd name="T59" fmla="*/ 60 h 149"/>
                <a:gd name="T60" fmla="*/ 148 w 148"/>
                <a:gd name="T61" fmla="*/ 74 h 149"/>
                <a:gd name="T62" fmla="*/ 147 w 148"/>
                <a:gd name="T63" fmla="*/ 85 h 149"/>
                <a:gd name="T64" fmla="*/ 35 w 148"/>
                <a:gd name="T65" fmla="*/ 57 h 149"/>
                <a:gd name="T66" fmla="*/ 113 w 148"/>
                <a:gd name="T67" fmla="*/ 57 h 149"/>
                <a:gd name="T68" fmla="*/ 107 w 148"/>
                <a:gd name="T69" fmla="*/ 46 h 149"/>
                <a:gd name="T70" fmla="*/ 99 w 148"/>
                <a:gd name="T71" fmla="*/ 38 h 149"/>
                <a:gd name="T72" fmla="*/ 88 w 148"/>
                <a:gd name="T73" fmla="*/ 32 h 149"/>
                <a:gd name="T74" fmla="*/ 74 w 148"/>
                <a:gd name="T75" fmla="*/ 29 h 149"/>
                <a:gd name="T76" fmla="*/ 67 w 148"/>
                <a:gd name="T77" fmla="*/ 31 h 149"/>
                <a:gd name="T78" fmla="*/ 55 w 148"/>
                <a:gd name="T79" fmla="*/ 34 h 149"/>
                <a:gd name="T80" fmla="*/ 45 w 148"/>
                <a:gd name="T81" fmla="*/ 42 h 149"/>
                <a:gd name="T82" fmla="*/ 38 w 148"/>
                <a:gd name="T83" fmla="*/ 51 h 149"/>
                <a:gd name="T84" fmla="*/ 35 w 148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9">
                  <a:moveTo>
                    <a:pt x="34" y="85"/>
                  </a:moveTo>
                  <a:lnTo>
                    <a:pt x="34" y="85"/>
                  </a:lnTo>
                  <a:lnTo>
                    <a:pt x="35" y="93"/>
                  </a:lnTo>
                  <a:lnTo>
                    <a:pt x="39" y="99"/>
                  </a:lnTo>
                  <a:lnTo>
                    <a:pt x="42" y="105"/>
                  </a:lnTo>
                  <a:lnTo>
                    <a:pt x="47" y="110"/>
                  </a:lnTo>
                  <a:lnTo>
                    <a:pt x="53" y="113"/>
                  </a:lnTo>
                  <a:lnTo>
                    <a:pt x="60" y="116"/>
                  </a:lnTo>
                  <a:lnTo>
                    <a:pt x="67" y="118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85" y="118"/>
                  </a:lnTo>
                  <a:lnTo>
                    <a:pt x="95" y="116"/>
                  </a:lnTo>
                  <a:lnTo>
                    <a:pt x="102" y="111"/>
                  </a:lnTo>
                  <a:lnTo>
                    <a:pt x="108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1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19" y="137"/>
                  </a:lnTo>
                  <a:lnTo>
                    <a:pt x="109" y="143"/>
                  </a:lnTo>
                  <a:lnTo>
                    <a:pt x="99" y="146"/>
                  </a:lnTo>
                  <a:lnTo>
                    <a:pt x="86" y="149"/>
                  </a:lnTo>
                  <a:lnTo>
                    <a:pt x="75" y="149"/>
                  </a:lnTo>
                  <a:lnTo>
                    <a:pt x="75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2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4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2" y="4"/>
                  </a:lnTo>
                  <a:lnTo>
                    <a:pt x="58" y="1"/>
                  </a:lnTo>
                  <a:lnTo>
                    <a:pt x="67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3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5" y="33"/>
                  </a:lnTo>
                  <a:lnTo>
                    <a:pt x="142" y="45"/>
                  </a:lnTo>
                  <a:lnTo>
                    <a:pt x="146" y="60"/>
                  </a:lnTo>
                  <a:lnTo>
                    <a:pt x="147" y="67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7" y="85"/>
                  </a:lnTo>
                  <a:lnTo>
                    <a:pt x="34" y="85"/>
                  </a:lnTo>
                  <a:close/>
                  <a:moveTo>
                    <a:pt x="35" y="57"/>
                  </a:moveTo>
                  <a:lnTo>
                    <a:pt x="113" y="57"/>
                  </a:lnTo>
                  <a:lnTo>
                    <a:pt x="113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3" y="42"/>
                  </a:lnTo>
                  <a:lnTo>
                    <a:pt x="99" y="38"/>
                  </a:lnTo>
                  <a:lnTo>
                    <a:pt x="92" y="34"/>
                  </a:lnTo>
                  <a:lnTo>
                    <a:pt x="88" y="32"/>
                  </a:lnTo>
                  <a:lnTo>
                    <a:pt x="80" y="31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5" y="57"/>
                  </a:lnTo>
                  <a:lnTo>
                    <a:pt x="35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1"/>
            <p:cNvSpPr>
              <a:spLocks/>
            </p:cNvSpPr>
            <p:nvPr userDrawn="1"/>
          </p:nvSpPr>
          <p:spPr bwMode="auto">
            <a:xfrm>
              <a:off x="1261" y="2409"/>
              <a:ext cx="11" cy="69"/>
            </a:xfrm>
            <a:custGeom>
              <a:avLst/>
              <a:gdLst>
                <a:gd name="T0" fmla="*/ 0 w 33"/>
                <a:gd name="T1" fmla="*/ 4 h 209"/>
                <a:gd name="T2" fmla="*/ 33 w 33"/>
                <a:gd name="T3" fmla="*/ 0 h 209"/>
                <a:gd name="T4" fmla="*/ 33 w 33"/>
                <a:gd name="T5" fmla="*/ 209 h 209"/>
                <a:gd name="T6" fmla="*/ 0 w 33"/>
                <a:gd name="T7" fmla="*/ 209 h 209"/>
                <a:gd name="T8" fmla="*/ 0 w 33"/>
                <a:gd name="T9" fmla="*/ 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3" h="209">
                  <a:moveTo>
                    <a:pt x="0" y="4"/>
                  </a:moveTo>
                  <a:lnTo>
                    <a:pt x="33" y="0"/>
                  </a:lnTo>
                  <a:lnTo>
                    <a:pt x="33" y="209"/>
                  </a:lnTo>
                  <a:lnTo>
                    <a:pt x="0" y="20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2"/>
            <p:cNvSpPr>
              <a:spLocks noEditPoints="1"/>
            </p:cNvSpPr>
            <p:nvPr userDrawn="1"/>
          </p:nvSpPr>
          <p:spPr bwMode="auto">
            <a:xfrm>
              <a:off x="1280" y="2429"/>
              <a:ext cx="46" cy="74"/>
            </a:xfrm>
            <a:custGeom>
              <a:avLst/>
              <a:gdLst>
                <a:gd name="T0" fmla="*/ 75 w 137"/>
                <a:gd name="T1" fmla="*/ 0 h 222"/>
                <a:gd name="T2" fmla="*/ 97 w 137"/>
                <a:gd name="T3" fmla="*/ 9 h 222"/>
                <a:gd name="T4" fmla="*/ 128 w 137"/>
                <a:gd name="T5" fmla="*/ 59 h 222"/>
                <a:gd name="T6" fmla="*/ 123 w 137"/>
                <a:gd name="T7" fmla="*/ 83 h 222"/>
                <a:gd name="T8" fmla="*/ 109 w 137"/>
                <a:gd name="T9" fmla="*/ 101 h 222"/>
                <a:gd name="T10" fmla="*/ 125 w 137"/>
                <a:gd name="T11" fmla="*/ 118 h 222"/>
                <a:gd name="T12" fmla="*/ 134 w 137"/>
                <a:gd name="T13" fmla="*/ 139 h 222"/>
                <a:gd name="T14" fmla="*/ 137 w 137"/>
                <a:gd name="T15" fmla="*/ 155 h 222"/>
                <a:gd name="T16" fmla="*/ 125 w 137"/>
                <a:gd name="T17" fmla="*/ 194 h 222"/>
                <a:gd name="T18" fmla="*/ 95 w 137"/>
                <a:gd name="T19" fmla="*/ 217 h 222"/>
                <a:gd name="T20" fmla="*/ 69 w 137"/>
                <a:gd name="T21" fmla="*/ 222 h 222"/>
                <a:gd name="T22" fmla="*/ 32 w 137"/>
                <a:gd name="T23" fmla="*/ 213 h 222"/>
                <a:gd name="T24" fmla="*/ 9 w 137"/>
                <a:gd name="T25" fmla="*/ 189 h 222"/>
                <a:gd name="T26" fmla="*/ 33 w 137"/>
                <a:gd name="T27" fmla="*/ 167 h 222"/>
                <a:gd name="T28" fmla="*/ 38 w 137"/>
                <a:gd name="T29" fmla="*/ 177 h 222"/>
                <a:gd name="T30" fmla="*/ 49 w 137"/>
                <a:gd name="T31" fmla="*/ 188 h 222"/>
                <a:gd name="T32" fmla="*/ 69 w 137"/>
                <a:gd name="T33" fmla="*/ 192 h 222"/>
                <a:gd name="T34" fmla="*/ 83 w 137"/>
                <a:gd name="T35" fmla="*/ 189 h 222"/>
                <a:gd name="T36" fmla="*/ 98 w 137"/>
                <a:gd name="T37" fmla="*/ 177 h 222"/>
                <a:gd name="T38" fmla="*/ 104 w 137"/>
                <a:gd name="T39" fmla="*/ 155 h 222"/>
                <a:gd name="T40" fmla="*/ 101 w 137"/>
                <a:gd name="T41" fmla="*/ 140 h 222"/>
                <a:gd name="T42" fmla="*/ 89 w 137"/>
                <a:gd name="T43" fmla="*/ 124 h 222"/>
                <a:gd name="T44" fmla="*/ 69 w 137"/>
                <a:gd name="T45" fmla="*/ 118 h 222"/>
                <a:gd name="T46" fmla="*/ 58 w 137"/>
                <a:gd name="T47" fmla="*/ 120 h 222"/>
                <a:gd name="T48" fmla="*/ 36 w 137"/>
                <a:gd name="T49" fmla="*/ 138 h 222"/>
                <a:gd name="T50" fmla="*/ 19 w 137"/>
                <a:gd name="T51" fmla="*/ 107 h 222"/>
                <a:gd name="T52" fmla="*/ 19 w 137"/>
                <a:gd name="T53" fmla="*/ 93 h 222"/>
                <a:gd name="T54" fmla="*/ 8 w 137"/>
                <a:gd name="T55" fmla="*/ 59 h 222"/>
                <a:gd name="T56" fmla="*/ 11 w 137"/>
                <a:gd name="T57" fmla="*/ 35 h 222"/>
                <a:gd name="T58" fmla="*/ 32 w 137"/>
                <a:gd name="T59" fmla="*/ 10 h 222"/>
                <a:gd name="T60" fmla="*/ 66 w 137"/>
                <a:gd name="T61" fmla="*/ 0 h 222"/>
                <a:gd name="T62" fmla="*/ 69 w 137"/>
                <a:gd name="T63" fmla="*/ 88 h 222"/>
                <a:gd name="T64" fmla="*/ 84 w 137"/>
                <a:gd name="T65" fmla="*/ 83 h 222"/>
                <a:gd name="T66" fmla="*/ 94 w 137"/>
                <a:gd name="T67" fmla="*/ 71 h 222"/>
                <a:gd name="T68" fmla="*/ 97 w 137"/>
                <a:gd name="T69" fmla="*/ 59 h 222"/>
                <a:gd name="T70" fmla="*/ 92 w 137"/>
                <a:gd name="T71" fmla="*/ 43 h 222"/>
                <a:gd name="T72" fmla="*/ 79 w 137"/>
                <a:gd name="T73" fmla="*/ 32 h 222"/>
                <a:gd name="T74" fmla="*/ 69 w 137"/>
                <a:gd name="T75" fmla="*/ 31 h 222"/>
                <a:gd name="T76" fmla="*/ 51 w 137"/>
                <a:gd name="T77" fmla="*/ 34 h 222"/>
                <a:gd name="T78" fmla="*/ 42 w 137"/>
                <a:gd name="T79" fmla="*/ 48 h 222"/>
                <a:gd name="T80" fmla="*/ 39 w 137"/>
                <a:gd name="T81" fmla="*/ 59 h 222"/>
                <a:gd name="T82" fmla="*/ 44 w 137"/>
                <a:gd name="T83" fmla="*/ 76 h 222"/>
                <a:gd name="T84" fmla="*/ 56 w 137"/>
                <a:gd name="T85" fmla="*/ 85 h 222"/>
                <a:gd name="T86" fmla="*/ 69 w 137"/>
                <a:gd name="T87" fmla="*/ 88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7" h="222">
                  <a:moveTo>
                    <a:pt x="66" y="0"/>
                  </a:moveTo>
                  <a:lnTo>
                    <a:pt x="66" y="0"/>
                  </a:lnTo>
                  <a:lnTo>
                    <a:pt x="75" y="0"/>
                  </a:lnTo>
                  <a:lnTo>
                    <a:pt x="82" y="1"/>
                  </a:lnTo>
                  <a:lnTo>
                    <a:pt x="89" y="5"/>
                  </a:lnTo>
                  <a:lnTo>
                    <a:pt x="97" y="9"/>
                  </a:lnTo>
                  <a:lnTo>
                    <a:pt x="97" y="1"/>
                  </a:lnTo>
                  <a:lnTo>
                    <a:pt x="128" y="1"/>
                  </a:lnTo>
                  <a:lnTo>
                    <a:pt x="128" y="59"/>
                  </a:lnTo>
                  <a:lnTo>
                    <a:pt x="128" y="59"/>
                  </a:lnTo>
                  <a:lnTo>
                    <a:pt x="127" y="72"/>
                  </a:lnTo>
                  <a:lnTo>
                    <a:pt x="123" y="83"/>
                  </a:lnTo>
                  <a:lnTo>
                    <a:pt x="117" y="93"/>
                  </a:lnTo>
                  <a:lnTo>
                    <a:pt x="109" y="101"/>
                  </a:lnTo>
                  <a:lnTo>
                    <a:pt x="109" y="101"/>
                  </a:lnTo>
                  <a:lnTo>
                    <a:pt x="115" y="106"/>
                  </a:lnTo>
                  <a:lnTo>
                    <a:pt x="120" y="112"/>
                  </a:lnTo>
                  <a:lnTo>
                    <a:pt x="125" y="118"/>
                  </a:lnTo>
                  <a:lnTo>
                    <a:pt x="129" y="124"/>
                  </a:lnTo>
                  <a:lnTo>
                    <a:pt x="132" y="132"/>
                  </a:lnTo>
                  <a:lnTo>
                    <a:pt x="134" y="139"/>
                  </a:lnTo>
                  <a:lnTo>
                    <a:pt x="136" y="146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4" y="170"/>
                  </a:lnTo>
                  <a:lnTo>
                    <a:pt x="131" y="183"/>
                  </a:lnTo>
                  <a:lnTo>
                    <a:pt x="125" y="194"/>
                  </a:lnTo>
                  <a:lnTo>
                    <a:pt x="116" y="204"/>
                  </a:lnTo>
                  <a:lnTo>
                    <a:pt x="106" y="212"/>
                  </a:lnTo>
                  <a:lnTo>
                    <a:pt x="95" y="217"/>
                  </a:lnTo>
                  <a:lnTo>
                    <a:pt x="82" y="221"/>
                  </a:lnTo>
                  <a:lnTo>
                    <a:pt x="69" y="222"/>
                  </a:lnTo>
                  <a:lnTo>
                    <a:pt x="69" y="222"/>
                  </a:lnTo>
                  <a:lnTo>
                    <a:pt x="55" y="221"/>
                  </a:lnTo>
                  <a:lnTo>
                    <a:pt x="43" y="218"/>
                  </a:lnTo>
                  <a:lnTo>
                    <a:pt x="32" y="213"/>
                  </a:lnTo>
                  <a:lnTo>
                    <a:pt x="22" y="207"/>
                  </a:lnTo>
                  <a:lnTo>
                    <a:pt x="15" y="199"/>
                  </a:lnTo>
                  <a:lnTo>
                    <a:pt x="9" y="189"/>
                  </a:lnTo>
                  <a:lnTo>
                    <a:pt x="3" y="178"/>
                  </a:lnTo>
                  <a:lnTo>
                    <a:pt x="0" y="167"/>
                  </a:lnTo>
                  <a:lnTo>
                    <a:pt x="33" y="167"/>
                  </a:lnTo>
                  <a:lnTo>
                    <a:pt x="33" y="167"/>
                  </a:lnTo>
                  <a:lnTo>
                    <a:pt x="36" y="172"/>
                  </a:lnTo>
                  <a:lnTo>
                    <a:pt x="38" y="177"/>
                  </a:lnTo>
                  <a:lnTo>
                    <a:pt x="42" y="181"/>
                  </a:lnTo>
                  <a:lnTo>
                    <a:pt x="45" y="184"/>
                  </a:lnTo>
                  <a:lnTo>
                    <a:pt x="49" y="188"/>
                  </a:lnTo>
                  <a:lnTo>
                    <a:pt x="55" y="190"/>
                  </a:lnTo>
                  <a:lnTo>
                    <a:pt x="61" y="192"/>
                  </a:lnTo>
                  <a:lnTo>
                    <a:pt x="69" y="192"/>
                  </a:lnTo>
                  <a:lnTo>
                    <a:pt x="69" y="192"/>
                  </a:lnTo>
                  <a:lnTo>
                    <a:pt x="76" y="192"/>
                  </a:lnTo>
                  <a:lnTo>
                    <a:pt x="83" y="189"/>
                  </a:lnTo>
                  <a:lnTo>
                    <a:pt x="89" y="187"/>
                  </a:lnTo>
                  <a:lnTo>
                    <a:pt x="94" y="182"/>
                  </a:lnTo>
                  <a:lnTo>
                    <a:pt x="98" y="177"/>
                  </a:lnTo>
                  <a:lnTo>
                    <a:pt x="101" y="170"/>
                  </a:lnTo>
                  <a:lnTo>
                    <a:pt x="103" y="162"/>
                  </a:lnTo>
                  <a:lnTo>
                    <a:pt x="104" y="155"/>
                  </a:lnTo>
                  <a:lnTo>
                    <a:pt x="104" y="155"/>
                  </a:lnTo>
                  <a:lnTo>
                    <a:pt x="103" y="148"/>
                  </a:lnTo>
                  <a:lnTo>
                    <a:pt x="101" y="140"/>
                  </a:lnTo>
                  <a:lnTo>
                    <a:pt x="98" y="134"/>
                  </a:lnTo>
                  <a:lnTo>
                    <a:pt x="94" y="128"/>
                  </a:lnTo>
                  <a:lnTo>
                    <a:pt x="89" y="124"/>
                  </a:lnTo>
                  <a:lnTo>
                    <a:pt x="83" y="121"/>
                  </a:lnTo>
                  <a:lnTo>
                    <a:pt x="76" y="118"/>
                  </a:lnTo>
                  <a:lnTo>
                    <a:pt x="69" y="118"/>
                  </a:lnTo>
                  <a:lnTo>
                    <a:pt x="69" y="118"/>
                  </a:lnTo>
                  <a:lnTo>
                    <a:pt x="62" y="118"/>
                  </a:lnTo>
                  <a:lnTo>
                    <a:pt x="58" y="120"/>
                  </a:lnTo>
                  <a:lnTo>
                    <a:pt x="49" y="123"/>
                  </a:lnTo>
                  <a:lnTo>
                    <a:pt x="42" y="129"/>
                  </a:lnTo>
                  <a:lnTo>
                    <a:pt x="36" y="138"/>
                  </a:lnTo>
                  <a:lnTo>
                    <a:pt x="13" y="115"/>
                  </a:lnTo>
                  <a:lnTo>
                    <a:pt x="13" y="115"/>
                  </a:lnTo>
                  <a:lnTo>
                    <a:pt x="19" y="107"/>
                  </a:lnTo>
                  <a:lnTo>
                    <a:pt x="27" y="101"/>
                  </a:lnTo>
                  <a:lnTo>
                    <a:pt x="27" y="101"/>
                  </a:lnTo>
                  <a:lnTo>
                    <a:pt x="19" y="93"/>
                  </a:lnTo>
                  <a:lnTo>
                    <a:pt x="13" y="83"/>
                  </a:lnTo>
                  <a:lnTo>
                    <a:pt x="9" y="72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9" y="48"/>
                  </a:lnTo>
                  <a:lnTo>
                    <a:pt x="11" y="35"/>
                  </a:lnTo>
                  <a:lnTo>
                    <a:pt x="17" y="26"/>
                  </a:lnTo>
                  <a:lnTo>
                    <a:pt x="23" y="17"/>
                  </a:lnTo>
                  <a:lnTo>
                    <a:pt x="32" y="10"/>
                  </a:lnTo>
                  <a:lnTo>
                    <a:pt x="43" y="5"/>
                  </a:lnTo>
                  <a:lnTo>
                    <a:pt x="54" y="1"/>
                  </a:lnTo>
                  <a:lnTo>
                    <a:pt x="66" y="0"/>
                  </a:lnTo>
                  <a:lnTo>
                    <a:pt x="66" y="0"/>
                  </a:lnTo>
                  <a:close/>
                  <a:moveTo>
                    <a:pt x="69" y="88"/>
                  </a:moveTo>
                  <a:lnTo>
                    <a:pt x="69" y="88"/>
                  </a:lnTo>
                  <a:lnTo>
                    <a:pt x="73" y="87"/>
                  </a:lnTo>
                  <a:lnTo>
                    <a:pt x="79" y="85"/>
                  </a:lnTo>
                  <a:lnTo>
                    <a:pt x="84" y="83"/>
                  </a:lnTo>
                  <a:lnTo>
                    <a:pt x="88" y="79"/>
                  </a:lnTo>
                  <a:lnTo>
                    <a:pt x="92" y="76"/>
                  </a:lnTo>
                  <a:lnTo>
                    <a:pt x="94" y="71"/>
                  </a:lnTo>
                  <a:lnTo>
                    <a:pt x="95" y="66"/>
                  </a:lnTo>
                  <a:lnTo>
                    <a:pt x="97" y="59"/>
                  </a:lnTo>
                  <a:lnTo>
                    <a:pt x="97" y="59"/>
                  </a:lnTo>
                  <a:lnTo>
                    <a:pt x="95" y="53"/>
                  </a:lnTo>
                  <a:lnTo>
                    <a:pt x="94" y="48"/>
                  </a:lnTo>
                  <a:lnTo>
                    <a:pt x="92" y="43"/>
                  </a:lnTo>
                  <a:lnTo>
                    <a:pt x="88" y="38"/>
                  </a:lnTo>
                  <a:lnTo>
                    <a:pt x="84" y="34"/>
                  </a:lnTo>
                  <a:lnTo>
                    <a:pt x="79" y="32"/>
                  </a:lnTo>
                  <a:lnTo>
                    <a:pt x="73" y="31"/>
                  </a:lnTo>
                  <a:lnTo>
                    <a:pt x="69" y="31"/>
                  </a:lnTo>
                  <a:lnTo>
                    <a:pt x="69" y="31"/>
                  </a:lnTo>
                  <a:lnTo>
                    <a:pt x="62" y="31"/>
                  </a:lnTo>
                  <a:lnTo>
                    <a:pt x="56" y="32"/>
                  </a:lnTo>
                  <a:lnTo>
                    <a:pt x="51" y="34"/>
                  </a:lnTo>
                  <a:lnTo>
                    <a:pt x="48" y="38"/>
                  </a:lnTo>
                  <a:lnTo>
                    <a:pt x="44" y="43"/>
                  </a:lnTo>
                  <a:lnTo>
                    <a:pt x="42" y="48"/>
                  </a:lnTo>
                  <a:lnTo>
                    <a:pt x="41" y="53"/>
                  </a:lnTo>
                  <a:lnTo>
                    <a:pt x="39" y="59"/>
                  </a:lnTo>
                  <a:lnTo>
                    <a:pt x="39" y="59"/>
                  </a:lnTo>
                  <a:lnTo>
                    <a:pt x="41" y="66"/>
                  </a:lnTo>
                  <a:lnTo>
                    <a:pt x="42" y="71"/>
                  </a:lnTo>
                  <a:lnTo>
                    <a:pt x="44" y="76"/>
                  </a:lnTo>
                  <a:lnTo>
                    <a:pt x="48" y="79"/>
                  </a:lnTo>
                  <a:lnTo>
                    <a:pt x="51" y="83"/>
                  </a:lnTo>
                  <a:lnTo>
                    <a:pt x="56" y="85"/>
                  </a:lnTo>
                  <a:lnTo>
                    <a:pt x="62" y="87"/>
                  </a:lnTo>
                  <a:lnTo>
                    <a:pt x="69" y="88"/>
                  </a:lnTo>
                  <a:lnTo>
                    <a:pt x="69" y="8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3"/>
            <p:cNvSpPr>
              <a:spLocks noEditPoints="1"/>
            </p:cNvSpPr>
            <p:nvPr userDrawn="1"/>
          </p:nvSpPr>
          <p:spPr bwMode="auto">
            <a:xfrm>
              <a:off x="1335" y="2410"/>
              <a:ext cx="14" cy="68"/>
            </a:xfrm>
            <a:custGeom>
              <a:avLst/>
              <a:gdLst>
                <a:gd name="T0" fmla="*/ 22 w 42"/>
                <a:gd name="T1" fmla="*/ 0 h 206"/>
                <a:gd name="T2" fmla="*/ 22 w 42"/>
                <a:gd name="T3" fmla="*/ 0 h 206"/>
                <a:gd name="T4" fmla="*/ 25 w 42"/>
                <a:gd name="T5" fmla="*/ 0 h 206"/>
                <a:gd name="T6" fmla="*/ 29 w 42"/>
                <a:gd name="T7" fmla="*/ 1 h 206"/>
                <a:gd name="T8" fmla="*/ 33 w 42"/>
                <a:gd name="T9" fmla="*/ 3 h 206"/>
                <a:gd name="T10" fmla="*/ 36 w 42"/>
                <a:gd name="T11" fmla="*/ 6 h 206"/>
                <a:gd name="T12" fmla="*/ 39 w 42"/>
                <a:gd name="T13" fmla="*/ 9 h 206"/>
                <a:gd name="T14" fmla="*/ 41 w 42"/>
                <a:gd name="T15" fmla="*/ 13 h 206"/>
                <a:gd name="T16" fmla="*/ 42 w 42"/>
                <a:gd name="T17" fmla="*/ 17 h 206"/>
                <a:gd name="T18" fmla="*/ 42 w 42"/>
                <a:gd name="T19" fmla="*/ 22 h 206"/>
                <a:gd name="T20" fmla="*/ 42 w 42"/>
                <a:gd name="T21" fmla="*/ 22 h 206"/>
                <a:gd name="T22" fmla="*/ 42 w 42"/>
                <a:gd name="T23" fmla="*/ 26 h 206"/>
                <a:gd name="T24" fmla="*/ 41 w 42"/>
                <a:gd name="T25" fmla="*/ 30 h 206"/>
                <a:gd name="T26" fmla="*/ 39 w 42"/>
                <a:gd name="T27" fmla="*/ 34 h 206"/>
                <a:gd name="T28" fmla="*/ 36 w 42"/>
                <a:gd name="T29" fmla="*/ 37 h 206"/>
                <a:gd name="T30" fmla="*/ 33 w 42"/>
                <a:gd name="T31" fmla="*/ 40 h 206"/>
                <a:gd name="T32" fmla="*/ 29 w 42"/>
                <a:gd name="T33" fmla="*/ 41 h 206"/>
                <a:gd name="T34" fmla="*/ 25 w 42"/>
                <a:gd name="T35" fmla="*/ 42 h 206"/>
                <a:gd name="T36" fmla="*/ 22 w 42"/>
                <a:gd name="T37" fmla="*/ 43 h 206"/>
                <a:gd name="T38" fmla="*/ 22 w 42"/>
                <a:gd name="T39" fmla="*/ 43 h 206"/>
                <a:gd name="T40" fmla="*/ 17 w 42"/>
                <a:gd name="T41" fmla="*/ 42 h 206"/>
                <a:gd name="T42" fmla="*/ 13 w 42"/>
                <a:gd name="T43" fmla="*/ 41 h 206"/>
                <a:gd name="T44" fmla="*/ 9 w 42"/>
                <a:gd name="T45" fmla="*/ 40 h 206"/>
                <a:gd name="T46" fmla="*/ 6 w 42"/>
                <a:gd name="T47" fmla="*/ 37 h 206"/>
                <a:gd name="T48" fmla="*/ 3 w 42"/>
                <a:gd name="T49" fmla="*/ 34 h 206"/>
                <a:gd name="T50" fmla="*/ 1 w 42"/>
                <a:gd name="T51" fmla="*/ 30 h 206"/>
                <a:gd name="T52" fmla="*/ 0 w 42"/>
                <a:gd name="T53" fmla="*/ 26 h 206"/>
                <a:gd name="T54" fmla="*/ 0 w 42"/>
                <a:gd name="T55" fmla="*/ 22 h 206"/>
                <a:gd name="T56" fmla="*/ 0 w 42"/>
                <a:gd name="T57" fmla="*/ 22 h 206"/>
                <a:gd name="T58" fmla="*/ 0 w 42"/>
                <a:gd name="T59" fmla="*/ 17 h 206"/>
                <a:gd name="T60" fmla="*/ 1 w 42"/>
                <a:gd name="T61" fmla="*/ 13 h 206"/>
                <a:gd name="T62" fmla="*/ 3 w 42"/>
                <a:gd name="T63" fmla="*/ 9 h 206"/>
                <a:gd name="T64" fmla="*/ 6 w 42"/>
                <a:gd name="T65" fmla="*/ 6 h 206"/>
                <a:gd name="T66" fmla="*/ 9 w 42"/>
                <a:gd name="T67" fmla="*/ 3 h 206"/>
                <a:gd name="T68" fmla="*/ 13 w 42"/>
                <a:gd name="T69" fmla="*/ 1 h 206"/>
                <a:gd name="T70" fmla="*/ 17 w 42"/>
                <a:gd name="T71" fmla="*/ 0 h 206"/>
                <a:gd name="T72" fmla="*/ 22 w 42"/>
                <a:gd name="T73" fmla="*/ 0 h 206"/>
                <a:gd name="T74" fmla="*/ 22 w 42"/>
                <a:gd name="T75" fmla="*/ 0 h 206"/>
                <a:gd name="T76" fmla="*/ 5 w 42"/>
                <a:gd name="T77" fmla="*/ 59 h 206"/>
                <a:gd name="T78" fmla="*/ 37 w 42"/>
                <a:gd name="T79" fmla="*/ 59 h 206"/>
                <a:gd name="T80" fmla="*/ 37 w 42"/>
                <a:gd name="T81" fmla="*/ 206 h 206"/>
                <a:gd name="T82" fmla="*/ 5 w 42"/>
                <a:gd name="T83" fmla="*/ 206 h 206"/>
                <a:gd name="T84" fmla="*/ 5 w 42"/>
                <a:gd name="T85" fmla="*/ 59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2" h="206">
                  <a:moveTo>
                    <a:pt x="22" y="0"/>
                  </a:moveTo>
                  <a:lnTo>
                    <a:pt x="22" y="0"/>
                  </a:lnTo>
                  <a:lnTo>
                    <a:pt x="25" y="0"/>
                  </a:lnTo>
                  <a:lnTo>
                    <a:pt x="29" y="1"/>
                  </a:lnTo>
                  <a:lnTo>
                    <a:pt x="33" y="3"/>
                  </a:lnTo>
                  <a:lnTo>
                    <a:pt x="36" y="6"/>
                  </a:lnTo>
                  <a:lnTo>
                    <a:pt x="39" y="9"/>
                  </a:lnTo>
                  <a:lnTo>
                    <a:pt x="41" y="13"/>
                  </a:lnTo>
                  <a:lnTo>
                    <a:pt x="42" y="17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6"/>
                  </a:lnTo>
                  <a:lnTo>
                    <a:pt x="41" y="30"/>
                  </a:lnTo>
                  <a:lnTo>
                    <a:pt x="39" y="34"/>
                  </a:lnTo>
                  <a:lnTo>
                    <a:pt x="36" y="37"/>
                  </a:lnTo>
                  <a:lnTo>
                    <a:pt x="33" y="40"/>
                  </a:lnTo>
                  <a:lnTo>
                    <a:pt x="29" y="41"/>
                  </a:lnTo>
                  <a:lnTo>
                    <a:pt x="25" y="42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17" y="42"/>
                  </a:lnTo>
                  <a:lnTo>
                    <a:pt x="13" y="41"/>
                  </a:lnTo>
                  <a:lnTo>
                    <a:pt x="9" y="40"/>
                  </a:lnTo>
                  <a:lnTo>
                    <a:pt x="6" y="37"/>
                  </a:lnTo>
                  <a:lnTo>
                    <a:pt x="3" y="34"/>
                  </a:lnTo>
                  <a:lnTo>
                    <a:pt x="1" y="30"/>
                  </a:lnTo>
                  <a:lnTo>
                    <a:pt x="0" y="26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1" y="13"/>
                  </a:lnTo>
                  <a:lnTo>
                    <a:pt x="3" y="9"/>
                  </a:lnTo>
                  <a:lnTo>
                    <a:pt x="6" y="6"/>
                  </a:lnTo>
                  <a:lnTo>
                    <a:pt x="9" y="3"/>
                  </a:lnTo>
                  <a:lnTo>
                    <a:pt x="13" y="1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5" y="59"/>
                  </a:moveTo>
                  <a:lnTo>
                    <a:pt x="37" y="59"/>
                  </a:lnTo>
                  <a:lnTo>
                    <a:pt x="37" y="206"/>
                  </a:lnTo>
                  <a:lnTo>
                    <a:pt x="5" y="206"/>
                  </a:lnTo>
                  <a:lnTo>
                    <a:pt x="5" y="5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4"/>
            <p:cNvSpPr>
              <a:spLocks noEditPoints="1"/>
            </p:cNvSpPr>
            <p:nvPr userDrawn="1"/>
          </p:nvSpPr>
          <p:spPr bwMode="auto">
            <a:xfrm>
              <a:off x="1357" y="2429"/>
              <a:ext cx="49" cy="50"/>
            </a:xfrm>
            <a:custGeom>
              <a:avLst/>
              <a:gdLst>
                <a:gd name="T0" fmla="*/ 148 w 148"/>
                <a:gd name="T1" fmla="*/ 148 h 149"/>
                <a:gd name="T2" fmla="*/ 116 w 148"/>
                <a:gd name="T3" fmla="*/ 133 h 149"/>
                <a:gd name="T4" fmla="*/ 109 w 148"/>
                <a:gd name="T5" fmla="*/ 138 h 149"/>
                <a:gd name="T6" fmla="*/ 88 w 148"/>
                <a:gd name="T7" fmla="*/ 148 h 149"/>
                <a:gd name="T8" fmla="*/ 74 w 148"/>
                <a:gd name="T9" fmla="*/ 149 h 149"/>
                <a:gd name="T10" fmla="*/ 59 w 148"/>
                <a:gd name="T11" fmla="*/ 148 h 149"/>
                <a:gd name="T12" fmla="*/ 32 w 148"/>
                <a:gd name="T13" fmla="*/ 138 h 149"/>
                <a:gd name="T14" fmla="*/ 13 w 148"/>
                <a:gd name="T15" fmla="*/ 117 h 149"/>
                <a:gd name="T16" fmla="*/ 4 w 148"/>
                <a:gd name="T17" fmla="*/ 98 h 149"/>
                <a:gd name="T18" fmla="*/ 0 w 148"/>
                <a:gd name="T19" fmla="*/ 83 h 149"/>
                <a:gd name="T20" fmla="*/ 0 w 148"/>
                <a:gd name="T21" fmla="*/ 74 h 149"/>
                <a:gd name="T22" fmla="*/ 2 w 148"/>
                <a:gd name="T23" fmla="*/ 59 h 149"/>
                <a:gd name="T24" fmla="*/ 7 w 148"/>
                <a:gd name="T25" fmla="*/ 44 h 149"/>
                <a:gd name="T26" fmla="*/ 21 w 148"/>
                <a:gd name="T27" fmla="*/ 21 h 149"/>
                <a:gd name="T28" fmla="*/ 44 w 148"/>
                <a:gd name="T29" fmla="*/ 5 h 149"/>
                <a:gd name="T30" fmla="*/ 74 w 148"/>
                <a:gd name="T31" fmla="*/ 0 h 149"/>
                <a:gd name="T32" fmla="*/ 81 w 148"/>
                <a:gd name="T33" fmla="*/ 0 h 149"/>
                <a:gd name="T34" fmla="*/ 99 w 148"/>
                <a:gd name="T35" fmla="*/ 5 h 149"/>
                <a:gd name="T36" fmla="*/ 116 w 148"/>
                <a:gd name="T37" fmla="*/ 17 h 149"/>
                <a:gd name="T38" fmla="*/ 148 w 148"/>
                <a:gd name="T39" fmla="*/ 1 h 149"/>
                <a:gd name="T40" fmla="*/ 75 w 148"/>
                <a:gd name="T41" fmla="*/ 31 h 149"/>
                <a:gd name="T42" fmla="*/ 58 w 148"/>
                <a:gd name="T43" fmla="*/ 34 h 149"/>
                <a:gd name="T44" fmla="*/ 44 w 148"/>
                <a:gd name="T45" fmla="*/ 44 h 149"/>
                <a:gd name="T46" fmla="*/ 36 w 148"/>
                <a:gd name="T47" fmla="*/ 57 h 149"/>
                <a:gd name="T48" fmla="*/ 32 w 148"/>
                <a:gd name="T49" fmla="*/ 74 h 149"/>
                <a:gd name="T50" fmla="*/ 33 w 148"/>
                <a:gd name="T51" fmla="*/ 83 h 149"/>
                <a:gd name="T52" fmla="*/ 39 w 148"/>
                <a:gd name="T53" fmla="*/ 99 h 149"/>
                <a:gd name="T54" fmla="*/ 50 w 148"/>
                <a:gd name="T55" fmla="*/ 111 h 149"/>
                <a:gd name="T56" fmla="*/ 66 w 148"/>
                <a:gd name="T57" fmla="*/ 117 h 149"/>
                <a:gd name="T58" fmla="*/ 75 w 148"/>
                <a:gd name="T59" fmla="*/ 118 h 149"/>
                <a:gd name="T60" fmla="*/ 92 w 148"/>
                <a:gd name="T61" fmla="*/ 115 h 149"/>
                <a:gd name="T62" fmla="*/ 105 w 148"/>
                <a:gd name="T63" fmla="*/ 105 h 149"/>
                <a:gd name="T64" fmla="*/ 114 w 148"/>
                <a:gd name="T65" fmla="*/ 92 h 149"/>
                <a:gd name="T66" fmla="*/ 117 w 148"/>
                <a:gd name="T67" fmla="*/ 74 h 149"/>
                <a:gd name="T68" fmla="*/ 116 w 148"/>
                <a:gd name="T69" fmla="*/ 66 h 149"/>
                <a:gd name="T70" fmla="*/ 110 w 148"/>
                <a:gd name="T71" fmla="*/ 50 h 149"/>
                <a:gd name="T72" fmla="*/ 99 w 148"/>
                <a:gd name="T73" fmla="*/ 38 h 149"/>
                <a:gd name="T74" fmla="*/ 83 w 148"/>
                <a:gd name="T75" fmla="*/ 32 h 149"/>
                <a:gd name="T76" fmla="*/ 75 w 148"/>
                <a:gd name="T77" fmla="*/ 3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8" h="149">
                  <a:moveTo>
                    <a:pt x="148" y="1"/>
                  </a:moveTo>
                  <a:lnTo>
                    <a:pt x="148" y="148"/>
                  </a:lnTo>
                  <a:lnTo>
                    <a:pt x="116" y="148"/>
                  </a:lnTo>
                  <a:lnTo>
                    <a:pt x="116" y="133"/>
                  </a:lnTo>
                  <a:lnTo>
                    <a:pt x="116" y="133"/>
                  </a:lnTo>
                  <a:lnTo>
                    <a:pt x="109" y="138"/>
                  </a:lnTo>
                  <a:lnTo>
                    <a:pt x="100" y="144"/>
                  </a:lnTo>
                  <a:lnTo>
                    <a:pt x="88" y="148"/>
                  </a:lnTo>
                  <a:lnTo>
                    <a:pt x="81" y="149"/>
                  </a:lnTo>
                  <a:lnTo>
                    <a:pt x="74" y="149"/>
                  </a:lnTo>
                  <a:lnTo>
                    <a:pt x="74" y="149"/>
                  </a:lnTo>
                  <a:lnTo>
                    <a:pt x="59" y="148"/>
                  </a:lnTo>
                  <a:lnTo>
                    <a:pt x="44" y="144"/>
                  </a:lnTo>
                  <a:lnTo>
                    <a:pt x="32" y="138"/>
                  </a:lnTo>
                  <a:lnTo>
                    <a:pt x="21" y="128"/>
                  </a:lnTo>
                  <a:lnTo>
                    <a:pt x="13" y="117"/>
                  </a:lnTo>
                  <a:lnTo>
                    <a:pt x="7" y="105"/>
                  </a:lnTo>
                  <a:lnTo>
                    <a:pt x="4" y="98"/>
                  </a:lnTo>
                  <a:lnTo>
                    <a:pt x="2" y="90"/>
                  </a:lnTo>
                  <a:lnTo>
                    <a:pt x="0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2" y="59"/>
                  </a:lnTo>
                  <a:lnTo>
                    <a:pt x="4" y="51"/>
                  </a:lnTo>
                  <a:lnTo>
                    <a:pt x="7" y="44"/>
                  </a:lnTo>
                  <a:lnTo>
                    <a:pt x="13" y="32"/>
                  </a:lnTo>
                  <a:lnTo>
                    <a:pt x="21" y="21"/>
                  </a:lnTo>
                  <a:lnTo>
                    <a:pt x="32" y="12"/>
                  </a:lnTo>
                  <a:lnTo>
                    <a:pt x="44" y="5"/>
                  </a:lnTo>
                  <a:lnTo>
                    <a:pt x="59" y="1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88" y="1"/>
                  </a:lnTo>
                  <a:lnTo>
                    <a:pt x="99" y="5"/>
                  </a:lnTo>
                  <a:lnTo>
                    <a:pt x="109" y="11"/>
                  </a:lnTo>
                  <a:lnTo>
                    <a:pt x="116" y="17"/>
                  </a:lnTo>
                  <a:lnTo>
                    <a:pt x="116" y="1"/>
                  </a:lnTo>
                  <a:lnTo>
                    <a:pt x="148" y="1"/>
                  </a:lnTo>
                  <a:close/>
                  <a:moveTo>
                    <a:pt x="75" y="31"/>
                  </a:moveTo>
                  <a:lnTo>
                    <a:pt x="75" y="31"/>
                  </a:lnTo>
                  <a:lnTo>
                    <a:pt x="66" y="32"/>
                  </a:lnTo>
                  <a:lnTo>
                    <a:pt x="58" y="34"/>
                  </a:lnTo>
                  <a:lnTo>
                    <a:pt x="50" y="38"/>
                  </a:lnTo>
                  <a:lnTo>
                    <a:pt x="44" y="44"/>
                  </a:lnTo>
                  <a:lnTo>
                    <a:pt x="39" y="50"/>
                  </a:lnTo>
                  <a:lnTo>
                    <a:pt x="36" y="57"/>
                  </a:lnTo>
                  <a:lnTo>
                    <a:pt x="33" y="66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3" y="83"/>
                  </a:lnTo>
                  <a:lnTo>
                    <a:pt x="36" y="92"/>
                  </a:lnTo>
                  <a:lnTo>
                    <a:pt x="39" y="99"/>
                  </a:lnTo>
                  <a:lnTo>
                    <a:pt x="44" y="105"/>
                  </a:lnTo>
                  <a:lnTo>
                    <a:pt x="50" y="111"/>
                  </a:lnTo>
                  <a:lnTo>
                    <a:pt x="58" y="115"/>
                  </a:lnTo>
                  <a:lnTo>
                    <a:pt x="66" y="117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83" y="117"/>
                  </a:lnTo>
                  <a:lnTo>
                    <a:pt x="92" y="115"/>
                  </a:lnTo>
                  <a:lnTo>
                    <a:pt x="99" y="111"/>
                  </a:lnTo>
                  <a:lnTo>
                    <a:pt x="105" y="105"/>
                  </a:lnTo>
                  <a:lnTo>
                    <a:pt x="110" y="99"/>
                  </a:lnTo>
                  <a:lnTo>
                    <a:pt x="114" y="92"/>
                  </a:lnTo>
                  <a:lnTo>
                    <a:pt x="116" y="83"/>
                  </a:lnTo>
                  <a:lnTo>
                    <a:pt x="117" y="74"/>
                  </a:lnTo>
                  <a:lnTo>
                    <a:pt x="117" y="74"/>
                  </a:lnTo>
                  <a:lnTo>
                    <a:pt x="116" y="66"/>
                  </a:lnTo>
                  <a:lnTo>
                    <a:pt x="114" y="57"/>
                  </a:lnTo>
                  <a:lnTo>
                    <a:pt x="110" y="50"/>
                  </a:lnTo>
                  <a:lnTo>
                    <a:pt x="105" y="44"/>
                  </a:lnTo>
                  <a:lnTo>
                    <a:pt x="99" y="38"/>
                  </a:lnTo>
                  <a:lnTo>
                    <a:pt x="92" y="34"/>
                  </a:lnTo>
                  <a:lnTo>
                    <a:pt x="83" y="32"/>
                  </a:lnTo>
                  <a:lnTo>
                    <a:pt x="75" y="31"/>
                  </a:lnTo>
                  <a:lnTo>
                    <a:pt x="75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5"/>
            <p:cNvSpPr>
              <a:spLocks/>
            </p:cNvSpPr>
            <p:nvPr userDrawn="1"/>
          </p:nvSpPr>
          <p:spPr bwMode="auto">
            <a:xfrm>
              <a:off x="1419" y="2429"/>
              <a:ext cx="42" cy="49"/>
            </a:xfrm>
            <a:custGeom>
              <a:avLst/>
              <a:gdLst>
                <a:gd name="T0" fmla="*/ 0 w 127"/>
                <a:gd name="T1" fmla="*/ 1 h 148"/>
                <a:gd name="T2" fmla="*/ 31 w 127"/>
                <a:gd name="T3" fmla="*/ 1 h 148"/>
                <a:gd name="T4" fmla="*/ 31 w 127"/>
                <a:gd name="T5" fmla="*/ 18 h 148"/>
                <a:gd name="T6" fmla="*/ 31 w 127"/>
                <a:gd name="T7" fmla="*/ 18 h 148"/>
                <a:gd name="T8" fmla="*/ 37 w 127"/>
                <a:gd name="T9" fmla="*/ 12 h 148"/>
                <a:gd name="T10" fmla="*/ 46 w 127"/>
                <a:gd name="T11" fmla="*/ 6 h 148"/>
                <a:gd name="T12" fmla="*/ 52 w 127"/>
                <a:gd name="T13" fmla="*/ 4 h 148"/>
                <a:gd name="T14" fmla="*/ 58 w 127"/>
                <a:gd name="T15" fmla="*/ 1 h 148"/>
                <a:gd name="T16" fmla="*/ 64 w 127"/>
                <a:gd name="T17" fmla="*/ 0 h 148"/>
                <a:gd name="T18" fmla="*/ 71 w 127"/>
                <a:gd name="T19" fmla="*/ 0 h 148"/>
                <a:gd name="T20" fmla="*/ 71 w 127"/>
                <a:gd name="T21" fmla="*/ 0 h 148"/>
                <a:gd name="T22" fmla="*/ 85 w 127"/>
                <a:gd name="T23" fmla="*/ 1 h 148"/>
                <a:gd name="T24" fmla="*/ 96 w 127"/>
                <a:gd name="T25" fmla="*/ 4 h 148"/>
                <a:gd name="T26" fmla="*/ 106 w 127"/>
                <a:gd name="T27" fmla="*/ 9 h 148"/>
                <a:gd name="T28" fmla="*/ 113 w 127"/>
                <a:gd name="T29" fmla="*/ 16 h 148"/>
                <a:gd name="T30" fmla="*/ 119 w 127"/>
                <a:gd name="T31" fmla="*/ 24 h 148"/>
                <a:gd name="T32" fmla="*/ 124 w 127"/>
                <a:gd name="T33" fmla="*/ 34 h 148"/>
                <a:gd name="T34" fmla="*/ 126 w 127"/>
                <a:gd name="T35" fmla="*/ 46 h 148"/>
                <a:gd name="T36" fmla="*/ 127 w 127"/>
                <a:gd name="T37" fmla="*/ 60 h 148"/>
                <a:gd name="T38" fmla="*/ 127 w 127"/>
                <a:gd name="T39" fmla="*/ 148 h 148"/>
                <a:gd name="T40" fmla="*/ 96 w 127"/>
                <a:gd name="T41" fmla="*/ 148 h 148"/>
                <a:gd name="T42" fmla="*/ 96 w 127"/>
                <a:gd name="T43" fmla="*/ 67 h 148"/>
                <a:gd name="T44" fmla="*/ 96 w 127"/>
                <a:gd name="T45" fmla="*/ 67 h 148"/>
                <a:gd name="T46" fmla="*/ 95 w 127"/>
                <a:gd name="T47" fmla="*/ 59 h 148"/>
                <a:gd name="T48" fmla="*/ 93 w 127"/>
                <a:gd name="T49" fmla="*/ 50 h 148"/>
                <a:gd name="T50" fmla="*/ 91 w 127"/>
                <a:gd name="T51" fmla="*/ 44 h 148"/>
                <a:gd name="T52" fmla="*/ 87 w 127"/>
                <a:gd name="T53" fmla="*/ 39 h 148"/>
                <a:gd name="T54" fmla="*/ 82 w 127"/>
                <a:gd name="T55" fmla="*/ 35 h 148"/>
                <a:gd name="T56" fmla="*/ 78 w 127"/>
                <a:gd name="T57" fmla="*/ 32 h 148"/>
                <a:gd name="T58" fmla="*/ 71 w 127"/>
                <a:gd name="T59" fmla="*/ 31 h 148"/>
                <a:gd name="T60" fmla="*/ 64 w 127"/>
                <a:gd name="T61" fmla="*/ 31 h 148"/>
                <a:gd name="T62" fmla="*/ 64 w 127"/>
                <a:gd name="T63" fmla="*/ 31 h 148"/>
                <a:gd name="T64" fmla="*/ 56 w 127"/>
                <a:gd name="T65" fmla="*/ 31 h 148"/>
                <a:gd name="T66" fmla="*/ 50 w 127"/>
                <a:gd name="T67" fmla="*/ 33 h 148"/>
                <a:gd name="T68" fmla="*/ 45 w 127"/>
                <a:gd name="T69" fmla="*/ 37 h 148"/>
                <a:gd name="T70" fmla="*/ 40 w 127"/>
                <a:gd name="T71" fmla="*/ 40 h 148"/>
                <a:gd name="T72" fmla="*/ 36 w 127"/>
                <a:gd name="T73" fmla="*/ 46 h 148"/>
                <a:gd name="T74" fmla="*/ 34 w 127"/>
                <a:gd name="T75" fmla="*/ 53 h 148"/>
                <a:gd name="T76" fmla="*/ 32 w 127"/>
                <a:gd name="T77" fmla="*/ 60 h 148"/>
                <a:gd name="T78" fmla="*/ 31 w 127"/>
                <a:gd name="T79" fmla="*/ 67 h 148"/>
                <a:gd name="T80" fmla="*/ 31 w 127"/>
                <a:gd name="T81" fmla="*/ 148 h 148"/>
                <a:gd name="T82" fmla="*/ 0 w 127"/>
                <a:gd name="T83" fmla="*/ 148 h 148"/>
                <a:gd name="T84" fmla="*/ 0 w 127"/>
                <a:gd name="T85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7" h="148">
                  <a:moveTo>
                    <a:pt x="0" y="1"/>
                  </a:moveTo>
                  <a:lnTo>
                    <a:pt x="31" y="1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7" y="12"/>
                  </a:lnTo>
                  <a:lnTo>
                    <a:pt x="46" y="6"/>
                  </a:lnTo>
                  <a:lnTo>
                    <a:pt x="52" y="4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71" y="0"/>
                  </a:lnTo>
                  <a:lnTo>
                    <a:pt x="71" y="0"/>
                  </a:lnTo>
                  <a:lnTo>
                    <a:pt x="85" y="1"/>
                  </a:lnTo>
                  <a:lnTo>
                    <a:pt x="96" y="4"/>
                  </a:lnTo>
                  <a:lnTo>
                    <a:pt x="106" y="9"/>
                  </a:lnTo>
                  <a:lnTo>
                    <a:pt x="113" y="16"/>
                  </a:lnTo>
                  <a:lnTo>
                    <a:pt x="119" y="24"/>
                  </a:lnTo>
                  <a:lnTo>
                    <a:pt x="124" y="34"/>
                  </a:lnTo>
                  <a:lnTo>
                    <a:pt x="126" y="46"/>
                  </a:lnTo>
                  <a:lnTo>
                    <a:pt x="127" y="60"/>
                  </a:lnTo>
                  <a:lnTo>
                    <a:pt x="127" y="148"/>
                  </a:lnTo>
                  <a:lnTo>
                    <a:pt x="96" y="148"/>
                  </a:lnTo>
                  <a:lnTo>
                    <a:pt x="96" y="67"/>
                  </a:lnTo>
                  <a:lnTo>
                    <a:pt x="96" y="67"/>
                  </a:lnTo>
                  <a:lnTo>
                    <a:pt x="95" y="59"/>
                  </a:lnTo>
                  <a:lnTo>
                    <a:pt x="93" y="50"/>
                  </a:lnTo>
                  <a:lnTo>
                    <a:pt x="91" y="44"/>
                  </a:lnTo>
                  <a:lnTo>
                    <a:pt x="87" y="39"/>
                  </a:lnTo>
                  <a:lnTo>
                    <a:pt x="82" y="35"/>
                  </a:lnTo>
                  <a:lnTo>
                    <a:pt x="78" y="32"/>
                  </a:lnTo>
                  <a:lnTo>
                    <a:pt x="71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56" y="31"/>
                  </a:lnTo>
                  <a:lnTo>
                    <a:pt x="50" y="33"/>
                  </a:lnTo>
                  <a:lnTo>
                    <a:pt x="45" y="37"/>
                  </a:lnTo>
                  <a:lnTo>
                    <a:pt x="40" y="40"/>
                  </a:lnTo>
                  <a:lnTo>
                    <a:pt x="36" y="46"/>
                  </a:lnTo>
                  <a:lnTo>
                    <a:pt x="34" y="53"/>
                  </a:lnTo>
                  <a:lnTo>
                    <a:pt x="32" y="60"/>
                  </a:lnTo>
                  <a:lnTo>
                    <a:pt x="31" y="67"/>
                  </a:lnTo>
                  <a:lnTo>
                    <a:pt x="31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6"/>
            <p:cNvSpPr>
              <a:spLocks/>
            </p:cNvSpPr>
            <p:nvPr userDrawn="1"/>
          </p:nvSpPr>
          <p:spPr bwMode="auto">
            <a:xfrm>
              <a:off x="1504" y="2410"/>
              <a:ext cx="44" cy="68"/>
            </a:xfrm>
            <a:custGeom>
              <a:avLst/>
              <a:gdLst>
                <a:gd name="T0" fmla="*/ 0 w 134"/>
                <a:gd name="T1" fmla="*/ 0 h 205"/>
                <a:gd name="T2" fmla="*/ 37 w 134"/>
                <a:gd name="T3" fmla="*/ 0 h 205"/>
                <a:gd name="T4" fmla="*/ 102 w 134"/>
                <a:gd name="T5" fmla="*/ 141 h 205"/>
                <a:gd name="T6" fmla="*/ 102 w 134"/>
                <a:gd name="T7" fmla="*/ 0 h 205"/>
                <a:gd name="T8" fmla="*/ 134 w 134"/>
                <a:gd name="T9" fmla="*/ 0 h 205"/>
                <a:gd name="T10" fmla="*/ 134 w 134"/>
                <a:gd name="T11" fmla="*/ 205 h 205"/>
                <a:gd name="T12" fmla="*/ 99 w 134"/>
                <a:gd name="T13" fmla="*/ 205 h 205"/>
                <a:gd name="T14" fmla="*/ 33 w 134"/>
                <a:gd name="T15" fmla="*/ 64 h 205"/>
                <a:gd name="T16" fmla="*/ 33 w 134"/>
                <a:gd name="T17" fmla="*/ 205 h 205"/>
                <a:gd name="T18" fmla="*/ 0 w 134"/>
                <a:gd name="T19" fmla="*/ 205 h 205"/>
                <a:gd name="T20" fmla="*/ 0 w 134"/>
                <a:gd name="T21" fmla="*/ 0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4" h="205">
                  <a:moveTo>
                    <a:pt x="0" y="0"/>
                  </a:moveTo>
                  <a:lnTo>
                    <a:pt x="37" y="0"/>
                  </a:lnTo>
                  <a:lnTo>
                    <a:pt x="102" y="141"/>
                  </a:lnTo>
                  <a:lnTo>
                    <a:pt x="102" y="0"/>
                  </a:lnTo>
                  <a:lnTo>
                    <a:pt x="134" y="0"/>
                  </a:lnTo>
                  <a:lnTo>
                    <a:pt x="134" y="205"/>
                  </a:lnTo>
                  <a:lnTo>
                    <a:pt x="99" y="205"/>
                  </a:lnTo>
                  <a:lnTo>
                    <a:pt x="33" y="64"/>
                  </a:lnTo>
                  <a:lnTo>
                    <a:pt x="33" y="205"/>
                  </a:lnTo>
                  <a:lnTo>
                    <a:pt x="0" y="20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7"/>
            <p:cNvSpPr>
              <a:spLocks/>
            </p:cNvSpPr>
            <p:nvPr userDrawn="1"/>
          </p:nvSpPr>
          <p:spPr bwMode="auto">
            <a:xfrm>
              <a:off x="1562" y="2429"/>
              <a:ext cx="42" cy="50"/>
            </a:xfrm>
            <a:custGeom>
              <a:avLst/>
              <a:gdLst>
                <a:gd name="T0" fmla="*/ 128 w 128"/>
                <a:gd name="T1" fmla="*/ 147 h 148"/>
                <a:gd name="T2" fmla="*/ 96 w 128"/>
                <a:gd name="T3" fmla="*/ 147 h 148"/>
                <a:gd name="T4" fmla="*/ 96 w 128"/>
                <a:gd name="T5" fmla="*/ 130 h 148"/>
                <a:gd name="T6" fmla="*/ 96 w 128"/>
                <a:gd name="T7" fmla="*/ 130 h 148"/>
                <a:gd name="T8" fmla="*/ 89 w 128"/>
                <a:gd name="T9" fmla="*/ 137 h 148"/>
                <a:gd name="T10" fmla="*/ 81 w 128"/>
                <a:gd name="T11" fmla="*/ 143 h 148"/>
                <a:gd name="T12" fmla="*/ 76 w 128"/>
                <a:gd name="T13" fmla="*/ 145 h 148"/>
                <a:gd name="T14" fmla="*/ 70 w 128"/>
                <a:gd name="T15" fmla="*/ 147 h 148"/>
                <a:gd name="T16" fmla="*/ 64 w 128"/>
                <a:gd name="T17" fmla="*/ 148 h 148"/>
                <a:gd name="T18" fmla="*/ 56 w 128"/>
                <a:gd name="T19" fmla="*/ 148 h 148"/>
                <a:gd name="T20" fmla="*/ 56 w 128"/>
                <a:gd name="T21" fmla="*/ 148 h 148"/>
                <a:gd name="T22" fmla="*/ 43 w 128"/>
                <a:gd name="T23" fmla="*/ 148 h 148"/>
                <a:gd name="T24" fmla="*/ 32 w 128"/>
                <a:gd name="T25" fmla="*/ 144 h 148"/>
                <a:gd name="T26" fmla="*/ 22 w 128"/>
                <a:gd name="T27" fmla="*/ 139 h 148"/>
                <a:gd name="T28" fmla="*/ 15 w 128"/>
                <a:gd name="T29" fmla="*/ 133 h 148"/>
                <a:gd name="T30" fmla="*/ 8 w 128"/>
                <a:gd name="T31" fmla="*/ 125 h 148"/>
                <a:gd name="T32" fmla="*/ 4 w 128"/>
                <a:gd name="T33" fmla="*/ 114 h 148"/>
                <a:gd name="T34" fmla="*/ 0 w 128"/>
                <a:gd name="T35" fmla="*/ 102 h 148"/>
                <a:gd name="T36" fmla="*/ 0 w 128"/>
                <a:gd name="T37" fmla="*/ 88 h 148"/>
                <a:gd name="T38" fmla="*/ 0 w 128"/>
                <a:gd name="T39" fmla="*/ 0 h 148"/>
                <a:gd name="T40" fmla="*/ 32 w 128"/>
                <a:gd name="T41" fmla="*/ 0 h 148"/>
                <a:gd name="T42" fmla="*/ 32 w 128"/>
                <a:gd name="T43" fmla="*/ 81 h 148"/>
                <a:gd name="T44" fmla="*/ 32 w 128"/>
                <a:gd name="T45" fmla="*/ 81 h 148"/>
                <a:gd name="T46" fmla="*/ 32 w 128"/>
                <a:gd name="T47" fmla="*/ 91 h 148"/>
                <a:gd name="T48" fmla="*/ 34 w 128"/>
                <a:gd name="T49" fmla="*/ 98 h 148"/>
                <a:gd name="T50" fmla="*/ 37 w 128"/>
                <a:gd name="T51" fmla="*/ 104 h 148"/>
                <a:gd name="T52" fmla="*/ 40 w 128"/>
                <a:gd name="T53" fmla="*/ 109 h 148"/>
                <a:gd name="T54" fmla="*/ 44 w 128"/>
                <a:gd name="T55" fmla="*/ 114 h 148"/>
                <a:gd name="T56" fmla="*/ 50 w 128"/>
                <a:gd name="T57" fmla="*/ 116 h 148"/>
                <a:gd name="T58" fmla="*/ 56 w 128"/>
                <a:gd name="T59" fmla="*/ 117 h 148"/>
                <a:gd name="T60" fmla="*/ 64 w 128"/>
                <a:gd name="T61" fmla="*/ 119 h 148"/>
                <a:gd name="T62" fmla="*/ 64 w 128"/>
                <a:gd name="T63" fmla="*/ 119 h 148"/>
                <a:gd name="T64" fmla="*/ 71 w 128"/>
                <a:gd name="T65" fmla="*/ 117 h 148"/>
                <a:gd name="T66" fmla="*/ 78 w 128"/>
                <a:gd name="T67" fmla="*/ 115 h 148"/>
                <a:gd name="T68" fmla="*/ 83 w 128"/>
                <a:gd name="T69" fmla="*/ 112 h 148"/>
                <a:gd name="T70" fmla="*/ 88 w 128"/>
                <a:gd name="T71" fmla="*/ 108 h 148"/>
                <a:gd name="T72" fmla="*/ 92 w 128"/>
                <a:gd name="T73" fmla="*/ 103 h 148"/>
                <a:gd name="T74" fmla="*/ 94 w 128"/>
                <a:gd name="T75" fmla="*/ 97 h 148"/>
                <a:gd name="T76" fmla="*/ 95 w 128"/>
                <a:gd name="T77" fmla="*/ 89 h 148"/>
                <a:gd name="T78" fmla="*/ 96 w 128"/>
                <a:gd name="T79" fmla="*/ 81 h 148"/>
                <a:gd name="T80" fmla="*/ 96 w 128"/>
                <a:gd name="T81" fmla="*/ 0 h 148"/>
                <a:gd name="T82" fmla="*/ 128 w 128"/>
                <a:gd name="T83" fmla="*/ 0 h 148"/>
                <a:gd name="T84" fmla="*/ 128 w 128"/>
                <a:gd name="T85" fmla="*/ 147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" h="148">
                  <a:moveTo>
                    <a:pt x="128" y="147"/>
                  </a:moveTo>
                  <a:lnTo>
                    <a:pt x="96" y="147"/>
                  </a:lnTo>
                  <a:lnTo>
                    <a:pt x="96" y="130"/>
                  </a:lnTo>
                  <a:lnTo>
                    <a:pt x="96" y="130"/>
                  </a:lnTo>
                  <a:lnTo>
                    <a:pt x="89" y="137"/>
                  </a:lnTo>
                  <a:lnTo>
                    <a:pt x="81" y="143"/>
                  </a:lnTo>
                  <a:lnTo>
                    <a:pt x="76" y="145"/>
                  </a:lnTo>
                  <a:lnTo>
                    <a:pt x="70" y="147"/>
                  </a:lnTo>
                  <a:lnTo>
                    <a:pt x="64" y="148"/>
                  </a:lnTo>
                  <a:lnTo>
                    <a:pt x="56" y="148"/>
                  </a:lnTo>
                  <a:lnTo>
                    <a:pt x="56" y="148"/>
                  </a:lnTo>
                  <a:lnTo>
                    <a:pt x="43" y="148"/>
                  </a:lnTo>
                  <a:lnTo>
                    <a:pt x="32" y="144"/>
                  </a:lnTo>
                  <a:lnTo>
                    <a:pt x="22" y="139"/>
                  </a:lnTo>
                  <a:lnTo>
                    <a:pt x="15" y="133"/>
                  </a:lnTo>
                  <a:lnTo>
                    <a:pt x="8" y="125"/>
                  </a:lnTo>
                  <a:lnTo>
                    <a:pt x="4" y="114"/>
                  </a:lnTo>
                  <a:lnTo>
                    <a:pt x="0" y="102"/>
                  </a:lnTo>
                  <a:lnTo>
                    <a:pt x="0" y="88"/>
                  </a:lnTo>
                  <a:lnTo>
                    <a:pt x="0" y="0"/>
                  </a:lnTo>
                  <a:lnTo>
                    <a:pt x="32" y="0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91"/>
                  </a:lnTo>
                  <a:lnTo>
                    <a:pt x="34" y="98"/>
                  </a:lnTo>
                  <a:lnTo>
                    <a:pt x="37" y="104"/>
                  </a:lnTo>
                  <a:lnTo>
                    <a:pt x="40" y="109"/>
                  </a:lnTo>
                  <a:lnTo>
                    <a:pt x="44" y="114"/>
                  </a:lnTo>
                  <a:lnTo>
                    <a:pt x="50" y="116"/>
                  </a:lnTo>
                  <a:lnTo>
                    <a:pt x="56" y="117"/>
                  </a:lnTo>
                  <a:lnTo>
                    <a:pt x="64" y="119"/>
                  </a:lnTo>
                  <a:lnTo>
                    <a:pt x="64" y="119"/>
                  </a:lnTo>
                  <a:lnTo>
                    <a:pt x="71" y="117"/>
                  </a:lnTo>
                  <a:lnTo>
                    <a:pt x="78" y="115"/>
                  </a:lnTo>
                  <a:lnTo>
                    <a:pt x="83" y="112"/>
                  </a:lnTo>
                  <a:lnTo>
                    <a:pt x="88" y="108"/>
                  </a:lnTo>
                  <a:lnTo>
                    <a:pt x="92" y="103"/>
                  </a:lnTo>
                  <a:lnTo>
                    <a:pt x="94" y="97"/>
                  </a:lnTo>
                  <a:lnTo>
                    <a:pt x="95" y="89"/>
                  </a:lnTo>
                  <a:lnTo>
                    <a:pt x="96" y="81"/>
                  </a:lnTo>
                  <a:lnTo>
                    <a:pt x="96" y="0"/>
                  </a:lnTo>
                  <a:lnTo>
                    <a:pt x="128" y="0"/>
                  </a:lnTo>
                  <a:lnTo>
                    <a:pt x="128" y="1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8"/>
            <p:cNvSpPr>
              <a:spLocks/>
            </p:cNvSpPr>
            <p:nvPr userDrawn="1"/>
          </p:nvSpPr>
          <p:spPr bwMode="auto">
            <a:xfrm>
              <a:off x="1615" y="2429"/>
              <a:ext cx="50" cy="50"/>
            </a:xfrm>
            <a:custGeom>
              <a:avLst/>
              <a:gdLst>
                <a:gd name="T0" fmla="*/ 75 w 150"/>
                <a:gd name="T1" fmla="*/ 120 h 149"/>
                <a:gd name="T2" fmla="*/ 92 w 150"/>
                <a:gd name="T3" fmla="*/ 116 h 149"/>
                <a:gd name="T4" fmla="*/ 106 w 150"/>
                <a:gd name="T5" fmla="*/ 106 h 149"/>
                <a:gd name="T6" fmla="*/ 114 w 150"/>
                <a:gd name="T7" fmla="*/ 93 h 149"/>
                <a:gd name="T8" fmla="*/ 117 w 150"/>
                <a:gd name="T9" fmla="*/ 74 h 149"/>
                <a:gd name="T10" fmla="*/ 150 w 150"/>
                <a:gd name="T11" fmla="*/ 74 h 149"/>
                <a:gd name="T12" fmla="*/ 147 w 150"/>
                <a:gd name="T13" fmla="*/ 90 h 149"/>
                <a:gd name="T14" fmla="*/ 143 w 150"/>
                <a:gd name="T15" fmla="*/ 104 h 149"/>
                <a:gd name="T16" fmla="*/ 128 w 150"/>
                <a:gd name="T17" fmla="*/ 128 h 149"/>
                <a:gd name="T18" fmla="*/ 104 w 150"/>
                <a:gd name="T19" fmla="*/ 144 h 149"/>
                <a:gd name="T20" fmla="*/ 90 w 150"/>
                <a:gd name="T21" fmla="*/ 148 h 149"/>
                <a:gd name="T22" fmla="*/ 75 w 150"/>
                <a:gd name="T23" fmla="*/ 149 h 149"/>
                <a:gd name="T24" fmla="*/ 67 w 150"/>
                <a:gd name="T25" fmla="*/ 149 h 149"/>
                <a:gd name="T26" fmla="*/ 52 w 150"/>
                <a:gd name="T27" fmla="*/ 146 h 149"/>
                <a:gd name="T28" fmla="*/ 33 w 150"/>
                <a:gd name="T29" fmla="*/ 137 h 149"/>
                <a:gd name="T30" fmla="*/ 12 w 150"/>
                <a:gd name="T31" fmla="*/ 117 h 149"/>
                <a:gd name="T32" fmla="*/ 3 w 150"/>
                <a:gd name="T33" fmla="*/ 98 h 149"/>
                <a:gd name="T34" fmla="*/ 1 w 150"/>
                <a:gd name="T35" fmla="*/ 83 h 149"/>
                <a:gd name="T36" fmla="*/ 0 w 150"/>
                <a:gd name="T37" fmla="*/ 74 h 149"/>
                <a:gd name="T38" fmla="*/ 1 w 150"/>
                <a:gd name="T39" fmla="*/ 59 h 149"/>
                <a:gd name="T40" fmla="*/ 6 w 150"/>
                <a:gd name="T41" fmla="*/ 45 h 149"/>
                <a:gd name="T42" fmla="*/ 22 w 150"/>
                <a:gd name="T43" fmla="*/ 21 h 149"/>
                <a:gd name="T44" fmla="*/ 45 w 150"/>
                <a:gd name="T45" fmla="*/ 5 h 149"/>
                <a:gd name="T46" fmla="*/ 59 w 150"/>
                <a:gd name="T47" fmla="*/ 1 h 149"/>
                <a:gd name="T48" fmla="*/ 75 w 150"/>
                <a:gd name="T49" fmla="*/ 0 h 149"/>
                <a:gd name="T50" fmla="*/ 83 w 150"/>
                <a:gd name="T51" fmla="*/ 0 h 149"/>
                <a:gd name="T52" fmla="*/ 98 w 150"/>
                <a:gd name="T53" fmla="*/ 4 h 149"/>
                <a:gd name="T54" fmla="*/ 112 w 150"/>
                <a:gd name="T55" fmla="*/ 9 h 149"/>
                <a:gd name="T56" fmla="*/ 128 w 150"/>
                <a:gd name="T57" fmla="*/ 22 h 149"/>
                <a:gd name="T58" fmla="*/ 104 w 150"/>
                <a:gd name="T59" fmla="*/ 43 h 149"/>
                <a:gd name="T60" fmla="*/ 91 w 150"/>
                <a:gd name="T61" fmla="*/ 34 h 149"/>
                <a:gd name="T62" fmla="*/ 75 w 150"/>
                <a:gd name="T63" fmla="*/ 31 h 149"/>
                <a:gd name="T64" fmla="*/ 66 w 150"/>
                <a:gd name="T65" fmla="*/ 31 h 149"/>
                <a:gd name="T66" fmla="*/ 51 w 150"/>
                <a:gd name="T67" fmla="*/ 38 h 149"/>
                <a:gd name="T68" fmla="*/ 40 w 150"/>
                <a:gd name="T69" fmla="*/ 49 h 149"/>
                <a:gd name="T70" fmla="*/ 34 w 150"/>
                <a:gd name="T71" fmla="*/ 65 h 149"/>
                <a:gd name="T72" fmla="*/ 33 w 150"/>
                <a:gd name="T73" fmla="*/ 74 h 149"/>
                <a:gd name="T74" fmla="*/ 36 w 150"/>
                <a:gd name="T75" fmla="*/ 93 h 149"/>
                <a:gd name="T76" fmla="*/ 45 w 150"/>
                <a:gd name="T77" fmla="*/ 106 h 149"/>
                <a:gd name="T78" fmla="*/ 57 w 150"/>
                <a:gd name="T79" fmla="*/ 116 h 149"/>
                <a:gd name="T80" fmla="*/ 75 w 150"/>
                <a:gd name="T81" fmla="*/ 12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49">
                  <a:moveTo>
                    <a:pt x="75" y="120"/>
                  </a:moveTo>
                  <a:lnTo>
                    <a:pt x="75" y="120"/>
                  </a:lnTo>
                  <a:lnTo>
                    <a:pt x="84" y="118"/>
                  </a:lnTo>
                  <a:lnTo>
                    <a:pt x="92" y="116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1" y="100"/>
                  </a:lnTo>
                  <a:lnTo>
                    <a:pt x="114" y="93"/>
                  </a:lnTo>
                  <a:lnTo>
                    <a:pt x="117" y="84"/>
                  </a:lnTo>
                  <a:lnTo>
                    <a:pt x="117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48" y="83"/>
                  </a:lnTo>
                  <a:lnTo>
                    <a:pt x="147" y="90"/>
                  </a:lnTo>
                  <a:lnTo>
                    <a:pt x="146" y="98"/>
                  </a:lnTo>
                  <a:lnTo>
                    <a:pt x="143" y="104"/>
                  </a:lnTo>
                  <a:lnTo>
                    <a:pt x="136" y="117"/>
                  </a:lnTo>
                  <a:lnTo>
                    <a:pt x="128" y="128"/>
                  </a:lnTo>
                  <a:lnTo>
                    <a:pt x="117" y="137"/>
                  </a:lnTo>
                  <a:lnTo>
                    <a:pt x="104" y="144"/>
                  </a:lnTo>
                  <a:lnTo>
                    <a:pt x="97" y="146"/>
                  </a:lnTo>
                  <a:lnTo>
                    <a:pt x="90" y="148"/>
                  </a:lnTo>
                  <a:lnTo>
                    <a:pt x="83" y="149"/>
                  </a:lnTo>
                  <a:lnTo>
                    <a:pt x="75" y="149"/>
                  </a:lnTo>
                  <a:lnTo>
                    <a:pt x="75" y="149"/>
                  </a:lnTo>
                  <a:lnTo>
                    <a:pt x="67" y="149"/>
                  </a:lnTo>
                  <a:lnTo>
                    <a:pt x="59" y="148"/>
                  </a:lnTo>
                  <a:lnTo>
                    <a:pt x="52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7"/>
                  </a:lnTo>
                  <a:lnTo>
                    <a:pt x="6" y="105"/>
                  </a:lnTo>
                  <a:lnTo>
                    <a:pt x="3" y="98"/>
                  </a:lnTo>
                  <a:lnTo>
                    <a:pt x="1" y="90"/>
                  </a:lnTo>
                  <a:lnTo>
                    <a:pt x="1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" y="67"/>
                  </a:lnTo>
                  <a:lnTo>
                    <a:pt x="1" y="59"/>
                  </a:lnTo>
                  <a:lnTo>
                    <a:pt x="3" y="51"/>
                  </a:lnTo>
                  <a:lnTo>
                    <a:pt x="6" y="45"/>
                  </a:lnTo>
                  <a:lnTo>
                    <a:pt x="12" y="32"/>
                  </a:lnTo>
                  <a:lnTo>
                    <a:pt x="22" y="21"/>
                  </a:lnTo>
                  <a:lnTo>
                    <a:pt x="33" y="12"/>
                  </a:lnTo>
                  <a:lnTo>
                    <a:pt x="45" y="5"/>
                  </a:lnTo>
                  <a:lnTo>
                    <a:pt x="52" y="3"/>
                  </a:lnTo>
                  <a:lnTo>
                    <a:pt x="59" y="1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3" y="0"/>
                  </a:lnTo>
                  <a:lnTo>
                    <a:pt x="91" y="1"/>
                  </a:lnTo>
                  <a:lnTo>
                    <a:pt x="98" y="4"/>
                  </a:lnTo>
                  <a:lnTo>
                    <a:pt x="104" y="6"/>
                  </a:lnTo>
                  <a:lnTo>
                    <a:pt x="112" y="9"/>
                  </a:lnTo>
                  <a:lnTo>
                    <a:pt x="118" y="12"/>
                  </a:lnTo>
                  <a:lnTo>
                    <a:pt x="128" y="22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98" y="38"/>
                  </a:lnTo>
                  <a:lnTo>
                    <a:pt x="91" y="34"/>
                  </a:lnTo>
                  <a:lnTo>
                    <a:pt x="84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66" y="31"/>
                  </a:lnTo>
                  <a:lnTo>
                    <a:pt x="57" y="33"/>
                  </a:lnTo>
                  <a:lnTo>
                    <a:pt x="51" y="38"/>
                  </a:lnTo>
                  <a:lnTo>
                    <a:pt x="45" y="43"/>
                  </a:lnTo>
                  <a:lnTo>
                    <a:pt x="40" y="49"/>
                  </a:lnTo>
                  <a:lnTo>
                    <a:pt x="36" y="56"/>
                  </a:lnTo>
                  <a:lnTo>
                    <a:pt x="34" y="6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84"/>
                  </a:lnTo>
                  <a:lnTo>
                    <a:pt x="36" y="93"/>
                  </a:lnTo>
                  <a:lnTo>
                    <a:pt x="40" y="100"/>
                  </a:lnTo>
                  <a:lnTo>
                    <a:pt x="45" y="106"/>
                  </a:lnTo>
                  <a:lnTo>
                    <a:pt x="51" y="112"/>
                  </a:lnTo>
                  <a:lnTo>
                    <a:pt x="57" y="116"/>
                  </a:lnTo>
                  <a:lnTo>
                    <a:pt x="66" y="118"/>
                  </a:lnTo>
                  <a:lnTo>
                    <a:pt x="75" y="120"/>
                  </a:lnTo>
                  <a:lnTo>
                    <a:pt x="75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9"/>
            <p:cNvSpPr>
              <a:spLocks/>
            </p:cNvSpPr>
            <p:nvPr userDrawn="1"/>
          </p:nvSpPr>
          <p:spPr bwMode="auto">
            <a:xfrm>
              <a:off x="1674" y="2409"/>
              <a:ext cx="10" cy="69"/>
            </a:xfrm>
            <a:custGeom>
              <a:avLst/>
              <a:gdLst>
                <a:gd name="T0" fmla="*/ 0 w 32"/>
                <a:gd name="T1" fmla="*/ 4 h 209"/>
                <a:gd name="T2" fmla="*/ 32 w 32"/>
                <a:gd name="T3" fmla="*/ 0 h 209"/>
                <a:gd name="T4" fmla="*/ 32 w 32"/>
                <a:gd name="T5" fmla="*/ 209 h 209"/>
                <a:gd name="T6" fmla="*/ 0 w 32"/>
                <a:gd name="T7" fmla="*/ 209 h 209"/>
                <a:gd name="T8" fmla="*/ 0 w 32"/>
                <a:gd name="T9" fmla="*/ 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09">
                  <a:moveTo>
                    <a:pt x="0" y="4"/>
                  </a:moveTo>
                  <a:lnTo>
                    <a:pt x="32" y="0"/>
                  </a:lnTo>
                  <a:lnTo>
                    <a:pt x="32" y="209"/>
                  </a:lnTo>
                  <a:lnTo>
                    <a:pt x="0" y="20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0"/>
            <p:cNvSpPr>
              <a:spLocks noEditPoints="1"/>
            </p:cNvSpPr>
            <p:nvPr userDrawn="1"/>
          </p:nvSpPr>
          <p:spPr bwMode="auto">
            <a:xfrm>
              <a:off x="1694" y="2429"/>
              <a:ext cx="50" cy="50"/>
            </a:xfrm>
            <a:custGeom>
              <a:avLst/>
              <a:gdLst>
                <a:gd name="T0" fmla="*/ 35 w 149"/>
                <a:gd name="T1" fmla="*/ 85 h 149"/>
                <a:gd name="T2" fmla="*/ 39 w 149"/>
                <a:gd name="T3" fmla="*/ 99 h 149"/>
                <a:gd name="T4" fmla="*/ 49 w 149"/>
                <a:gd name="T5" fmla="*/ 110 h 149"/>
                <a:gd name="T6" fmla="*/ 61 w 149"/>
                <a:gd name="T7" fmla="*/ 116 h 149"/>
                <a:gd name="T8" fmla="*/ 76 w 149"/>
                <a:gd name="T9" fmla="*/ 120 h 149"/>
                <a:gd name="T10" fmla="*/ 87 w 149"/>
                <a:gd name="T11" fmla="*/ 118 h 149"/>
                <a:gd name="T12" fmla="*/ 103 w 149"/>
                <a:gd name="T13" fmla="*/ 111 h 149"/>
                <a:gd name="T14" fmla="*/ 147 w 149"/>
                <a:gd name="T15" fmla="*/ 105 h 149"/>
                <a:gd name="T16" fmla="*/ 143 w 149"/>
                <a:gd name="T17" fmla="*/ 115 h 149"/>
                <a:gd name="T18" fmla="*/ 130 w 149"/>
                <a:gd name="T19" fmla="*/ 131 h 149"/>
                <a:gd name="T20" fmla="*/ 110 w 149"/>
                <a:gd name="T21" fmla="*/ 143 h 149"/>
                <a:gd name="T22" fmla="*/ 88 w 149"/>
                <a:gd name="T23" fmla="*/ 149 h 149"/>
                <a:gd name="T24" fmla="*/ 76 w 149"/>
                <a:gd name="T25" fmla="*/ 149 h 149"/>
                <a:gd name="T26" fmla="*/ 60 w 149"/>
                <a:gd name="T27" fmla="*/ 148 h 149"/>
                <a:gd name="T28" fmla="*/ 47 w 149"/>
                <a:gd name="T29" fmla="*/ 144 h 149"/>
                <a:gd name="T30" fmla="*/ 22 w 149"/>
                <a:gd name="T31" fmla="*/ 128 h 149"/>
                <a:gd name="T32" fmla="*/ 7 w 149"/>
                <a:gd name="T33" fmla="*/ 104 h 149"/>
                <a:gd name="T34" fmla="*/ 3 w 149"/>
                <a:gd name="T35" fmla="*/ 90 h 149"/>
                <a:gd name="T36" fmla="*/ 0 w 149"/>
                <a:gd name="T37" fmla="*/ 74 h 149"/>
                <a:gd name="T38" fmla="*/ 2 w 149"/>
                <a:gd name="T39" fmla="*/ 67 h 149"/>
                <a:gd name="T40" fmla="*/ 7 w 149"/>
                <a:gd name="T41" fmla="*/ 45 h 149"/>
                <a:gd name="T42" fmla="*/ 22 w 149"/>
                <a:gd name="T43" fmla="*/ 22 h 149"/>
                <a:gd name="T44" fmla="*/ 45 w 149"/>
                <a:gd name="T45" fmla="*/ 6 h 149"/>
                <a:gd name="T46" fmla="*/ 60 w 149"/>
                <a:gd name="T47" fmla="*/ 1 h 149"/>
                <a:gd name="T48" fmla="*/ 75 w 149"/>
                <a:gd name="T49" fmla="*/ 0 h 149"/>
                <a:gd name="T50" fmla="*/ 83 w 149"/>
                <a:gd name="T51" fmla="*/ 0 h 149"/>
                <a:gd name="T52" fmla="*/ 98 w 149"/>
                <a:gd name="T53" fmla="*/ 4 h 149"/>
                <a:gd name="T54" fmla="*/ 116 w 149"/>
                <a:gd name="T55" fmla="*/ 12 h 149"/>
                <a:gd name="T56" fmla="*/ 137 w 149"/>
                <a:gd name="T57" fmla="*/ 33 h 149"/>
                <a:gd name="T58" fmla="*/ 148 w 149"/>
                <a:gd name="T59" fmla="*/ 60 h 149"/>
                <a:gd name="T60" fmla="*/ 149 w 149"/>
                <a:gd name="T61" fmla="*/ 74 h 149"/>
                <a:gd name="T62" fmla="*/ 148 w 149"/>
                <a:gd name="T63" fmla="*/ 85 h 149"/>
                <a:gd name="T64" fmla="*/ 36 w 149"/>
                <a:gd name="T65" fmla="*/ 57 h 149"/>
                <a:gd name="T66" fmla="*/ 114 w 149"/>
                <a:gd name="T67" fmla="*/ 57 h 149"/>
                <a:gd name="T68" fmla="*/ 109 w 149"/>
                <a:gd name="T69" fmla="*/ 46 h 149"/>
                <a:gd name="T70" fmla="*/ 99 w 149"/>
                <a:gd name="T71" fmla="*/ 38 h 149"/>
                <a:gd name="T72" fmla="*/ 88 w 149"/>
                <a:gd name="T73" fmla="*/ 32 h 149"/>
                <a:gd name="T74" fmla="*/ 75 w 149"/>
                <a:gd name="T75" fmla="*/ 29 h 149"/>
                <a:gd name="T76" fmla="*/ 69 w 149"/>
                <a:gd name="T77" fmla="*/ 31 h 149"/>
                <a:gd name="T78" fmla="*/ 56 w 149"/>
                <a:gd name="T79" fmla="*/ 34 h 149"/>
                <a:gd name="T80" fmla="*/ 45 w 149"/>
                <a:gd name="T81" fmla="*/ 42 h 149"/>
                <a:gd name="T82" fmla="*/ 38 w 149"/>
                <a:gd name="T83" fmla="*/ 51 h 149"/>
                <a:gd name="T84" fmla="*/ 36 w 149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149">
                  <a:moveTo>
                    <a:pt x="35" y="85"/>
                  </a:moveTo>
                  <a:lnTo>
                    <a:pt x="35" y="85"/>
                  </a:lnTo>
                  <a:lnTo>
                    <a:pt x="37" y="93"/>
                  </a:lnTo>
                  <a:lnTo>
                    <a:pt x="39" y="99"/>
                  </a:lnTo>
                  <a:lnTo>
                    <a:pt x="44" y="105"/>
                  </a:lnTo>
                  <a:lnTo>
                    <a:pt x="49" y="110"/>
                  </a:lnTo>
                  <a:lnTo>
                    <a:pt x="54" y="113"/>
                  </a:lnTo>
                  <a:lnTo>
                    <a:pt x="61" y="116"/>
                  </a:lnTo>
                  <a:lnTo>
                    <a:pt x="69" y="118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7" y="118"/>
                  </a:lnTo>
                  <a:lnTo>
                    <a:pt x="95" y="116"/>
                  </a:lnTo>
                  <a:lnTo>
                    <a:pt x="103" y="111"/>
                  </a:lnTo>
                  <a:lnTo>
                    <a:pt x="109" y="105"/>
                  </a:lnTo>
                  <a:lnTo>
                    <a:pt x="147" y="105"/>
                  </a:lnTo>
                  <a:lnTo>
                    <a:pt x="147" y="105"/>
                  </a:lnTo>
                  <a:lnTo>
                    <a:pt x="143" y="115"/>
                  </a:lnTo>
                  <a:lnTo>
                    <a:pt x="137" y="123"/>
                  </a:lnTo>
                  <a:lnTo>
                    <a:pt x="130" y="131"/>
                  </a:lnTo>
                  <a:lnTo>
                    <a:pt x="120" y="137"/>
                  </a:lnTo>
                  <a:lnTo>
                    <a:pt x="110" y="143"/>
                  </a:lnTo>
                  <a:lnTo>
                    <a:pt x="99" y="146"/>
                  </a:lnTo>
                  <a:lnTo>
                    <a:pt x="88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69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7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4" y="116"/>
                  </a:lnTo>
                  <a:lnTo>
                    <a:pt x="7" y="104"/>
                  </a:lnTo>
                  <a:lnTo>
                    <a:pt x="4" y="96"/>
                  </a:lnTo>
                  <a:lnTo>
                    <a:pt x="3" y="90"/>
                  </a:lnTo>
                  <a:lnTo>
                    <a:pt x="2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2" y="67"/>
                  </a:lnTo>
                  <a:lnTo>
                    <a:pt x="3" y="60"/>
                  </a:lnTo>
                  <a:lnTo>
                    <a:pt x="7" y="45"/>
                  </a:lnTo>
                  <a:lnTo>
                    <a:pt x="14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3" y="4"/>
                  </a:lnTo>
                  <a:lnTo>
                    <a:pt x="60" y="1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3" y="0"/>
                  </a:lnTo>
                  <a:lnTo>
                    <a:pt x="91" y="1"/>
                  </a:lnTo>
                  <a:lnTo>
                    <a:pt x="98" y="4"/>
                  </a:lnTo>
                  <a:lnTo>
                    <a:pt x="104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7" y="33"/>
                  </a:lnTo>
                  <a:lnTo>
                    <a:pt x="143" y="45"/>
                  </a:lnTo>
                  <a:lnTo>
                    <a:pt x="148" y="60"/>
                  </a:lnTo>
                  <a:lnTo>
                    <a:pt x="149" y="6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8" y="85"/>
                  </a:lnTo>
                  <a:lnTo>
                    <a:pt x="35" y="85"/>
                  </a:lnTo>
                  <a:close/>
                  <a:moveTo>
                    <a:pt x="36" y="57"/>
                  </a:moveTo>
                  <a:lnTo>
                    <a:pt x="114" y="57"/>
                  </a:lnTo>
                  <a:lnTo>
                    <a:pt x="114" y="57"/>
                  </a:lnTo>
                  <a:lnTo>
                    <a:pt x="111" y="51"/>
                  </a:lnTo>
                  <a:lnTo>
                    <a:pt x="109" y="46"/>
                  </a:lnTo>
                  <a:lnTo>
                    <a:pt x="104" y="42"/>
                  </a:lnTo>
                  <a:lnTo>
                    <a:pt x="99" y="38"/>
                  </a:lnTo>
                  <a:lnTo>
                    <a:pt x="94" y="34"/>
                  </a:lnTo>
                  <a:lnTo>
                    <a:pt x="88" y="32"/>
                  </a:lnTo>
                  <a:lnTo>
                    <a:pt x="82" y="31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69" y="31"/>
                  </a:lnTo>
                  <a:lnTo>
                    <a:pt x="61" y="32"/>
                  </a:lnTo>
                  <a:lnTo>
                    <a:pt x="56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2" y="46"/>
                  </a:lnTo>
                  <a:lnTo>
                    <a:pt x="38" y="51"/>
                  </a:lnTo>
                  <a:lnTo>
                    <a:pt x="36" y="57"/>
                  </a:lnTo>
                  <a:lnTo>
                    <a:pt x="36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1"/>
            <p:cNvSpPr>
              <a:spLocks noEditPoints="1"/>
            </p:cNvSpPr>
            <p:nvPr userDrawn="1"/>
          </p:nvSpPr>
          <p:spPr bwMode="auto">
            <a:xfrm>
              <a:off x="1751" y="2429"/>
              <a:ext cx="49" cy="50"/>
            </a:xfrm>
            <a:custGeom>
              <a:avLst/>
              <a:gdLst>
                <a:gd name="T0" fmla="*/ 147 w 147"/>
                <a:gd name="T1" fmla="*/ 148 h 149"/>
                <a:gd name="T2" fmla="*/ 114 w 147"/>
                <a:gd name="T3" fmla="*/ 133 h 149"/>
                <a:gd name="T4" fmla="*/ 108 w 147"/>
                <a:gd name="T5" fmla="*/ 138 h 149"/>
                <a:gd name="T6" fmla="*/ 86 w 147"/>
                <a:gd name="T7" fmla="*/ 148 h 149"/>
                <a:gd name="T8" fmla="*/ 73 w 147"/>
                <a:gd name="T9" fmla="*/ 149 h 149"/>
                <a:gd name="T10" fmla="*/ 57 w 147"/>
                <a:gd name="T11" fmla="*/ 148 h 149"/>
                <a:gd name="T12" fmla="*/ 31 w 147"/>
                <a:gd name="T13" fmla="*/ 138 h 149"/>
                <a:gd name="T14" fmla="*/ 12 w 147"/>
                <a:gd name="T15" fmla="*/ 117 h 149"/>
                <a:gd name="T16" fmla="*/ 2 w 147"/>
                <a:gd name="T17" fmla="*/ 98 h 149"/>
                <a:gd name="T18" fmla="*/ 0 w 147"/>
                <a:gd name="T19" fmla="*/ 83 h 149"/>
                <a:gd name="T20" fmla="*/ 0 w 147"/>
                <a:gd name="T21" fmla="*/ 74 h 149"/>
                <a:gd name="T22" fmla="*/ 1 w 147"/>
                <a:gd name="T23" fmla="*/ 59 h 149"/>
                <a:gd name="T24" fmla="*/ 5 w 147"/>
                <a:gd name="T25" fmla="*/ 44 h 149"/>
                <a:gd name="T26" fmla="*/ 20 w 147"/>
                <a:gd name="T27" fmla="*/ 21 h 149"/>
                <a:gd name="T28" fmla="*/ 44 w 147"/>
                <a:gd name="T29" fmla="*/ 5 h 149"/>
                <a:gd name="T30" fmla="*/ 73 w 147"/>
                <a:gd name="T31" fmla="*/ 0 h 149"/>
                <a:gd name="T32" fmla="*/ 80 w 147"/>
                <a:gd name="T33" fmla="*/ 0 h 149"/>
                <a:gd name="T34" fmla="*/ 98 w 147"/>
                <a:gd name="T35" fmla="*/ 5 h 149"/>
                <a:gd name="T36" fmla="*/ 114 w 147"/>
                <a:gd name="T37" fmla="*/ 17 h 149"/>
                <a:gd name="T38" fmla="*/ 147 w 147"/>
                <a:gd name="T39" fmla="*/ 1 h 149"/>
                <a:gd name="T40" fmla="*/ 74 w 147"/>
                <a:gd name="T41" fmla="*/ 31 h 149"/>
                <a:gd name="T42" fmla="*/ 57 w 147"/>
                <a:gd name="T43" fmla="*/ 34 h 149"/>
                <a:gd name="T44" fmla="*/ 44 w 147"/>
                <a:gd name="T45" fmla="*/ 44 h 149"/>
                <a:gd name="T46" fmla="*/ 34 w 147"/>
                <a:gd name="T47" fmla="*/ 57 h 149"/>
                <a:gd name="T48" fmla="*/ 31 w 147"/>
                <a:gd name="T49" fmla="*/ 74 h 149"/>
                <a:gd name="T50" fmla="*/ 31 w 147"/>
                <a:gd name="T51" fmla="*/ 83 h 149"/>
                <a:gd name="T52" fmla="*/ 37 w 147"/>
                <a:gd name="T53" fmla="*/ 99 h 149"/>
                <a:gd name="T54" fmla="*/ 50 w 147"/>
                <a:gd name="T55" fmla="*/ 111 h 149"/>
                <a:gd name="T56" fmla="*/ 65 w 147"/>
                <a:gd name="T57" fmla="*/ 117 h 149"/>
                <a:gd name="T58" fmla="*/ 74 w 147"/>
                <a:gd name="T59" fmla="*/ 118 h 149"/>
                <a:gd name="T60" fmla="*/ 90 w 147"/>
                <a:gd name="T61" fmla="*/ 115 h 149"/>
                <a:gd name="T62" fmla="*/ 103 w 147"/>
                <a:gd name="T63" fmla="*/ 105 h 149"/>
                <a:gd name="T64" fmla="*/ 112 w 147"/>
                <a:gd name="T65" fmla="*/ 92 h 149"/>
                <a:gd name="T66" fmla="*/ 115 w 147"/>
                <a:gd name="T67" fmla="*/ 74 h 149"/>
                <a:gd name="T68" fmla="*/ 114 w 147"/>
                <a:gd name="T69" fmla="*/ 66 h 149"/>
                <a:gd name="T70" fmla="*/ 108 w 147"/>
                <a:gd name="T71" fmla="*/ 50 h 149"/>
                <a:gd name="T72" fmla="*/ 97 w 147"/>
                <a:gd name="T73" fmla="*/ 38 h 149"/>
                <a:gd name="T74" fmla="*/ 83 w 147"/>
                <a:gd name="T75" fmla="*/ 32 h 149"/>
                <a:gd name="T76" fmla="*/ 74 w 147"/>
                <a:gd name="T77" fmla="*/ 3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7" h="149">
                  <a:moveTo>
                    <a:pt x="147" y="1"/>
                  </a:moveTo>
                  <a:lnTo>
                    <a:pt x="147" y="148"/>
                  </a:lnTo>
                  <a:lnTo>
                    <a:pt x="114" y="148"/>
                  </a:lnTo>
                  <a:lnTo>
                    <a:pt x="114" y="133"/>
                  </a:lnTo>
                  <a:lnTo>
                    <a:pt x="114" y="133"/>
                  </a:lnTo>
                  <a:lnTo>
                    <a:pt x="108" y="138"/>
                  </a:lnTo>
                  <a:lnTo>
                    <a:pt x="98" y="144"/>
                  </a:lnTo>
                  <a:lnTo>
                    <a:pt x="86" y="148"/>
                  </a:lnTo>
                  <a:lnTo>
                    <a:pt x="80" y="149"/>
                  </a:lnTo>
                  <a:lnTo>
                    <a:pt x="73" y="149"/>
                  </a:lnTo>
                  <a:lnTo>
                    <a:pt x="73" y="149"/>
                  </a:lnTo>
                  <a:lnTo>
                    <a:pt x="57" y="148"/>
                  </a:lnTo>
                  <a:lnTo>
                    <a:pt x="44" y="144"/>
                  </a:lnTo>
                  <a:lnTo>
                    <a:pt x="31" y="138"/>
                  </a:lnTo>
                  <a:lnTo>
                    <a:pt x="20" y="128"/>
                  </a:lnTo>
                  <a:lnTo>
                    <a:pt x="12" y="117"/>
                  </a:lnTo>
                  <a:lnTo>
                    <a:pt x="5" y="105"/>
                  </a:lnTo>
                  <a:lnTo>
                    <a:pt x="2" y="98"/>
                  </a:lnTo>
                  <a:lnTo>
                    <a:pt x="1" y="90"/>
                  </a:lnTo>
                  <a:lnTo>
                    <a:pt x="0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59"/>
                  </a:lnTo>
                  <a:lnTo>
                    <a:pt x="2" y="51"/>
                  </a:lnTo>
                  <a:lnTo>
                    <a:pt x="5" y="44"/>
                  </a:lnTo>
                  <a:lnTo>
                    <a:pt x="12" y="32"/>
                  </a:lnTo>
                  <a:lnTo>
                    <a:pt x="20" y="21"/>
                  </a:lnTo>
                  <a:lnTo>
                    <a:pt x="31" y="12"/>
                  </a:lnTo>
                  <a:lnTo>
                    <a:pt x="44" y="5"/>
                  </a:lnTo>
                  <a:lnTo>
                    <a:pt x="57" y="1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0" y="0"/>
                  </a:lnTo>
                  <a:lnTo>
                    <a:pt x="86" y="1"/>
                  </a:lnTo>
                  <a:lnTo>
                    <a:pt x="98" y="5"/>
                  </a:lnTo>
                  <a:lnTo>
                    <a:pt x="108" y="11"/>
                  </a:lnTo>
                  <a:lnTo>
                    <a:pt x="114" y="17"/>
                  </a:lnTo>
                  <a:lnTo>
                    <a:pt x="114" y="1"/>
                  </a:lnTo>
                  <a:lnTo>
                    <a:pt x="147" y="1"/>
                  </a:lnTo>
                  <a:close/>
                  <a:moveTo>
                    <a:pt x="74" y="31"/>
                  </a:moveTo>
                  <a:lnTo>
                    <a:pt x="74" y="31"/>
                  </a:lnTo>
                  <a:lnTo>
                    <a:pt x="65" y="32"/>
                  </a:lnTo>
                  <a:lnTo>
                    <a:pt x="57" y="34"/>
                  </a:lnTo>
                  <a:lnTo>
                    <a:pt x="50" y="38"/>
                  </a:lnTo>
                  <a:lnTo>
                    <a:pt x="44" y="44"/>
                  </a:lnTo>
                  <a:lnTo>
                    <a:pt x="37" y="50"/>
                  </a:lnTo>
                  <a:lnTo>
                    <a:pt x="34" y="57"/>
                  </a:lnTo>
                  <a:lnTo>
                    <a:pt x="31" y="66"/>
                  </a:lnTo>
                  <a:lnTo>
                    <a:pt x="31" y="74"/>
                  </a:lnTo>
                  <a:lnTo>
                    <a:pt x="31" y="74"/>
                  </a:lnTo>
                  <a:lnTo>
                    <a:pt x="31" y="83"/>
                  </a:lnTo>
                  <a:lnTo>
                    <a:pt x="34" y="92"/>
                  </a:lnTo>
                  <a:lnTo>
                    <a:pt x="37" y="99"/>
                  </a:lnTo>
                  <a:lnTo>
                    <a:pt x="44" y="105"/>
                  </a:lnTo>
                  <a:lnTo>
                    <a:pt x="50" y="111"/>
                  </a:lnTo>
                  <a:lnTo>
                    <a:pt x="57" y="115"/>
                  </a:lnTo>
                  <a:lnTo>
                    <a:pt x="65" y="117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83" y="117"/>
                  </a:lnTo>
                  <a:lnTo>
                    <a:pt x="90" y="115"/>
                  </a:lnTo>
                  <a:lnTo>
                    <a:pt x="97" y="111"/>
                  </a:lnTo>
                  <a:lnTo>
                    <a:pt x="103" y="105"/>
                  </a:lnTo>
                  <a:lnTo>
                    <a:pt x="108" y="99"/>
                  </a:lnTo>
                  <a:lnTo>
                    <a:pt x="112" y="92"/>
                  </a:lnTo>
                  <a:lnTo>
                    <a:pt x="114" y="83"/>
                  </a:lnTo>
                  <a:lnTo>
                    <a:pt x="115" y="74"/>
                  </a:lnTo>
                  <a:lnTo>
                    <a:pt x="115" y="74"/>
                  </a:lnTo>
                  <a:lnTo>
                    <a:pt x="114" y="66"/>
                  </a:lnTo>
                  <a:lnTo>
                    <a:pt x="112" y="57"/>
                  </a:lnTo>
                  <a:lnTo>
                    <a:pt x="108" y="50"/>
                  </a:lnTo>
                  <a:lnTo>
                    <a:pt x="103" y="44"/>
                  </a:lnTo>
                  <a:lnTo>
                    <a:pt x="97" y="38"/>
                  </a:lnTo>
                  <a:lnTo>
                    <a:pt x="90" y="34"/>
                  </a:lnTo>
                  <a:lnTo>
                    <a:pt x="83" y="32"/>
                  </a:lnTo>
                  <a:lnTo>
                    <a:pt x="74" y="31"/>
                  </a:lnTo>
                  <a:lnTo>
                    <a:pt x="74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2"/>
            <p:cNvSpPr>
              <a:spLocks/>
            </p:cNvSpPr>
            <p:nvPr userDrawn="1"/>
          </p:nvSpPr>
          <p:spPr bwMode="auto">
            <a:xfrm>
              <a:off x="1812" y="2429"/>
              <a:ext cx="23" cy="49"/>
            </a:xfrm>
            <a:custGeom>
              <a:avLst/>
              <a:gdLst>
                <a:gd name="T0" fmla="*/ 0 w 70"/>
                <a:gd name="T1" fmla="*/ 1 h 148"/>
                <a:gd name="T2" fmla="*/ 32 w 70"/>
                <a:gd name="T3" fmla="*/ 1 h 148"/>
                <a:gd name="T4" fmla="*/ 32 w 70"/>
                <a:gd name="T5" fmla="*/ 17 h 148"/>
                <a:gd name="T6" fmla="*/ 32 w 70"/>
                <a:gd name="T7" fmla="*/ 17 h 148"/>
                <a:gd name="T8" fmla="*/ 38 w 70"/>
                <a:gd name="T9" fmla="*/ 10 h 148"/>
                <a:gd name="T10" fmla="*/ 47 w 70"/>
                <a:gd name="T11" fmla="*/ 5 h 148"/>
                <a:gd name="T12" fmla="*/ 50 w 70"/>
                <a:gd name="T13" fmla="*/ 3 h 148"/>
                <a:gd name="T14" fmla="*/ 56 w 70"/>
                <a:gd name="T15" fmla="*/ 1 h 148"/>
                <a:gd name="T16" fmla="*/ 62 w 70"/>
                <a:gd name="T17" fmla="*/ 0 h 148"/>
                <a:gd name="T18" fmla="*/ 70 w 70"/>
                <a:gd name="T19" fmla="*/ 0 h 148"/>
                <a:gd name="T20" fmla="*/ 70 w 70"/>
                <a:gd name="T21" fmla="*/ 31 h 148"/>
                <a:gd name="T22" fmla="*/ 67 w 70"/>
                <a:gd name="T23" fmla="*/ 31 h 148"/>
                <a:gd name="T24" fmla="*/ 67 w 70"/>
                <a:gd name="T25" fmla="*/ 31 h 148"/>
                <a:gd name="T26" fmla="*/ 60 w 70"/>
                <a:gd name="T27" fmla="*/ 32 h 148"/>
                <a:gd name="T28" fmla="*/ 53 w 70"/>
                <a:gd name="T29" fmla="*/ 33 h 148"/>
                <a:gd name="T30" fmla="*/ 47 w 70"/>
                <a:gd name="T31" fmla="*/ 37 h 148"/>
                <a:gd name="T32" fmla="*/ 42 w 70"/>
                <a:gd name="T33" fmla="*/ 40 h 148"/>
                <a:gd name="T34" fmla="*/ 38 w 70"/>
                <a:gd name="T35" fmla="*/ 46 h 148"/>
                <a:gd name="T36" fmla="*/ 34 w 70"/>
                <a:gd name="T37" fmla="*/ 53 h 148"/>
                <a:gd name="T38" fmla="*/ 33 w 70"/>
                <a:gd name="T39" fmla="*/ 60 h 148"/>
                <a:gd name="T40" fmla="*/ 32 w 70"/>
                <a:gd name="T41" fmla="*/ 67 h 148"/>
                <a:gd name="T42" fmla="*/ 32 w 70"/>
                <a:gd name="T43" fmla="*/ 148 h 148"/>
                <a:gd name="T44" fmla="*/ 0 w 70"/>
                <a:gd name="T45" fmla="*/ 148 h 148"/>
                <a:gd name="T46" fmla="*/ 0 w 70"/>
                <a:gd name="T47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0" h="148">
                  <a:moveTo>
                    <a:pt x="0" y="1"/>
                  </a:moveTo>
                  <a:lnTo>
                    <a:pt x="32" y="1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8" y="10"/>
                  </a:lnTo>
                  <a:lnTo>
                    <a:pt x="47" y="5"/>
                  </a:lnTo>
                  <a:lnTo>
                    <a:pt x="50" y="3"/>
                  </a:lnTo>
                  <a:lnTo>
                    <a:pt x="56" y="1"/>
                  </a:lnTo>
                  <a:lnTo>
                    <a:pt x="62" y="0"/>
                  </a:lnTo>
                  <a:lnTo>
                    <a:pt x="70" y="0"/>
                  </a:lnTo>
                  <a:lnTo>
                    <a:pt x="70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0" y="32"/>
                  </a:lnTo>
                  <a:lnTo>
                    <a:pt x="53" y="33"/>
                  </a:lnTo>
                  <a:lnTo>
                    <a:pt x="47" y="37"/>
                  </a:lnTo>
                  <a:lnTo>
                    <a:pt x="42" y="40"/>
                  </a:lnTo>
                  <a:lnTo>
                    <a:pt x="38" y="46"/>
                  </a:lnTo>
                  <a:lnTo>
                    <a:pt x="34" y="53"/>
                  </a:lnTo>
                  <a:lnTo>
                    <a:pt x="33" y="60"/>
                  </a:lnTo>
                  <a:lnTo>
                    <a:pt x="32" y="67"/>
                  </a:lnTo>
                  <a:lnTo>
                    <a:pt x="32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3"/>
            <p:cNvSpPr>
              <a:spLocks noEditPoints="1"/>
            </p:cNvSpPr>
            <p:nvPr userDrawn="1"/>
          </p:nvSpPr>
          <p:spPr bwMode="auto">
            <a:xfrm>
              <a:off x="1873" y="2410"/>
              <a:ext cx="40" cy="68"/>
            </a:xfrm>
            <a:custGeom>
              <a:avLst/>
              <a:gdLst>
                <a:gd name="T0" fmla="*/ 60 w 119"/>
                <a:gd name="T1" fmla="*/ 0 h 205"/>
                <a:gd name="T2" fmla="*/ 60 w 119"/>
                <a:gd name="T3" fmla="*/ 0 h 205"/>
                <a:gd name="T4" fmla="*/ 72 w 119"/>
                <a:gd name="T5" fmla="*/ 1 h 205"/>
                <a:gd name="T6" fmla="*/ 83 w 119"/>
                <a:gd name="T7" fmla="*/ 3 h 205"/>
                <a:gd name="T8" fmla="*/ 93 w 119"/>
                <a:gd name="T9" fmla="*/ 8 h 205"/>
                <a:gd name="T10" fmla="*/ 102 w 119"/>
                <a:gd name="T11" fmla="*/ 16 h 205"/>
                <a:gd name="T12" fmla="*/ 109 w 119"/>
                <a:gd name="T13" fmla="*/ 24 h 205"/>
                <a:gd name="T14" fmla="*/ 114 w 119"/>
                <a:gd name="T15" fmla="*/ 34 h 205"/>
                <a:gd name="T16" fmla="*/ 117 w 119"/>
                <a:gd name="T17" fmla="*/ 45 h 205"/>
                <a:gd name="T18" fmla="*/ 119 w 119"/>
                <a:gd name="T19" fmla="*/ 58 h 205"/>
                <a:gd name="T20" fmla="*/ 119 w 119"/>
                <a:gd name="T21" fmla="*/ 58 h 205"/>
                <a:gd name="T22" fmla="*/ 117 w 119"/>
                <a:gd name="T23" fmla="*/ 71 h 205"/>
                <a:gd name="T24" fmla="*/ 115 w 119"/>
                <a:gd name="T25" fmla="*/ 80 h 205"/>
                <a:gd name="T26" fmla="*/ 110 w 119"/>
                <a:gd name="T27" fmla="*/ 90 h 205"/>
                <a:gd name="T28" fmla="*/ 105 w 119"/>
                <a:gd name="T29" fmla="*/ 97 h 205"/>
                <a:gd name="T30" fmla="*/ 98 w 119"/>
                <a:gd name="T31" fmla="*/ 105 h 205"/>
                <a:gd name="T32" fmla="*/ 91 w 119"/>
                <a:gd name="T33" fmla="*/ 110 h 205"/>
                <a:gd name="T34" fmla="*/ 81 w 119"/>
                <a:gd name="T35" fmla="*/ 113 h 205"/>
                <a:gd name="T36" fmla="*/ 72 w 119"/>
                <a:gd name="T37" fmla="*/ 116 h 205"/>
                <a:gd name="T38" fmla="*/ 119 w 119"/>
                <a:gd name="T39" fmla="*/ 205 h 205"/>
                <a:gd name="T40" fmla="*/ 81 w 119"/>
                <a:gd name="T41" fmla="*/ 205 h 205"/>
                <a:gd name="T42" fmla="*/ 37 w 119"/>
                <a:gd name="T43" fmla="*/ 117 h 205"/>
                <a:gd name="T44" fmla="*/ 33 w 119"/>
                <a:gd name="T45" fmla="*/ 117 h 205"/>
                <a:gd name="T46" fmla="*/ 33 w 119"/>
                <a:gd name="T47" fmla="*/ 205 h 205"/>
                <a:gd name="T48" fmla="*/ 0 w 119"/>
                <a:gd name="T49" fmla="*/ 205 h 205"/>
                <a:gd name="T50" fmla="*/ 0 w 119"/>
                <a:gd name="T51" fmla="*/ 0 h 205"/>
                <a:gd name="T52" fmla="*/ 60 w 119"/>
                <a:gd name="T53" fmla="*/ 0 h 205"/>
                <a:gd name="T54" fmla="*/ 33 w 119"/>
                <a:gd name="T55" fmla="*/ 86 h 205"/>
                <a:gd name="T56" fmla="*/ 60 w 119"/>
                <a:gd name="T57" fmla="*/ 86 h 205"/>
                <a:gd name="T58" fmla="*/ 60 w 119"/>
                <a:gd name="T59" fmla="*/ 86 h 205"/>
                <a:gd name="T60" fmla="*/ 66 w 119"/>
                <a:gd name="T61" fmla="*/ 85 h 205"/>
                <a:gd name="T62" fmla="*/ 72 w 119"/>
                <a:gd name="T63" fmla="*/ 84 h 205"/>
                <a:gd name="T64" fmla="*/ 76 w 119"/>
                <a:gd name="T65" fmla="*/ 81 h 205"/>
                <a:gd name="T66" fmla="*/ 80 w 119"/>
                <a:gd name="T67" fmla="*/ 78 h 205"/>
                <a:gd name="T68" fmla="*/ 83 w 119"/>
                <a:gd name="T69" fmla="*/ 74 h 205"/>
                <a:gd name="T70" fmla="*/ 84 w 119"/>
                <a:gd name="T71" fmla="*/ 69 h 205"/>
                <a:gd name="T72" fmla="*/ 86 w 119"/>
                <a:gd name="T73" fmla="*/ 64 h 205"/>
                <a:gd name="T74" fmla="*/ 87 w 119"/>
                <a:gd name="T75" fmla="*/ 58 h 205"/>
                <a:gd name="T76" fmla="*/ 87 w 119"/>
                <a:gd name="T77" fmla="*/ 58 h 205"/>
                <a:gd name="T78" fmla="*/ 86 w 119"/>
                <a:gd name="T79" fmla="*/ 53 h 205"/>
                <a:gd name="T80" fmla="*/ 84 w 119"/>
                <a:gd name="T81" fmla="*/ 47 h 205"/>
                <a:gd name="T82" fmla="*/ 83 w 119"/>
                <a:gd name="T83" fmla="*/ 42 h 205"/>
                <a:gd name="T84" fmla="*/ 80 w 119"/>
                <a:gd name="T85" fmla="*/ 39 h 205"/>
                <a:gd name="T86" fmla="*/ 76 w 119"/>
                <a:gd name="T87" fmla="*/ 35 h 205"/>
                <a:gd name="T88" fmla="*/ 72 w 119"/>
                <a:gd name="T89" fmla="*/ 33 h 205"/>
                <a:gd name="T90" fmla="*/ 66 w 119"/>
                <a:gd name="T91" fmla="*/ 31 h 205"/>
                <a:gd name="T92" fmla="*/ 60 w 119"/>
                <a:gd name="T93" fmla="*/ 31 h 205"/>
                <a:gd name="T94" fmla="*/ 33 w 119"/>
                <a:gd name="T95" fmla="*/ 31 h 205"/>
                <a:gd name="T96" fmla="*/ 33 w 119"/>
                <a:gd name="T97" fmla="*/ 86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9" h="205">
                  <a:moveTo>
                    <a:pt x="60" y="0"/>
                  </a:moveTo>
                  <a:lnTo>
                    <a:pt x="60" y="0"/>
                  </a:lnTo>
                  <a:lnTo>
                    <a:pt x="72" y="1"/>
                  </a:lnTo>
                  <a:lnTo>
                    <a:pt x="83" y="3"/>
                  </a:lnTo>
                  <a:lnTo>
                    <a:pt x="93" y="8"/>
                  </a:lnTo>
                  <a:lnTo>
                    <a:pt x="102" y="16"/>
                  </a:lnTo>
                  <a:lnTo>
                    <a:pt x="109" y="24"/>
                  </a:lnTo>
                  <a:lnTo>
                    <a:pt x="114" y="34"/>
                  </a:lnTo>
                  <a:lnTo>
                    <a:pt x="117" y="45"/>
                  </a:lnTo>
                  <a:lnTo>
                    <a:pt x="119" y="58"/>
                  </a:lnTo>
                  <a:lnTo>
                    <a:pt x="119" y="58"/>
                  </a:lnTo>
                  <a:lnTo>
                    <a:pt x="117" y="71"/>
                  </a:lnTo>
                  <a:lnTo>
                    <a:pt x="115" y="80"/>
                  </a:lnTo>
                  <a:lnTo>
                    <a:pt x="110" y="90"/>
                  </a:lnTo>
                  <a:lnTo>
                    <a:pt x="105" y="97"/>
                  </a:lnTo>
                  <a:lnTo>
                    <a:pt x="98" y="105"/>
                  </a:lnTo>
                  <a:lnTo>
                    <a:pt x="91" y="110"/>
                  </a:lnTo>
                  <a:lnTo>
                    <a:pt x="81" y="113"/>
                  </a:lnTo>
                  <a:lnTo>
                    <a:pt x="72" y="116"/>
                  </a:lnTo>
                  <a:lnTo>
                    <a:pt x="119" y="205"/>
                  </a:lnTo>
                  <a:lnTo>
                    <a:pt x="81" y="205"/>
                  </a:lnTo>
                  <a:lnTo>
                    <a:pt x="37" y="117"/>
                  </a:lnTo>
                  <a:lnTo>
                    <a:pt x="33" y="117"/>
                  </a:lnTo>
                  <a:lnTo>
                    <a:pt x="33" y="205"/>
                  </a:lnTo>
                  <a:lnTo>
                    <a:pt x="0" y="205"/>
                  </a:lnTo>
                  <a:lnTo>
                    <a:pt x="0" y="0"/>
                  </a:lnTo>
                  <a:lnTo>
                    <a:pt x="60" y="0"/>
                  </a:lnTo>
                  <a:close/>
                  <a:moveTo>
                    <a:pt x="33" y="86"/>
                  </a:moveTo>
                  <a:lnTo>
                    <a:pt x="60" y="86"/>
                  </a:lnTo>
                  <a:lnTo>
                    <a:pt x="60" y="86"/>
                  </a:lnTo>
                  <a:lnTo>
                    <a:pt x="66" y="85"/>
                  </a:lnTo>
                  <a:lnTo>
                    <a:pt x="72" y="84"/>
                  </a:lnTo>
                  <a:lnTo>
                    <a:pt x="76" y="81"/>
                  </a:lnTo>
                  <a:lnTo>
                    <a:pt x="80" y="78"/>
                  </a:lnTo>
                  <a:lnTo>
                    <a:pt x="83" y="74"/>
                  </a:lnTo>
                  <a:lnTo>
                    <a:pt x="84" y="69"/>
                  </a:lnTo>
                  <a:lnTo>
                    <a:pt x="86" y="64"/>
                  </a:lnTo>
                  <a:lnTo>
                    <a:pt x="87" y="58"/>
                  </a:lnTo>
                  <a:lnTo>
                    <a:pt x="87" y="58"/>
                  </a:lnTo>
                  <a:lnTo>
                    <a:pt x="86" y="53"/>
                  </a:lnTo>
                  <a:lnTo>
                    <a:pt x="84" y="47"/>
                  </a:lnTo>
                  <a:lnTo>
                    <a:pt x="83" y="42"/>
                  </a:lnTo>
                  <a:lnTo>
                    <a:pt x="80" y="39"/>
                  </a:lnTo>
                  <a:lnTo>
                    <a:pt x="76" y="35"/>
                  </a:lnTo>
                  <a:lnTo>
                    <a:pt x="72" y="33"/>
                  </a:lnTo>
                  <a:lnTo>
                    <a:pt x="66" y="31"/>
                  </a:lnTo>
                  <a:lnTo>
                    <a:pt x="60" y="31"/>
                  </a:lnTo>
                  <a:lnTo>
                    <a:pt x="33" y="31"/>
                  </a:lnTo>
                  <a:lnTo>
                    <a:pt x="33" y="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4"/>
            <p:cNvSpPr>
              <a:spLocks noEditPoints="1"/>
            </p:cNvSpPr>
            <p:nvPr userDrawn="1"/>
          </p:nvSpPr>
          <p:spPr bwMode="auto">
            <a:xfrm>
              <a:off x="1918" y="2429"/>
              <a:ext cx="49" cy="50"/>
            </a:xfrm>
            <a:custGeom>
              <a:avLst/>
              <a:gdLst>
                <a:gd name="T0" fmla="*/ 34 w 149"/>
                <a:gd name="T1" fmla="*/ 85 h 149"/>
                <a:gd name="T2" fmla="*/ 39 w 149"/>
                <a:gd name="T3" fmla="*/ 99 h 149"/>
                <a:gd name="T4" fmla="*/ 48 w 149"/>
                <a:gd name="T5" fmla="*/ 110 h 149"/>
                <a:gd name="T6" fmla="*/ 60 w 149"/>
                <a:gd name="T7" fmla="*/ 116 h 149"/>
                <a:gd name="T8" fmla="*/ 76 w 149"/>
                <a:gd name="T9" fmla="*/ 120 h 149"/>
                <a:gd name="T10" fmla="*/ 85 w 149"/>
                <a:gd name="T11" fmla="*/ 118 h 149"/>
                <a:gd name="T12" fmla="*/ 102 w 149"/>
                <a:gd name="T13" fmla="*/ 111 h 149"/>
                <a:gd name="T14" fmla="*/ 146 w 149"/>
                <a:gd name="T15" fmla="*/ 105 h 149"/>
                <a:gd name="T16" fmla="*/ 141 w 149"/>
                <a:gd name="T17" fmla="*/ 115 h 149"/>
                <a:gd name="T18" fmla="*/ 128 w 149"/>
                <a:gd name="T19" fmla="*/ 131 h 149"/>
                <a:gd name="T20" fmla="*/ 110 w 149"/>
                <a:gd name="T21" fmla="*/ 143 h 149"/>
                <a:gd name="T22" fmla="*/ 87 w 149"/>
                <a:gd name="T23" fmla="*/ 149 h 149"/>
                <a:gd name="T24" fmla="*/ 76 w 149"/>
                <a:gd name="T25" fmla="*/ 149 h 149"/>
                <a:gd name="T26" fmla="*/ 60 w 149"/>
                <a:gd name="T27" fmla="*/ 148 h 149"/>
                <a:gd name="T28" fmla="*/ 45 w 149"/>
                <a:gd name="T29" fmla="*/ 144 h 149"/>
                <a:gd name="T30" fmla="*/ 22 w 149"/>
                <a:gd name="T31" fmla="*/ 128 h 149"/>
                <a:gd name="T32" fmla="*/ 6 w 149"/>
                <a:gd name="T33" fmla="*/ 104 h 149"/>
                <a:gd name="T34" fmla="*/ 1 w 149"/>
                <a:gd name="T35" fmla="*/ 90 h 149"/>
                <a:gd name="T36" fmla="*/ 0 w 149"/>
                <a:gd name="T37" fmla="*/ 74 h 149"/>
                <a:gd name="T38" fmla="*/ 0 w 149"/>
                <a:gd name="T39" fmla="*/ 67 h 149"/>
                <a:gd name="T40" fmla="*/ 6 w 149"/>
                <a:gd name="T41" fmla="*/ 45 h 149"/>
                <a:gd name="T42" fmla="*/ 22 w 149"/>
                <a:gd name="T43" fmla="*/ 22 h 149"/>
                <a:gd name="T44" fmla="*/ 45 w 149"/>
                <a:gd name="T45" fmla="*/ 6 h 149"/>
                <a:gd name="T46" fmla="*/ 59 w 149"/>
                <a:gd name="T47" fmla="*/ 1 h 149"/>
                <a:gd name="T48" fmla="*/ 74 w 149"/>
                <a:gd name="T49" fmla="*/ 0 h 149"/>
                <a:gd name="T50" fmla="*/ 82 w 149"/>
                <a:gd name="T51" fmla="*/ 0 h 149"/>
                <a:gd name="T52" fmla="*/ 96 w 149"/>
                <a:gd name="T53" fmla="*/ 4 h 149"/>
                <a:gd name="T54" fmla="*/ 116 w 149"/>
                <a:gd name="T55" fmla="*/ 12 h 149"/>
                <a:gd name="T56" fmla="*/ 135 w 149"/>
                <a:gd name="T57" fmla="*/ 33 h 149"/>
                <a:gd name="T58" fmla="*/ 146 w 149"/>
                <a:gd name="T59" fmla="*/ 60 h 149"/>
                <a:gd name="T60" fmla="*/ 149 w 149"/>
                <a:gd name="T61" fmla="*/ 74 h 149"/>
                <a:gd name="T62" fmla="*/ 148 w 149"/>
                <a:gd name="T63" fmla="*/ 85 h 149"/>
                <a:gd name="T64" fmla="*/ 36 w 149"/>
                <a:gd name="T65" fmla="*/ 57 h 149"/>
                <a:gd name="T66" fmla="*/ 113 w 149"/>
                <a:gd name="T67" fmla="*/ 57 h 149"/>
                <a:gd name="T68" fmla="*/ 107 w 149"/>
                <a:gd name="T69" fmla="*/ 46 h 149"/>
                <a:gd name="T70" fmla="*/ 99 w 149"/>
                <a:gd name="T71" fmla="*/ 38 h 149"/>
                <a:gd name="T72" fmla="*/ 88 w 149"/>
                <a:gd name="T73" fmla="*/ 32 h 149"/>
                <a:gd name="T74" fmla="*/ 74 w 149"/>
                <a:gd name="T75" fmla="*/ 29 h 149"/>
                <a:gd name="T76" fmla="*/ 67 w 149"/>
                <a:gd name="T77" fmla="*/ 31 h 149"/>
                <a:gd name="T78" fmla="*/ 55 w 149"/>
                <a:gd name="T79" fmla="*/ 34 h 149"/>
                <a:gd name="T80" fmla="*/ 45 w 149"/>
                <a:gd name="T81" fmla="*/ 42 h 149"/>
                <a:gd name="T82" fmla="*/ 38 w 149"/>
                <a:gd name="T83" fmla="*/ 51 h 149"/>
                <a:gd name="T84" fmla="*/ 36 w 149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149">
                  <a:moveTo>
                    <a:pt x="34" y="85"/>
                  </a:moveTo>
                  <a:lnTo>
                    <a:pt x="34" y="85"/>
                  </a:lnTo>
                  <a:lnTo>
                    <a:pt x="36" y="93"/>
                  </a:lnTo>
                  <a:lnTo>
                    <a:pt x="39" y="99"/>
                  </a:lnTo>
                  <a:lnTo>
                    <a:pt x="43" y="105"/>
                  </a:lnTo>
                  <a:lnTo>
                    <a:pt x="48" y="110"/>
                  </a:lnTo>
                  <a:lnTo>
                    <a:pt x="54" y="113"/>
                  </a:lnTo>
                  <a:lnTo>
                    <a:pt x="60" y="116"/>
                  </a:lnTo>
                  <a:lnTo>
                    <a:pt x="67" y="118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5" y="118"/>
                  </a:lnTo>
                  <a:lnTo>
                    <a:pt x="95" y="116"/>
                  </a:lnTo>
                  <a:lnTo>
                    <a:pt x="102" y="111"/>
                  </a:lnTo>
                  <a:lnTo>
                    <a:pt x="109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1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20" y="137"/>
                  </a:lnTo>
                  <a:lnTo>
                    <a:pt x="110" y="143"/>
                  </a:lnTo>
                  <a:lnTo>
                    <a:pt x="99" y="146"/>
                  </a:lnTo>
                  <a:lnTo>
                    <a:pt x="87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4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3" y="4"/>
                  </a:lnTo>
                  <a:lnTo>
                    <a:pt x="59" y="1"/>
                  </a:lnTo>
                  <a:lnTo>
                    <a:pt x="67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2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4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5" y="33"/>
                  </a:lnTo>
                  <a:lnTo>
                    <a:pt x="143" y="45"/>
                  </a:lnTo>
                  <a:lnTo>
                    <a:pt x="146" y="60"/>
                  </a:lnTo>
                  <a:lnTo>
                    <a:pt x="148" y="6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8" y="85"/>
                  </a:lnTo>
                  <a:lnTo>
                    <a:pt x="34" y="85"/>
                  </a:lnTo>
                  <a:close/>
                  <a:moveTo>
                    <a:pt x="36" y="57"/>
                  </a:moveTo>
                  <a:lnTo>
                    <a:pt x="113" y="57"/>
                  </a:lnTo>
                  <a:lnTo>
                    <a:pt x="113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4" y="42"/>
                  </a:lnTo>
                  <a:lnTo>
                    <a:pt x="99" y="38"/>
                  </a:lnTo>
                  <a:lnTo>
                    <a:pt x="94" y="34"/>
                  </a:lnTo>
                  <a:lnTo>
                    <a:pt x="88" y="32"/>
                  </a:lnTo>
                  <a:lnTo>
                    <a:pt x="81" y="31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6" y="57"/>
                  </a:lnTo>
                  <a:lnTo>
                    <a:pt x="36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5"/>
            <p:cNvSpPr>
              <a:spLocks/>
            </p:cNvSpPr>
            <p:nvPr userDrawn="1"/>
          </p:nvSpPr>
          <p:spPr bwMode="auto">
            <a:xfrm>
              <a:off x="1974" y="2429"/>
              <a:ext cx="33" cy="50"/>
            </a:xfrm>
            <a:custGeom>
              <a:avLst/>
              <a:gdLst>
                <a:gd name="T0" fmla="*/ 31 w 101"/>
                <a:gd name="T1" fmla="*/ 99 h 149"/>
                <a:gd name="T2" fmla="*/ 33 w 101"/>
                <a:gd name="T3" fmla="*/ 107 h 149"/>
                <a:gd name="T4" fmla="*/ 37 w 101"/>
                <a:gd name="T5" fmla="*/ 113 h 149"/>
                <a:gd name="T6" fmla="*/ 50 w 101"/>
                <a:gd name="T7" fmla="*/ 120 h 149"/>
                <a:gd name="T8" fmla="*/ 57 w 101"/>
                <a:gd name="T9" fmla="*/ 118 h 149"/>
                <a:gd name="T10" fmla="*/ 66 w 101"/>
                <a:gd name="T11" fmla="*/ 112 h 149"/>
                <a:gd name="T12" fmla="*/ 68 w 101"/>
                <a:gd name="T13" fmla="*/ 105 h 149"/>
                <a:gd name="T14" fmla="*/ 68 w 101"/>
                <a:gd name="T15" fmla="*/ 101 h 149"/>
                <a:gd name="T16" fmla="*/ 66 w 101"/>
                <a:gd name="T17" fmla="*/ 92 h 149"/>
                <a:gd name="T18" fmla="*/ 60 w 101"/>
                <a:gd name="T19" fmla="*/ 85 h 149"/>
                <a:gd name="T20" fmla="*/ 40 w 101"/>
                <a:gd name="T21" fmla="*/ 79 h 149"/>
                <a:gd name="T22" fmla="*/ 36 w 101"/>
                <a:gd name="T23" fmla="*/ 77 h 149"/>
                <a:gd name="T24" fmla="*/ 25 w 101"/>
                <a:gd name="T25" fmla="*/ 71 h 149"/>
                <a:gd name="T26" fmla="*/ 16 w 101"/>
                <a:gd name="T27" fmla="*/ 62 h 149"/>
                <a:gd name="T28" fmla="*/ 11 w 101"/>
                <a:gd name="T29" fmla="*/ 49 h 149"/>
                <a:gd name="T30" fmla="*/ 10 w 101"/>
                <a:gd name="T31" fmla="*/ 40 h 149"/>
                <a:gd name="T32" fmla="*/ 14 w 101"/>
                <a:gd name="T33" fmla="*/ 24 h 149"/>
                <a:gd name="T34" fmla="*/ 22 w 101"/>
                <a:gd name="T35" fmla="*/ 11 h 149"/>
                <a:gd name="T36" fmla="*/ 34 w 101"/>
                <a:gd name="T37" fmla="*/ 3 h 149"/>
                <a:gd name="T38" fmla="*/ 50 w 101"/>
                <a:gd name="T39" fmla="*/ 0 h 149"/>
                <a:gd name="T40" fmla="*/ 61 w 101"/>
                <a:gd name="T41" fmla="*/ 1 h 149"/>
                <a:gd name="T42" fmla="*/ 78 w 101"/>
                <a:gd name="T43" fmla="*/ 11 h 149"/>
                <a:gd name="T44" fmla="*/ 65 w 101"/>
                <a:gd name="T45" fmla="*/ 38 h 149"/>
                <a:gd name="T46" fmla="*/ 64 w 101"/>
                <a:gd name="T47" fmla="*/ 34 h 149"/>
                <a:gd name="T48" fmla="*/ 56 w 101"/>
                <a:gd name="T49" fmla="*/ 29 h 149"/>
                <a:gd name="T50" fmla="*/ 53 w 101"/>
                <a:gd name="T51" fmla="*/ 28 h 149"/>
                <a:gd name="T52" fmla="*/ 44 w 101"/>
                <a:gd name="T53" fmla="*/ 32 h 149"/>
                <a:gd name="T54" fmla="*/ 40 w 101"/>
                <a:gd name="T55" fmla="*/ 40 h 149"/>
                <a:gd name="T56" fmla="*/ 42 w 101"/>
                <a:gd name="T57" fmla="*/ 44 h 149"/>
                <a:gd name="T58" fmla="*/ 47 w 101"/>
                <a:gd name="T59" fmla="*/ 50 h 149"/>
                <a:gd name="T60" fmla="*/ 61 w 101"/>
                <a:gd name="T61" fmla="*/ 55 h 149"/>
                <a:gd name="T62" fmla="*/ 73 w 101"/>
                <a:gd name="T63" fmla="*/ 59 h 149"/>
                <a:gd name="T64" fmla="*/ 83 w 101"/>
                <a:gd name="T65" fmla="*/ 63 h 149"/>
                <a:gd name="T66" fmla="*/ 93 w 101"/>
                <a:gd name="T67" fmla="*/ 72 h 149"/>
                <a:gd name="T68" fmla="*/ 99 w 101"/>
                <a:gd name="T69" fmla="*/ 84 h 149"/>
                <a:gd name="T70" fmla="*/ 101 w 101"/>
                <a:gd name="T71" fmla="*/ 100 h 149"/>
                <a:gd name="T72" fmla="*/ 100 w 101"/>
                <a:gd name="T73" fmla="*/ 111 h 149"/>
                <a:gd name="T74" fmla="*/ 93 w 101"/>
                <a:gd name="T75" fmla="*/ 128 h 149"/>
                <a:gd name="T76" fmla="*/ 79 w 101"/>
                <a:gd name="T77" fmla="*/ 142 h 149"/>
                <a:gd name="T78" fmla="*/ 61 w 101"/>
                <a:gd name="T79" fmla="*/ 149 h 149"/>
                <a:gd name="T80" fmla="*/ 50 w 101"/>
                <a:gd name="T81" fmla="*/ 149 h 149"/>
                <a:gd name="T82" fmla="*/ 29 w 101"/>
                <a:gd name="T83" fmla="*/ 145 h 149"/>
                <a:gd name="T84" fmla="*/ 14 w 101"/>
                <a:gd name="T85" fmla="*/ 135 h 149"/>
                <a:gd name="T86" fmla="*/ 4 w 101"/>
                <a:gd name="T87" fmla="*/ 118 h 149"/>
                <a:gd name="T88" fmla="*/ 0 w 101"/>
                <a:gd name="T89" fmla="*/ 9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01" h="149">
                  <a:moveTo>
                    <a:pt x="31" y="99"/>
                  </a:moveTo>
                  <a:lnTo>
                    <a:pt x="31" y="99"/>
                  </a:lnTo>
                  <a:lnTo>
                    <a:pt x="32" y="104"/>
                  </a:lnTo>
                  <a:lnTo>
                    <a:pt x="33" y="107"/>
                  </a:lnTo>
                  <a:lnTo>
                    <a:pt x="34" y="111"/>
                  </a:lnTo>
                  <a:lnTo>
                    <a:pt x="37" y="113"/>
                  </a:lnTo>
                  <a:lnTo>
                    <a:pt x="43" y="117"/>
                  </a:lnTo>
                  <a:lnTo>
                    <a:pt x="50" y="120"/>
                  </a:lnTo>
                  <a:lnTo>
                    <a:pt x="50" y="120"/>
                  </a:lnTo>
                  <a:lnTo>
                    <a:pt x="57" y="118"/>
                  </a:lnTo>
                  <a:lnTo>
                    <a:pt x="64" y="115"/>
                  </a:lnTo>
                  <a:lnTo>
                    <a:pt x="66" y="112"/>
                  </a:lnTo>
                  <a:lnTo>
                    <a:pt x="67" y="109"/>
                  </a:lnTo>
                  <a:lnTo>
                    <a:pt x="68" y="105"/>
                  </a:lnTo>
                  <a:lnTo>
                    <a:pt x="68" y="101"/>
                  </a:lnTo>
                  <a:lnTo>
                    <a:pt x="68" y="101"/>
                  </a:lnTo>
                  <a:lnTo>
                    <a:pt x="68" y="95"/>
                  </a:lnTo>
                  <a:lnTo>
                    <a:pt x="66" y="92"/>
                  </a:lnTo>
                  <a:lnTo>
                    <a:pt x="64" y="88"/>
                  </a:lnTo>
                  <a:lnTo>
                    <a:pt x="60" y="85"/>
                  </a:lnTo>
                  <a:lnTo>
                    <a:pt x="51" y="82"/>
                  </a:lnTo>
                  <a:lnTo>
                    <a:pt x="40" y="79"/>
                  </a:lnTo>
                  <a:lnTo>
                    <a:pt x="40" y="79"/>
                  </a:lnTo>
                  <a:lnTo>
                    <a:pt x="36" y="77"/>
                  </a:lnTo>
                  <a:lnTo>
                    <a:pt x="29" y="74"/>
                  </a:lnTo>
                  <a:lnTo>
                    <a:pt x="25" y="71"/>
                  </a:lnTo>
                  <a:lnTo>
                    <a:pt x="20" y="67"/>
                  </a:lnTo>
                  <a:lnTo>
                    <a:pt x="16" y="62"/>
                  </a:lnTo>
                  <a:lnTo>
                    <a:pt x="12" y="56"/>
                  </a:lnTo>
                  <a:lnTo>
                    <a:pt x="11" y="49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1" y="32"/>
                  </a:lnTo>
                  <a:lnTo>
                    <a:pt x="14" y="24"/>
                  </a:lnTo>
                  <a:lnTo>
                    <a:pt x="17" y="17"/>
                  </a:lnTo>
                  <a:lnTo>
                    <a:pt x="22" y="11"/>
                  </a:lnTo>
                  <a:lnTo>
                    <a:pt x="28" y="6"/>
                  </a:lnTo>
                  <a:lnTo>
                    <a:pt x="34" y="3"/>
                  </a:lnTo>
                  <a:lnTo>
                    <a:pt x="43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61" y="1"/>
                  </a:lnTo>
                  <a:lnTo>
                    <a:pt x="71" y="5"/>
                  </a:lnTo>
                  <a:lnTo>
                    <a:pt x="78" y="11"/>
                  </a:lnTo>
                  <a:lnTo>
                    <a:pt x="85" y="18"/>
                  </a:lnTo>
                  <a:lnTo>
                    <a:pt x="65" y="38"/>
                  </a:lnTo>
                  <a:lnTo>
                    <a:pt x="65" y="38"/>
                  </a:lnTo>
                  <a:lnTo>
                    <a:pt x="64" y="34"/>
                  </a:lnTo>
                  <a:lnTo>
                    <a:pt x="60" y="31"/>
                  </a:lnTo>
                  <a:lnTo>
                    <a:pt x="56" y="29"/>
                  </a:lnTo>
                  <a:lnTo>
                    <a:pt x="53" y="28"/>
                  </a:lnTo>
                  <a:lnTo>
                    <a:pt x="53" y="28"/>
                  </a:lnTo>
                  <a:lnTo>
                    <a:pt x="48" y="29"/>
                  </a:lnTo>
                  <a:lnTo>
                    <a:pt x="44" y="32"/>
                  </a:lnTo>
                  <a:lnTo>
                    <a:pt x="42" y="35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2" y="44"/>
                  </a:lnTo>
                  <a:lnTo>
                    <a:pt x="44" y="48"/>
                  </a:lnTo>
                  <a:lnTo>
                    <a:pt x="47" y="50"/>
                  </a:lnTo>
                  <a:lnTo>
                    <a:pt x="51" y="53"/>
                  </a:lnTo>
                  <a:lnTo>
                    <a:pt x="61" y="55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8" y="61"/>
                  </a:lnTo>
                  <a:lnTo>
                    <a:pt x="83" y="63"/>
                  </a:lnTo>
                  <a:lnTo>
                    <a:pt x="88" y="67"/>
                  </a:lnTo>
                  <a:lnTo>
                    <a:pt x="93" y="72"/>
                  </a:lnTo>
                  <a:lnTo>
                    <a:pt x="96" y="78"/>
                  </a:lnTo>
                  <a:lnTo>
                    <a:pt x="99" y="84"/>
                  </a:lnTo>
                  <a:lnTo>
                    <a:pt x="100" y="92"/>
                  </a:lnTo>
                  <a:lnTo>
                    <a:pt x="101" y="100"/>
                  </a:lnTo>
                  <a:lnTo>
                    <a:pt x="101" y="100"/>
                  </a:lnTo>
                  <a:lnTo>
                    <a:pt x="100" y="111"/>
                  </a:lnTo>
                  <a:lnTo>
                    <a:pt x="98" y="121"/>
                  </a:lnTo>
                  <a:lnTo>
                    <a:pt x="93" y="128"/>
                  </a:lnTo>
                  <a:lnTo>
                    <a:pt x="87" y="135"/>
                  </a:lnTo>
                  <a:lnTo>
                    <a:pt x="79" y="142"/>
                  </a:lnTo>
                  <a:lnTo>
                    <a:pt x="71" y="146"/>
                  </a:lnTo>
                  <a:lnTo>
                    <a:pt x="61" y="149"/>
                  </a:lnTo>
                  <a:lnTo>
                    <a:pt x="50" y="149"/>
                  </a:lnTo>
                  <a:lnTo>
                    <a:pt x="50" y="149"/>
                  </a:lnTo>
                  <a:lnTo>
                    <a:pt x="39" y="149"/>
                  </a:lnTo>
                  <a:lnTo>
                    <a:pt x="29" y="145"/>
                  </a:lnTo>
                  <a:lnTo>
                    <a:pt x="21" y="140"/>
                  </a:lnTo>
                  <a:lnTo>
                    <a:pt x="14" y="135"/>
                  </a:lnTo>
                  <a:lnTo>
                    <a:pt x="9" y="127"/>
                  </a:lnTo>
                  <a:lnTo>
                    <a:pt x="4" y="118"/>
                  </a:lnTo>
                  <a:lnTo>
                    <a:pt x="1" y="110"/>
                  </a:lnTo>
                  <a:lnTo>
                    <a:pt x="0" y="99"/>
                  </a:lnTo>
                  <a:lnTo>
                    <a:pt x="31" y="9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6"/>
            <p:cNvSpPr>
              <a:spLocks noEditPoints="1"/>
            </p:cNvSpPr>
            <p:nvPr userDrawn="1"/>
          </p:nvSpPr>
          <p:spPr bwMode="auto">
            <a:xfrm>
              <a:off x="2015" y="2429"/>
              <a:ext cx="49" cy="50"/>
            </a:xfrm>
            <a:custGeom>
              <a:avLst/>
              <a:gdLst>
                <a:gd name="T0" fmla="*/ 34 w 149"/>
                <a:gd name="T1" fmla="*/ 85 h 149"/>
                <a:gd name="T2" fmla="*/ 39 w 149"/>
                <a:gd name="T3" fmla="*/ 99 h 149"/>
                <a:gd name="T4" fmla="*/ 48 w 149"/>
                <a:gd name="T5" fmla="*/ 110 h 149"/>
                <a:gd name="T6" fmla="*/ 60 w 149"/>
                <a:gd name="T7" fmla="*/ 116 h 149"/>
                <a:gd name="T8" fmla="*/ 75 w 149"/>
                <a:gd name="T9" fmla="*/ 120 h 149"/>
                <a:gd name="T10" fmla="*/ 85 w 149"/>
                <a:gd name="T11" fmla="*/ 118 h 149"/>
                <a:gd name="T12" fmla="*/ 103 w 149"/>
                <a:gd name="T13" fmla="*/ 111 h 149"/>
                <a:gd name="T14" fmla="*/ 146 w 149"/>
                <a:gd name="T15" fmla="*/ 105 h 149"/>
                <a:gd name="T16" fmla="*/ 141 w 149"/>
                <a:gd name="T17" fmla="*/ 115 h 149"/>
                <a:gd name="T18" fmla="*/ 128 w 149"/>
                <a:gd name="T19" fmla="*/ 131 h 149"/>
                <a:gd name="T20" fmla="*/ 110 w 149"/>
                <a:gd name="T21" fmla="*/ 143 h 149"/>
                <a:gd name="T22" fmla="*/ 87 w 149"/>
                <a:gd name="T23" fmla="*/ 149 h 149"/>
                <a:gd name="T24" fmla="*/ 75 w 149"/>
                <a:gd name="T25" fmla="*/ 149 h 149"/>
                <a:gd name="T26" fmla="*/ 60 w 149"/>
                <a:gd name="T27" fmla="*/ 148 h 149"/>
                <a:gd name="T28" fmla="*/ 45 w 149"/>
                <a:gd name="T29" fmla="*/ 144 h 149"/>
                <a:gd name="T30" fmla="*/ 22 w 149"/>
                <a:gd name="T31" fmla="*/ 128 h 149"/>
                <a:gd name="T32" fmla="*/ 6 w 149"/>
                <a:gd name="T33" fmla="*/ 104 h 149"/>
                <a:gd name="T34" fmla="*/ 1 w 149"/>
                <a:gd name="T35" fmla="*/ 90 h 149"/>
                <a:gd name="T36" fmla="*/ 0 w 149"/>
                <a:gd name="T37" fmla="*/ 74 h 149"/>
                <a:gd name="T38" fmla="*/ 0 w 149"/>
                <a:gd name="T39" fmla="*/ 67 h 149"/>
                <a:gd name="T40" fmla="*/ 6 w 149"/>
                <a:gd name="T41" fmla="*/ 45 h 149"/>
                <a:gd name="T42" fmla="*/ 21 w 149"/>
                <a:gd name="T43" fmla="*/ 22 h 149"/>
                <a:gd name="T44" fmla="*/ 45 w 149"/>
                <a:gd name="T45" fmla="*/ 6 h 149"/>
                <a:gd name="T46" fmla="*/ 59 w 149"/>
                <a:gd name="T47" fmla="*/ 1 h 149"/>
                <a:gd name="T48" fmla="*/ 75 w 149"/>
                <a:gd name="T49" fmla="*/ 0 h 149"/>
                <a:gd name="T50" fmla="*/ 82 w 149"/>
                <a:gd name="T51" fmla="*/ 0 h 149"/>
                <a:gd name="T52" fmla="*/ 96 w 149"/>
                <a:gd name="T53" fmla="*/ 4 h 149"/>
                <a:gd name="T54" fmla="*/ 116 w 149"/>
                <a:gd name="T55" fmla="*/ 12 h 149"/>
                <a:gd name="T56" fmla="*/ 135 w 149"/>
                <a:gd name="T57" fmla="*/ 33 h 149"/>
                <a:gd name="T58" fmla="*/ 146 w 149"/>
                <a:gd name="T59" fmla="*/ 60 h 149"/>
                <a:gd name="T60" fmla="*/ 149 w 149"/>
                <a:gd name="T61" fmla="*/ 74 h 149"/>
                <a:gd name="T62" fmla="*/ 148 w 149"/>
                <a:gd name="T63" fmla="*/ 85 h 149"/>
                <a:gd name="T64" fmla="*/ 36 w 149"/>
                <a:gd name="T65" fmla="*/ 57 h 149"/>
                <a:gd name="T66" fmla="*/ 113 w 149"/>
                <a:gd name="T67" fmla="*/ 57 h 149"/>
                <a:gd name="T68" fmla="*/ 107 w 149"/>
                <a:gd name="T69" fmla="*/ 46 h 149"/>
                <a:gd name="T70" fmla="*/ 99 w 149"/>
                <a:gd name="T71" fmla="*/ 38 h 149"/>
                <a:gd name="T72" fmla="*/ 87 w 149"/>
                <a:gd name="T73" fmla="*/ 32 h 149"/>
                <a:gd name="T74" fmla="*/ 75 w 149"/>
                <a:gd name="T75" fmla="*/ 29 h 149"/>
                <a:gd name="T76" fmla="*/ 67 w 149"/>
                <a:gd name="T77" fmla="*/ 31 h 149"/>
                <a:gd name="T78" fmla="*/ 55 w 149"/>
                <a:gd name="T79" fmla="*/ 34 h 149"/>
                <a:gd name="T80" fmla="*/ 45 w 149"/>
                <a:gd name="T81" fmla="*/ 42 h 149"/>
                <a:gd name="T82" fmla="*/ 38 w 149"/>
                <a:gd name="T83" fmla="*/ 51 h 149"/>
                <a:gd name="T84" fmla="*/ 36 w 149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149">
                  <a:moveTo>
                    <a:pt x="34" y="85"/>
                  </a:moveTo>
                  <a:lnTo>
                    <a:pt x="34" y="85"/>
                  </a:lnTo>
                  <a:lnTo>
                    <a:pt x="36" y="93"/>
                  </a:lnTo>
                  <a:lnTo>
                    <a:pt x="39" y="99"/>
                  </a:lnTo>
                  <a:lnTo>
                    <a:pt x="43" y="105"/>
                  </a:lnTo>
                  <a:lnTo>
                    <a:pt x="48" y="110"/>
                  </a:lnTo>
                  <a:lnTo>
                    <a:pt x="54" y="113"/>
                  </a:lnTo>
                  <a:lnTo>
                    <a:pt x="60" y="116"/>
                  </a:lnTo>
                  <a:lnTo>
                    <a:pt x="67" y="118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85" y="118"/>
                  </a:lnTo>
                  <a:lnTo>
                    <a:pt x="95" y="116"/>
                  </a:lnTo>
                  <a:lnTo>
                    <a:pt x="103" y="111"/>
                  </a:lnTo>
                  <a:lnTo>
                    <a:pt x="107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1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20" y="137"/>
                  </a:lnTo>
                  <a:lnTo>
                    <a:pt x="110" y="143"/>
                  </a:lnTo>
                  <a:lnTo>
                    <a:pt x="99" y="146"/>
                  </a:lnTo>
                  <a:lnTo>
                    <a:pt x="87" y="149"/>
                  </a:lnTo>
                  <a:lnTo>
                    <a:pt x="75" y="149"/>
                  </a:lnTo>
                  <a:lnTo>
                    <a:pt x="75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4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1" y="22"/>
                  </a:lnTo>
                  <a:lnTo>
                    <a:pt x="32" y="12"/>
                  </a:lnTo>
                  <a:lnTo>
                    <a:pt x="45" y="6"/>
                  </a:lnTo>
                  <a:lnTo>
                    <a:pt x="51" y="4"/>
                  </a:lnTo>
                  <a:lnTo>
                    <a:pt x="59" y="1"/>
                  </a:lnTo>
                  <a:lnTo>
                    <a:pt x="66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2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4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5" y="33"/>
                  </a:lnTo>
                  <a:lnTo>
                    <a:pt x="143" y="45"/>
                  </a:lnTo>
                  <a:lnTo>
                    <a:pt x="146" y="60"/>
                  </a:lnTo>
                  <a:lnTo>
                    <a:pt x="148" y="6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8" y="85"/>
                  </a:lnTo>
                  <a:lnTo>
                    <a:pt x="34" y="85"/>
                  </a:lnTo>
                  <a:close/>
                  <a:moveTo>
                    <a:pt x="36" y="57"/>
                  </a:moveTo>
                  <a:lnTo>
                    <a:pt x="113" y="57"/>
                  </a:lnTo>
                  <a:lnTo>
                    <a:pt x="113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4" y="42"/>
                  </a:lnTo>
                  <a:lnTo>
                    <a:pt x="99" y="38"/>
                  </a:lnTo>
                  <a:lnTo>
                    <a:pt x="93" y="34"/>
                  </a:lnTo>
                  <a:lnTo>
                    <a:pt x="87" y="32"/>
                  </a:lnTo>
                  <a:lnTo>
                    <a:pt x="81" y="31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6" y="57"/>
                  </a:lnTo>
                  <a:lnTo>
                    <a:pt x="36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7"/>
            <p:cNvSpPr>
              <a:spLocks noEditPoints="1"/>
            </p:cNvSpPr>
            <p:nvPr userDrawn="1"/>
          </p:nvSpPr>
          <p:spPr bwMode="auto">
            <a:xfrm>
              <a:off x="2071" y="2429"/>
              <a:ext cx="49" cy="50"/>
            </a:xfrm>
            <a:custGeom>
              <a:avLst/>
              <a:gdLst>
                <a:gd name="T0" fmla="*/ 148 w 148"/>
                <a:gd name="T1" fmla="*/ 148 h 149"/>
                <a:gd name="T2" fmla="*/ 115 w 148"/>
                <a:gd name="T3" fmla="*/ 133 h 149"/>
                <a:gd name="T4" fmla="*/ 109 w 148"/>
                <a:gd name="T5" fmla="*/ 138 h 149"/>
                <a:gd name="T6" fmla="*/ 88 w 148"/>
                <a:gd name="T7" fmla="*/ 148 h 149"/>
                <a:gd name="T8" fmla="*/ 73 w 148"/>
                <a:gd name="T9" fmla="*/ 149 h 149"/>
                <a:gd name="T10" fmla="*/ 59 w 148"/>
                <a:gd name="T11" fmla="*/ 148 h 149"/>
                <a:gd name="T12" fmla="*/ 32 w 148"/>
                <a:gd name="T13" fmla="*/ 138 h 149"/>
                <a:gd name="T14" fmla="*/ 12 w 148"/>
                <a:gd name="T15" fmla="*/ 117 h 149"/>
                <a:gd name="T16" fmla="*/ 4 w 148"/>
                <a:gd name="T17" fmla="*/ 98 h 149"/>
                <a:gd name="T18" fmla="*/ 0 w 148"/>
                <a:gd name="T19" fmla="*/ 83 h 149"/>
                <a:gd name="T20" fmla="*/ 0 w 148"/>
                <a:gd name="T21" fmla="*/ 74 h 149"/>
                <a:gd name="T22" fmla="*/ 1 w 148"/>
                <a:gd name="T23" fmla="*/ 59 h 149"/>
                <a:gd name="T24" fmla="*/ 6 w 148"/>
                <a:gd name="T25" fmla="*/ 44 h 149"/>
                <a:gd name="T26" fmla="*/ 21 w 148"/>
                <a:gd name="T27" fmla="*/ 21 h 149"/>
                <a:gd name="T28" fmla="*/ 44 w 148"/>
                <a:gd name="T29" fmla="*/ 5 h 149"/>
                <a:gd name="T30" fmla="*/ 73 w 148"/>
                <a:gd name="T31" fmla="*/ 0 h 149"/>
                <a:gd name="T32" fmla="*/ 81 w 148"/>
                <a:gd name="T33" fmla="*/ 0 h 149"/>
                <a:gd name="T34" fmla="*/ 99 w 148"/>
                <a:gd name="T35" fmla="*/ 5 h 149"/>
                <a:gd name="T36" fmla="*/ 115 w 148"/>
                <a:gd name="T37" fmla="*/ 17 h 149"/>
                <a:gd name="T38" fmla="*/ 148 w 148"/>
                <a:gd name="T39" fmla="*/ 1 h 149"/>
                <a:gd name="T40" fmla="*/ 75 w 148"/>
                <a:gd name="T41" fmla="*/ 31 h 149"/>
                <a:gd name="T42" fmla="*/ 58 w 148"/>
                <a:gd name="T43" fmla="*/ 34 h 149"/>
                <a:gd name="T44" fmla="*/ 44 w 148"/>
                <a:gd name="T45" fmla="*/ 44 h 149"/>
                <a:gd name="T46" fmla="*/ 36 w 148"/>
                <a:gd name="T47" fmla="*/ 57 h 149"/>
                <a:gd name="T48" fmla="*/ 32 w 148"/>
                <a:gd name="T49" fmla="*/ 74 h 149"/>
                <a:gd name="T50" fmla="*/ 33 w 148"/>
                <a:gd name="T51" fmla="*/ 83 h 149"/>
                <a:gd name="T52" fmla="*/ 39 w 148"/>
                <a:gd name="T53" fmla="*/ 99 h 149"/>
                <a:gd name="T54" fmla="*/ 50 w 148"/>
                <a:gd name="T55" fmla="*/ 111 h 149"/>
                <a:gd name="T56" fmla="*/ 66 w 148"/>
                <a:gd name="T57" fmla="*/ 117 h 149"/>
                <a:gd name="T58" fmla="*/ 75 w 148"/>
                <a:gd name="T59" fmla="*/ 118 h 149"/>
                <a:gd name="T60" fmla="*/ 92 w 148"/>
                <a:gd name="T61" fmla="*/ 115 h 149"/>
                <a:gd name="T62" fmla="*/ 105 w 148"/>
                <a:gd name="T63" fmla="*/ 105 h 149"/>
                <a:gd name="T64" fmla="*/ 114 w 148"/>
                <a:gd name="T65" fmla="*/ 92 h 149"/>
                <a:gd name="T66" fmla="*/ 116 w 148"/>
                <a:gd name="T67" fmla="*/ 74 h 149"/>
                <a:gd name="T68" fmla="*/ 116 w 148"/>
                <a:gd name="T69" fmla="*/ 66 h 149"/>
                <a:gd name="T70" fmla="*/ 110 w 148"/>
                <a:gd name="T71" fmla="*/ 50 h 149"/>
                <a:gd name="T72" fmla="*/ 98 w 148"/>
                <a:gd name="T73" fmla="*/ 38 h 149"/>
                <a:gd name="T74" fmla="*/ 83 w 148"/>
                <a:gd name="T75" fmla="*/ 32 h 149"/>
                <a:gd name="T76" fmla="*/ 75 w 148"/>
                <a:gd name="T77" fmla="*/ 31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8" h="149">
                  <a:moveTo>
                    <a:pt x="148" y="1"/>
                  </a:moveTo>
                  <a:lnTo>
                    <a:pt x="148" y="148"/>
                  </a:lnTo>
                  <a:lnTo>
                    <a:pt x="115" y="148"/>
                  </a:lnTo>
                  <a:lnTo>
                    <a:pt x="115" y="133"/>
                  </a:lnTo>
                  <a:lnTo>
                    <a:pt x="115" y="133"/>
                  </a:lnTo>
                  <a:lnTo>
                    <a:pt x="109" y="138"/>
                  </a:lnTo>
                  <a:lnTo>
                    <a:pt x="99" y="144"/>
                  </a:lnTo>
                  <a:lnTo>
                    <a:pt x="88" y="148"/>
                  </a:lnTo>
                  <a:lnTo>
                    <a:pt x="81" y="149"/>
                  </a:lnTo>
                  <a:lnTo>
                    <a:pt x="73" y="149"/>
                  </a:lnTo>
                  <a:lnTo>
                    <a:pt x="73" y="149"/>
                  </a:lnTo>
                  <a:lnTo>
                    <a:pt x="59" y="148"/>
                  </a:lnTo>
                  <a:lnTo>
                    <a:pt x="44" y="144"/>
                  </a:lnTo>
                  <a:lnTo>
                    <a:pt x="32" y="138"/>
                  </a:lnTo>
                  <a:lnTo>
                    <a:pt x="21" y="128"/>
                  </a:lnTo>
                  <a:lnTo>
                    <a:pt x="12" y="117"/>
                  </a:lnTo>
                  <a:lnTo>
                    <a:pt x="6" y="105"/>
                  </a:lnTo>
                  <a:lnTo>
                    <a:pt x="4" y="98"/>
                  </a:lnTo>
                  <a:lnTo>
                    <a:pt x="1" y="90"/>
                  </a:lnTo>
                  <a:lnTo>
                    <a:pt x="0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59"/>
                  </a:lnTo>
                  <a:lnTo>
                    <a:pt x="4" y="51"/>
                  </a:lnTo>
                  <a:lnTo>
                    <a:pt x="6" y="44"/>
                  </a:lnTo>
                  <a:lnTo>
                    <a:pt x="12" y="32"/>
                  </a:lnTo>
                  <a:lnTo>
                    <a:pt x="21" y="21"/>
                  </a:lnTo>
                  <a:lnTo>
                    <a:pt x="32" y="12"/>
                  </a:lnTo>
                  <a:lnTo>
                    <a:pt x="44" y="5"/>
                  </a:lnTo>
                  <a:lnTo>
                    <a:pt x="59" y="1"/>
                  </a:lnTo>
                  <a:lnTo>
                    <a:pt x="73" y="0"/>
                  </a:lnTo>
                  <a:lnTo>
                    <a:pt x="73" y="0"/>
                  </a:lnTo>
                  <a:lnTo>
                    <a:pt x="81" y="0"/>
                  </a:lnTo>
                  <a:lnTo>
                    <a:pt x="87" y="1"/>
                  </a:lnTo>
                  <a:lnTo>
                    <a:pt x="99" y="5"/>
                  </a:lnTo>
                  <a:lnTo>
                    <a:pt x="109" y="11"/>
                  </a:lnTo>
                  <a:lnTo>
                    <a:pt x="115" y="17"/>
                  </a:lnTo>
                  <a:lnTo>
                    <a:pt x="115" y="1"/>
                  </a:lnTo>
                  <a:lnTo>
                    <a:pt x="148" y="1"/>
                  </a:lnTo>
                  <a:close/>
                  <a:moveTo>
                    <a:pt x="75" y="31"/>
                  </a:moveTo>
                  <a:lnTo>
                    <a:pt x="75" y="31"/>
                  </a:lnTo>
                  <a:lnTo>
                    <a:pt x="66" y="32"/>
                  </a:lnTo>
                  <a:lnTo>
                    <a:pt x="58" y="34"/>
                  </a:lnTo>
                  <a:lnTo>
                    <a:pt x="50" y="38"/>
                  </a:lnTo>
                  <a:lnTo>
                    <a:pt x="44" y="44"/>
                  </a:lnTo>
                  <a:lnTo>
                    <a:pt x="39" y="50"/>
                  </a:lnTo>
                  <a:lnTo>
                    <a:pt x="36" y="57"/>
                  </a:lnTo>
                  <a:lnTo>
                    <a:pt x="33" y="66"/>
                  </a:lnTo>
                  <a:lnTo>
                    <a:pt x="32" y="74"/>
                  </a:lnTo>
                  <a:lnTo>
                    <a:pt x="32" y="74"/>
                  </a:lnTo>
                  <a:lnTo>
                    <a:pt x="33" y="83"/>
                  </a:lnTo>
                  <a:lnTo>
                    <a:pt x="36" y="92"/>
                  </a:lnTo>
                  <a:lnTo>
                    <a:pt x="39" y="99"/>
                  </a:lnTo>
                  <a:lnTo>
                    <a:pt x="44" y="105"/>
                  </a:lnTo>
                  <a:lnTo>
                    <a:pt x="50" y="111"/>
                  </a:lnTo>
                  <a:lnTo>
                    <a:pt x="58" y="115"/>
                  </a:lnTo>
                  <a:lnTo>
                    <a:pt x="66" y="117"/>
                  </a:lnTo>
                  <a:lnTo>
                    <a:pt x="75" y="118"/>
                  </a:lnTo>
                  <a:lnTo>
                    <a:pt x="75" y="118"/>
                  </a:lnTo>
                  <a:lnTo>
                    <a:pt x="83" y="117"/>
                  </a:lnTo>
                  <a:lnTo>
                    <a:pt x="92" y="115"/>
                  </a:lnTo>
                  <a:lnTo>
                    <a:pt x="98" y="111"/>
                  </a:lnTo>
                  <a:lnTo>
                    <a:pt x="105" y="105"/>
                  </a:lnTo>
                  <a:lnTo>
                    <a:pt x="110" y="99"/>
                  </a:lnTo>
                  <a:lnTo>
                    <a:pt x="114" y="92"/>
                  </a:lnTo>
                  <a:lnTo>
                    <a:pt x="116" y="83"/>
                  </a:lnTo>
                  <a:lnTo>
                    <a:pt x="116" y="74"/>
                  </a:lnTo>
                  <a:lnTo>
                    <a:pt x="116" y="74"/>
                  </a:lnTo>
                  <a:lnTo>
                    <a:pt x="116" y="66"/>
                  </a:lnTo>
                  <a:lnTo>
                    <a:pt x="114" y="57"/>
                  </a:lnTo>
                  <a:lnTo>
                    <a:pt x="110" y="50"/>
                  </a:lnTo>
                  <a:lnTo>
                    <a:pt x="105" y="44"/>
                  </a:lnTo>
                  <a:lnTo>
                    <a:pt x="98" y="38"/>
                  </a:lnTo>
                  <a:lnTo>
                    <a:pt x="92" y="34"/>
                  </a:lnTo>
                  <a:lnTo>
                    <a:pt x="83" y="32"/>
                  </a:lnTo>
                  <a:lnTo>
                    <a:pt x="75" y="31"/>
                  </a:lnTo>
                  <a:lnTo>
                    <a:pt x="75" y="3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8"/>
            <p:cNvSpPr>
              <a:spLocks/>
            </p:cNvSpPr>
            <p:nvPr userDrawn="1"/>
          </p:nvSpPr>
          <p:spPr bwMode="auto">
            <a:xfrm>
              <a:off x="2132" y="2429"/>
              <a:ext cx="23" cy="49"/>
            </a:xfrm>
            <a:custGeom>
              <a:avLst/>
              <a:gdLst>
                <a:gd name="T0" fmla="*/ 0 w 69"/>
                <a:gd name="T1" fmla="*/ 1 h 148"/>
                <a:gd name="T2" fmla="*/ 33 w 69"/>
                <a:gd name="T3" fmla="*/ 1 h 148"/>
                <a:gd name="T4" fmla="*/ 33 w 69"/>
                <a:gd name="T5" fmla="*/ 17 h 148"/>
                <a:gd name="T6" fmla="*/ 33 w 69"/>
                <a:gd name="T7" fmla="*/ 17 h 148"/>
                <a:gd name="T8" fmla="*/ 38 w 69"/>
                <a:gd name="T9" fmla="*/ 10 h 148"/>
                <a:gd name="T10" fmla="*/ 46 w 69"/>
                <a:gd name="T11" fmla="*/ 5 h 148"/>
                <a:gd name="T12" fmla="*/ 51 w 69"/>
                <a:gd name="T13" fmla="*/ 3 h 148"/>
                <a:gd name="T14" fmla="*/ 56 w 69"/>
                <a:gd name="T15" fmla="*/ 1 h 148"/>
                <a:gd name="T16" fmla="*/ 63 w 69"/>
                <a:gd name="T17" fmla="*/ 0 h 148"/>
                <a:gd name="T18" fmla="*/ 69 w 69"/>
                <a:gd name="T19" fmla="*/ 0 h 148"/>
                <a:gd name="T20" fmla="*/ 69 w 69"/>
                <a:gd name="T21" fmla="*/ 31 h 148"/>
                <a:gd name="T22" fmla="*/ 67 w 69"/>
                <a:gd name="T23" fmla="*/ 31 h 148"/>
                <a:gd name="T24" fmla="*/ 67 w 69"/>
                <a:gd name="T25" fmla="*/ 31 h 148"/>
                <a:gd name="T26" fmla="*/ 60 w 69"/>
                <a:gd name="T27" fmla="*/ 32 h 148"/>
                <a:gd name="T28" fmla="*/ 54 w 69"/>
                <a:gd name="T29" fmla="*/ 33 h 148"/>
                <a:gd name="T30" fmla="*/ 47 w 69"/>
                <a:gd name="T31" fmla="*/ 37 h 148"/>
                <a:gd name="T32" fmla="*/ 43 w 69"/>
                <a:gd name="T33" fmla="*/ 40 h 148"/>
                <a:gd name="T34" fmla="*/ 38 w 69"/>
                <a:gd name="T35" fmla="*/ 46 h 148"/>
                <a:gd name="T36" fmla="*/ 35 w 69"/>
                <a:gd name="T37" fmla="*/ 53 h 148"/>
                <a:gd name="T38" fmla="*/ 33 w 69"/>
                <a:gd name="T39" fmla="*/ 60 h 148"/>
                <a:gd name="T40" fmla="*/ 33 w 69"/>
                <a:gd name="T41" fmla="*/ 67 h 148"/>
                <a:gd name="T42" fmla="*/ 33 w 69"/>
                <a:gd name="T43" fmla="*/ 148 h 148"/>
                <a:gd name="T44" fmla="*/ 0 w 69"/>
                <a:gd name="T45" fmla="*/ 148 h 148"/>
                <a:gd name="T46" fmla="*/ 0 w 69"/>
                <a:gd name="T47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148">
                  <a:moveTo>
                    <a:pt x="0" y="1"/>
                  </a:moveTo>
                  <a:lnTo>
                    <a:pt x="33" y="1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8" y="10"/>
                  </a:lnTo>
                  <a:lnTo>
                    <a:pt x="46" y="5"/>
                  </a:lnTo>
                  <a:lnTo>
                    <a:pt x="51" y="3"/>
                  </a:lnTo>
                  <a:lnTo>
                    <a:pt x="56" y="1"/>
                  </a:lnTo>
                  <a:lnTo>
                    <a:pt x="63" y="0"/>
                  </a:lnTo>
                  <a:lnTo>
                    <a:pt x="69" y="0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0" y="32"/>
                  </a:lnTo>
                  <a:lnTo>
                    <a:pt x="54" y="33"/>
                  </a:lnTo>
                  <a:lnTo>
                    <a:pt x="47" y="37"/>
                  </a:lnTo>
                  <a:lnTo>
                    <a:pt x="43" y="40"/>
                  </a:lnTo>
                  <a:lnTo>
                    <a:pt x="38" y="46"/>
                  </a:lnTo>
                  <a:lnTo>
                    <a:pt x="35" y="53"/>
                  </a:lnTo>
                  <a:lnTo>
                    <a:pt x="33" y="60"/>
                  </a:lnTo>
                  <a:lnTo>
                    <a:pt x="33" y="67"/>
                  </a:lnTo>
                  <a:lnTo>
                    <a:pt x="33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9"/>
            <p:cNvSpPr>
              <a:spLocks/>
            </p:cNvSpPr>
            <p:nvPr userDrawn="1"/>
          </p:nvSpPr>
          <p:spPr bwMode="auto">
            <a:xfrm>
              <a:off x="2160" y="2429"/>
              <a:ext cx="50" cy="50"/>
            </a:xfrm>
            <a:custGeom>
              <a:avLst/>
              <a:gdLst>
                <a:gd name="T0" fmla="*/ 76 w 150"/>
                <a:gd name="T1" fmla="*/ 120 h 149"/>
                <a:gd name="T2" fmla="*/ 93 w 150"/>
                <a:gd name="T3" fmla="*/ 116 h 149"/>
                <a:gd name="T4" fmla="*/ 106 w 150"/>
                <a:gd name="T5" fmla="*/ 106 h 149"/>
                <a:gd name="T6" fmla="*/ 115 w 150"/>
                <a:gd name="T7" fmla="*/ 93 h 149"/>
                <a:gd name="T8" fmla="*/ 117 w 150"/>
                <a:gd name="T9" fmla="*/ 74 h 149"/>
                <a:gd name="T10" fmla="*/ 150 w 150"/>
                <a:gd name="T11" fmla="*/ 74 h 149"/>
                <a:gd name="T12" fmla="*/ 149 w 150"/>
                <a:gd name="T13" fmla="*/ 90 h 149"/>
                <a:gd name="T14" fmla="*/ 144 w 150"/>
                <a:gd name="T15" fmla="*/ 104 h 149"/>
                <a:gd name="T16" fmla="*/ 128 w 150"/>
                <a:gd name="T17" fmla="*/ 128 h 149"/>
                <a:gd name="T18" fmla="*/ 105 w 150"/>
                <a:gd name="T19" fmla="*/ 144 h 149"/>
                <a:gd name="T20" fmla="*/ 90 w 150"/>
                <a:gd name="T21" fmla="*/ 148 h 149"/>
                <a:gd name="T22" fmla="*/ 76 w 150"/>
                <a:gd name="T23" fmla="*/ 149 h 149"/>
                <a:gd name="T24" fmla="*/ 67 w 150"/>
                <a:gd name="T25" fmla="*/ 149 h 149"/>
                <a:gd name="T26" fmla="*/ 53 w 150"/>
                <a:gd name="T27" fmla="*/ 146 h 149"/>
                <a:gd name="T28" fmla="*/ 33 w 150"/>
                <a:gd name="T29" fmla="*/ 137 h 149"/>
                <a:gd name="T30" fmla="*/ 14 w 150"/>
                <a:gd name="T31" fmla="*/ 117 h 149"/>
                <a:gd name="T32" fmla="*/ 4 w 150"/>
                <a:gd name="T33" fmla="*/ 98 h 149"/>
                <a:gd name="T34" fmla="*/ 1 w 150"/>
                <a:gd name="T35" fmla="*/ 83 h 149"/>
                <a:gd name="T36" fmla="*/ 0 w 150"/>
                <a:gd name="T37" fmla="*/ 74 h 149"/>
                <a:gd name="T38" fmla="*/ 3 w 150"/>
                <a:gd name="T39" fmla="*/ 59 h 149"/>
                <a:gd name="T40" fmla="*/ 6 w 150"/>
                <a:gd name="T41" fmla="*/ 45 h 149"/>
                <a:gd name="T42" fmla="*/ 22 w 150"/>
                <a:gd name="T43" fmla="*/ 21 h 149"/>
                <a:gd name="T44" fmla="*/ 45 w 150"/>
                <a:gd name="T45" fmla="*/ 5 h 149"/>
                <a:gd name="T46" fmla="*/ 60 w 150"/>
                <a:gd name="T47" fmla="*/ 1 h 149"/>
                <a:gd name="T48" fmla="*/ 76 w 150"/>
                <a:gd name="T49" fmla="*/ 0 h 149"/>
                <a:gd name="T50" fmla="*/ 84 w 150"/>
                <a:gd name="T51" fmla="*/ 0 h 149"/>
                <a:gd name="T52" fmla="*/ 99 w 150"/>
                <a:gd name="T53" fmla="*/ 4 h 149"/>
                <a:gd name="T54" fmla="*/ 112 w 150"/>
                <a:gd name="T55" fmla="*/ 9 h 149"/>
                <a:gd name="T56" fmla="*/ 129 w 150"/>
                <a:gd name="T57" fmla="*/ 22 h 149"/>
                <a:gd name="T58" fmla="*/ 105 w 150"/>
                <a:gd name="T59" fmla="*/ 43 h 149"/>
                <a:gd name="T60" fmla="*/ 93 w 150"/>
                <a:gd name="T61" fmla="*/ 34 h 149"/>
                <a:gd name="T62" fmla="*/ 76 w 150"/>
                <a:gd name="T63" fmla="*/ 31 h 149"/>
                <a:gd name="T64" fmla="*/ 66 w 150"/>
                <a:gd name="T65" fmla="*/ 31 h 149"/>
                <a:gd name="T66" fmla="*/ 51 w 150"/>
                <a:gd name="T67" fmla="*/ 38 h 149"/>
                <a:gd name="T68" fmla="*/ 40 w 150"/>
                <a:gd name="T69" fmla="*/ 49 h 149"/>
                <a:gd name="T70" fmla="*/ 34 w 150"/>
                <a:gd name="T71" fmla="*/ 65 h 149"/>
                <a:gd name="T72" fmla="*/ 33 w 150"/>
                <a:gd name="T73" fmla="*/ 74 h 149"/>
                <a:gd name="T74" fmla="*/ 37 w 150"/>
                <a:gd name="T75" fmla="*/ 93 h 149"/>
                <a:gd name="T76" fmla="*/ 45 w 150"/>
                <a:gd name="T77" fmla="*/ 106 h 149"/>
                <a:gd name="T78" fmla="*/ 59 w 150"/>
                <a:gd name="T79" fmla="*/ 116 h 149"/>
                <a:gd name="T80" fmla="*/ 76 w 150"/>
                <a:gd name="T81" fmla="*/ 12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" h="149">
                  <a:moveTo>
                    <a:pt x="76" y="120"/>
                  </a:moveTo>
                  <a:lnTo>
                    <a:pt x="76" y="120"/>
                  </a:lnTo>
                  <a:lnTo>
                    <a:pt x="84" y="118"/>
                  </a:lnTo>
                  <a:lnTo>
                    <a:pt x="93" y="116"/>
                  </a:lnTo>
                  <a:lnTo>
                    <a:pt x="100" y="112"/>
                  </a:lnTo>
                  <a:lnTo>
                    <a:pt x="106" y="106"/>
                  </a:lnTo>
                  <a:lnTo>
                    <a:pt x="111" y="100"/>
                  </a:lnTo>
                  <a:lnTo>
                    <a:pt x="115" y="93"/>
                  </a:lnTo>
                  <a:lnTo>
                    <a:pt x="117" y="84"/>
                  </a:lnTo>
                  <a:lnTo>
                    <a:pt x="117" y="74"/>
                  </a:lnTo>
                  <a:lnTo>
                    <a:pt x="150" y="74"/>
                  </a:lnTo>
                  <a:lnTo>
                    <a:pt x="150" y="74"/>
                  </a:lnTo>
                  <a:lnTo>
                    <a:pt x="150" y="83"/>
                  </a:lnTo>
                  <a:lnTo>
                    <a:pt x="149" y="90"/>
                  </a:lnTo>
                  <a:lnTo>
                    <a:pt x="146" y="98"/>
                  </a:lnTo>
                  <a:lnTo>
                    <a:pt x="144" y="104"/>
                  </a:lnTo>
                  <a:lnTo>
                    <a:pt x="138" y="117"/>
                  </a:lnTo>
                  <a:lnTo>
                    <a:pt x="128" y="128"/>
                  </a:lnTo>
                  <a:lnTo>
                    <a:pt x="117" y="137"/>
                  </a:lnTo>
                  <a:lnTo>
                    <a:pt x="105" y="144"/>
                  </a:lnTo>
                  <a:lnTo>
                    <a:pt x="98" y="146"/>
                  </a:lnTo>
                  <a:lnTo>
                    <a:pt x="90" y="148"/>
                  </a:lnTo>
                  <a:lnTo>
                    <a:pt x="83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4" y="117"/>
                  </a:lnTo>
                  <a:lnTo>
                    <a:pt x="6" y="105"/>
                  </a:lnTo>
                  <a:lnTo>
                    <a:pt x="4" y="98"/>
                  </a:lnTo>
                  <a:lnTo>
                    <a:pt x="3" y="90"/>
                  </a:lnTo>
                  <a:lnTo>
                    <a:pt x="1" y="83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" y="67"/>
                  </a:lnTo>
                  <a:lnTo>
                    <a:pt x="3" y="59"/>
                  </a:lnTo>
                  <a:lnTo>
                    <a:pt x="4" y="51"/>
                  </a:lnTo>
                  <a:lnTo>
                    <a:pt x="6" y="45"/>
                  </a:lnTo>
                  <a:lnTo>
                    <a:pt x="14" y="32"/>
                  </a:lnTo>
                  <a:lnTo>
                    <a:pt x="22" y="21"/>
                  </a:lnTo>
                  <a:lnTo>
                    <a:pt x="33" y="12"/>
                  </a:lnTo>
                  <a:lnTo>
                    <a:pt x="45" y="5"/>
                  </a:lnTo>
                  <a:lnTo>
                    <a:pt x="53" y="3"/>
                  </a:lnTo>
                  <a:lnTo>
                    <a:pt x="60" y="1"/>
                  </a:lnTo>
                  <a:lnTo>
                    <a:pt x="67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4" y="0"/>
                  </a:lnTo>
                  <a:lnTo>
                    <a:pt x="92" y="1"/>
                  </a:lnTo>
                  <a:lnTo>
                    <a:pt x="99" y="4"/>
                  </a:lnTo>
                  <a:lnTo>
                    <a:pt x="106" y="6"/>
                  </a:lnTo>
                  <a:lnTo>
                    <a:pt x="112" y="9"/>
                  </a:lnTo>
                  <a:lnTo>
                    <a:pt x="118" y="12"/>
                  </a:lnTo>
                  <a:lnTo>
                    <a:pt x="129" y="22"/>
                  </a:lnTo>
                  <a:lnTo>
                    <a:pt x="105" y="43"/>
                  </a:lnTo>
                  <a:lnTo>
                    <a:pt x="105" y="43"/>
                  </a:lnTo>
                  <a:lnTo>
                    <a:pt x="99" y="38"/>
                  </a:lnTo>
                  <a:lnTo>
                    <a:pt x="93" y="34"/>
                  </a:lnTo>
                  <a:lnTo>
                    <a:pt x="84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66" y="31"/>
                  </a:lnTo>
                  <a:lnTo>
                    <a:pt x="59" y="33"/>
                  </a:lnTo>
                  <a:lnTo>
                    <a:pt x="51" y="38"/>
                  </a:lnTo>
                  <a:lnTo>
                    <a:pt x="45" y="43"/>
                  </a:lnTo>
                  <a:lnTo>
                    <a:pt x="40" y="49"/>
                  </a:lnTo>
                  <a:lnTo>
                    <a:pt x="37" y="56"/>
                  </a:lnTo>
                  <a:lnTo>
                    <a:pt x="34" y="6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84"/>
                  </a:lnTo>
                  <a:lnTo>
                    <a:pt x="37" y="93"/>
                  </a:lnTo>
                  <a:lnTo>
                    <a:pt x="40" y="100"/>
                  </a:lnTo>
                  <a:lnTo>
                    <a:pt x="45" y="106"/>
                  </a:lnTo>
                  <a:lnTo>
                    <a:pt x="51" y="112"/>
                  </a:lnTo>
                  <a:lnTo>
                    <a:pt x="59" y="116"/>
                  </a:lnTo>
                  <a:lnTo>
                    <a:pt x="66" y="118"/>
                  </a:lnTo>
                  <a:lnTo>
                    <a:pt x="76" y="120"/>
                  </a:lnTo>
                  <a:lnTo>
                    <a:pt x="76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0"/>
            <p:cNvSpPr>
              <a:spLocks/>
            </p:cNvSpPr>
            <p:nvPr userDrawn="1"/>
          </p:nvSpPr>
          <p:spPr bwMode="auto">
            <a:xfrm>
              <a:off x="2219" y="2409"/>
              <a:ext cx="43" cy="69"/>
            </a:xfrm>
            <a:custGeom>
              <a:avLst/>
              <a:gdLst>
                <a:gd name="T0" fmla="*/ 0 w 130"/>
                <a:gd name="T1" fmla="*/ 4 h 209"/>
                <a:gd name="T2" fmla="*/ 31 w 130"/>
                <a:gd name="T3" fmla="*/ 0 h 209"/>
                <a:gd name="T4" fmla="*/ 31 w 130"/>
                <a:gd name="T5" fmla="*/ 79 h 209"/>
                <a:gd name="T6" fmla="*/ 31 w 130"/>
                <a:gd name="T7" fmla="*/ 79 h 209"/>
                <a:gd name="T8" fmla="*/ 39 w 130"/>
                <a:gd name="T9" fmla="*/ 72 h 209"/>
                <a:gd name="T10" fmla="*/ 48 w 130"/>
                <a:gd name="T11" fmla="*/ 66 h 209"/>
                <a:gd name="T12" fmla="*/ 60 w 130"/>
                <a:gd name="T13" fmla="*/ 62 h 209"/>
                <a:gd name="T14" fmla="*/ 67 w 130"/>
                <a:gd name="T15" fmla="*/ 61 h 209"/>
                <a:gd name="T16" fmla="*/ 74 w 130"/>
                <a:gd name="T17" fmla="*/ 61 h 209"/>
                <a:gd name="T18" fmla="*/ 74 w 130"/>
                <a:gd name="T19" fmla="*/ 61 h 209"/>
                <a:gd name="T20" fmla="*/ 86 w 130"/>
                <a:gd name="T21" fmla="*/ 62 h 209"/>
                <a:gd name="T22" fmla="*/ 97 w 130"/>
                <a:gd name="T23" fmla="*/ 65 h 209"/>
                <a:gd name="T24" fmla="*/ 107 w 130"/>
                <a:gd name="T25" fmla="*/ 70 h 209"/>
                <a:gd name="T26" fmla="*/ 114 w 130"/>
                <a:gd name="T27" fmla="*/ 77 h 209"/>
                <a:gd name="T28" fmla="*/ 120 w 130"/>
                <a:gd name="T29" fmla="*/ 85 h 209"/>
                <a:gd name="T30" fmla="*/ 125 w 130"/>
                <a:gd name="T31" fmla="*/ 95 h 209"/>
                <a:gd name="T32" fmla="*/ 129 w 130"/>
                <a:gd name="T33" fmla="*/ 107 h 209"/>
                <a:gd name="T34" fmla="*/ 130 w 130"/>
                <a:gd name="T35" fmla="*/ 121 h 209"/>
                <a:gd name="T36" fmla="*/ 130 w 130"/>
                <a:gd name="T37" fmla="*/ 209 h 209"/>
                <a:gd name="T38" fmla="*/ 97 w 130"/>
                <a:gd name="T39" fmla="*/ 209 h 209"/>
                <a:gd name="T40" fmla="*/ 97 w 130"/>
                <a:gd name="T41" fmla="*/ 128 h 209"/>
                <a:gd name="T42" fmla="*/ 97 w 130"/>
                <a:gd name="T43" fmla="*/ 128 h 209"/>
                <a:gd name="T44" fmla="*/ 97 w 130"/>
                <a:gd name="T45" fmla="*/ 120 h 209"/>
                <a:gd name="T46" fmla="*/ 96 w 130"/>
                <a:gd name="T47" fmla="*/ 112 h 209"/>
                <a:gd name="T48" fmla="*/ 93 w 130"/>
                <a:gd name="T49" fmla="*/ 106 h 209"/>
                <a:gd name="T50" fmla="*/ 90 w 130"/>
                <a:gd name="T51" fmla="*/ 101 h 209"/>
                <a:gd name="T52" fmla="*/ 85 w 130"/>
                <a:gd name="T53" fmla="*/ 96 h 209"/>
                <a:gd name="T54" fmla="*/ 80 w 130"/>
                <a:gd name="T55" fmla="*/ 94 h 209"/>
                <a:gd name="T56" fmla="*/ 73 w 130"/>
                <a:gd name="T57" fmla="*/ 92 h 209"/>
                <a:gd name="T58" fmla="*/ 65 w 130"/>
                <a:gd name="T59" fmla="*/ 92 h 209"/>
                <a:gd name="T60" fmla="*/ 65 w 130"/>
                <a:gd name="T61" fmla="*/ 92 h 209"/>
                <a:gd name="T62" fmla="*/ 58 w 130"/>
                <a:gd name="T63" fmla="*/ 92 h 209"/>
                <a:gd name="T64" fmla="*/ 52 w 130"/>
                <a:gd name="T65" fmla="*/ 94 h 209"/>
                <a:gd name="T66" fmla="*/ 46 w 130"/>
                <a:gd name="T67" fmla="*/ 98 h 209"/>
                <a:gd name="T68" fmla="*/ 41 w 130"/>
                <a:gd name="T69" fmla="*/ 101 h 209"/>
                <a:gd name="T70" fmla="*/ 37 w 130"/>
                <a:gd name="T71" fmla="*/ 107 h 209"/>
                <a:gd name="T72" fmla="*/ 34 w 130"/>
                <a:gd name="T73" fmla="*/ 114 h 209"/>
                <a:gd name="T74" fmla="*/ 32 w 130"/>
                <a:gd name="T75" fmla="*/ 121 h 209"/>
                <a:gd name="T76" fmla="*/ 31 w 130"/>
                <a:gd name="T77" fmla="*/ 128 h 209"/>
                <a:gd name="T78" fmla="*/ 31 w 130"/>
                <a:gd name="T79" fmla="*/ 209 h 209"/>
                <a:gd name="T80" fmla="*/ 0 w 130"/>
                <a:gd name="T81" fmla="*/ 209 h 209"/>
                <a:gd name="T82" fmla="*/ 0 w 130"/>
                <a:gd name="T83" fmla="*/ 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0" h="209">
                  <a:moveTo>
                    <a:pt x="0" y="4"/>
                  </a:moveTo>
                  <a:lnTo>
                    <a:pt x="31" y="0"/>
                  </a:lnTo>
                  <a:lnTo>
                    <a:pt x="31" y="79"/>
                  </a:lnTo>
                  <a:lnTo>
                    <a:pt x="31" y="79"/>
                  </a:lnTo>
                  <a:lnTo>
                    <a:pt x="39" y="72"/>
                  </a:lnTo>
                  <a:lnTo>
                    <a:pt x="48" y="66"/>
                  </a:lnTo>
                  <a:lnTo>
                    <a:pt x="60" y="62"/>
                  </a:lnTo>
                  <a:lnTo>
                    <a:pt x="67" y="61"/>
                  </a:lnTo>
                  <a:lnTo>
                    <a:pt x="74" y="61"/>
                  </a:lnTo>
                  <a:lnTo>
                    <a:pt x="74" y="61"/>
                  </a:lnTo>
                  <a:lnTo>
                    <a:pt x="86" y="62"/>
                  </a:lnTo>
                  <a:lnTo>
                    <a:pt x="97" y="65"/>
                  </a:lnTo>
                  <a:lnTo>
                    <a:pt x="107" y="70"/>
                  </a:lnTo>
                  <a:lnTo>
                    <a:pt x="114" y="77"/>
                  </a:lnTo>
                  <a:lnTo>
                    <a:pt x="120" y="85"/>
                  </a:lnTo>
                  <a:lnTo>
                    <a:pt x="125" y="95"/>
                  </a:lnTo>
                  <a:lnTo>
                    <a:pt x="129" y="107"/>
                  </a:lnTo>
                  <a:lnTo>
                    <a:pt x="130" y="121"/>
                  </a:lnTo>
                  <a:lnTo>
                    <a:pt x="130" y="209"/>
                  </a:lnTo>
                  <a:lnTo>
                    <a:pt x="97" y="209"/>
                  </a:lnTo>
                  <a:lnTo>
                    <a:pt x="97" y="128"/>
                  </a:lnTo>
                  <a:lnTo>
                    <a:pt x="97" y="128"/>
                  </a:lnTo>
                  <a:lnTo>
                    <a:pt x="97" y="120"/>
                  </a:lnTo>
                  <a:lnTo>
                    <a:pt x="96" y="112"/>
                  </a:lnTo>
                  <a:lnTo>
                    <a:pt x="93" y="106"/>
                  </a:lnTo>
                  <a:lnTo>
                    <a:pt x="90" y="101"/>
                  </a:lnTo>
                  <a:lnTo>
                    <a:pt x="85" y="96"/>
                  </a:lnTo>
                  <a:lnTo>
                    <a:pt x="80" y="94"/>
                  </a:lnTo>
                  <a:lnTo>
                    <a:pt x="73" y="92"/>
                  </a:lnTo>
                  <a:lnTo>
                    <a:pt x="65" y="92"/>
                  </a:lnTo>
                  <a:lnTo>
                    <a:pt x="65" y="92"/>
                  </a:lnTo>
                  <a:lnTo>
                    <a:pt x="58" y="92"/>
                  </a:lnTo>
                  <a:lnTo>
                    <a:pt x="52" y="94"/>
                  </a:lnTo>
                  <a:lnTo>
                    <a:pt x="46" y="98"/>
                  </a:lnTo>
                  <a:lnTo>
                    <a:pt x="41" y="101"/>
                  </a:lnTo>
                  <a:lnTo>
                    <a:pt x="37" y="107"/>
                  </a:lnTo>
                  <a:lnTo>
                    <a:pt x="34" y="114"/>
                  </a:lnTo>
                  <a:lnTo>
                    <a:pt x="32" y="121"/>
                  </a:lnTo>
                  <a:lnTo>
                    <a:pt x="31" y="128"/>
                  </a:lnTo>
                  <a:lnTo>
                    <a:pt x="31" y="209"/>
                  </a:lnTo>
                  <a:lnTo>
                    <a:pt x="0" y="20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1"/>
            <p:cNvSpPr>
              <a:spLocks/>
            </p:cNvSpPr>
            <p:nvPr userDrawn="1"/>
          </p:nvSpPr>
          <p:spPr bwMode="auto">
            <a:xfrm>
              <a:off x="2300" y="2410"/>
              <a:ext cx="67" cy="69"/>
            </a:xfrm>
            <a:custGeom>
              <a:avLst/>
              <a:gdLst>
                <a:gd name="T0" fmla="*/ 101 w 202"/>
                <a:gd name="T1" fmla="*/ 176 h 207"/>
                <a:gd name="T2" fmla="*/ 129 w 202"/>
                <a:gd name="T3" fmla="*/ 171 h 207"/>
                <a:gd name="T4" fmla="*/ 150 w 202"/>
                <a:gd name="T5" fmla="*/ 156 h 207"/>
                <a:gd name="T6" fmla="*/ 165 w 202"/>
                <a:gd name="T7" fmla="*/ 132 h 207"/>
                <a:gd name="T8" fmla="*/ 170 w 202"/>
                <a:gd name="T9" fmla="*/ 103 h 207"/>
                <a:gd name="T10" fmla="*/ 202 w 202"/>
                <a:gd name="T11" fmla="*/ 103 h 207"/>
                <a:gd name="T12" fmla="*/ 201 w 202"/>
                <a:gd name="T13" fmla="*/ 124 h 207"/>
                <a:gd name="T14" fmla="*/ 195 w 202"/>
                <a:gd name="T15" fmla="*/ 143 h 207"/>
                <a:gd name="T16" fmla="*/ 185 w 202"/>
                <a:gd name="T17" fmla="*/ 162 h 207"/>
                <a:gd name="T18" fmla="*/ 173 w 202"/>
                <a:gd name="T19" fmla="*/ 178 h 207"/>
                <a:gd name="T20" fmla="*/ 159 w 202"/>
                <a:gd name="T21" fmla="*/ 190 h 207"/>
                <a:gd name="T22" fmla="*/ 142 w 202"/>
                <a:gd name="T23" fmla="*/ 200 h 207"/>
                <a:gd name="T24" fmla="*/ 122 w 202"/>
                <a:gd name="T25" fmla="*/ 206 h 207"/>
                <a:gd name="T26" fmla="*/ 101 w 202"/>
                <a:gd name="T27" fmla="*/ 207 h 207"/>
                <a:gd name="T28" fmla="*/ 92 w 202"/>
                <a:gd name="T29" fmla="*/ 207 h 207"/>
                <a:gd name="T30" fmla="*/ 71 w 202"/>
                <a:gd name="T31" fmla="*/ 203 h 207"/>
                <a:gd name="T32" fmla="*/ 53 w 202"/>
                <a:gd name="T33" fmla="*/ 195 h 207"/>
                <a:gd name="T34" fmla="*/ 37 w 202"/>
                <a:gd name="T35" fmla="*/ 184 h 207"/>
                <a:gd name="T36" fmla="*/ 23 w 202"/>
                <a:gd name="T37" fmla="*/ 169 h 207"/>
                <a:gd name="T38" fmla="*/ 12 w 202"/>
                <a:gd name="T39" fmla="*/ 153 h 207"/>
                <a:gd name="T40" fmla="*/ 5 w 202"/>
                <a:gd name="T41" fmla="*/ 135 h 207"/>
                <a:gd name="T42" fmla="*/ 2 w 202"/>
                <a:gd name="T43" fmla="*/ 114 h 207"/>
                <a:gd name="T44" fmla="*/ 0 w 202"/>
                <a:gd name="T45" fmla="*/ 103 h 207"/>
                <a:gd name="T46" fmla="*/ 3 w 202"/>
                <a:gd name="T47" fmla="*/ 82 h 207"/>
                <a:gd name="T48" fmla="*/ 9 w 202"/>
                <a:gd name="T49" fmla="*/ 63 h 207"/>
                <a:gd name="T50" fmla="*/ 17 w 202"/>
                <a:gd name="T51" fmla="*/ 45 h 207"/>
                <a:gd name="T52" fmla="*/ 30 w 202"/>
                <a:gd name="T53" fmla="*/ 30 h 207"/>
                <a:gd name="T54" fmla="*/ 44 w 202"/>
                <a:gd name="T55" fmla="*/ 17 h 207"/>
                <a:gd name="T56" fmla="*/ 61 w 202"/>
                <a:gd name="T57" fmla="*/ 8 h 207"/>
                <a:gd name="T58" fmla="*/ 81 w 202"/>
                <a:gd name="T59" fmla="*/ 2 h 207"/>
                <a:gd name="T60" fmla="*/ 101 w 202"/>
                <a:gd name="T61" fmla="*/ 0 h 207"/>
                <a:gd name="T62" fmla="*/ 114 w 202"/>
                <a:gd name="T63" fmla="*/ 0 h 207"/>
                <a:gd name="T64" fmla="*/ 135 w 202"/>
                <a:gd name="T65" fmla="*/ 6 h 207"/>
                <a:gd name="T66" fmla="*/ 155 w 202"/>
                <a:gd name="T67" fmla="*/ 15 h 207"/>
                <a:gd name="T68" fmla="*/ 172 w 202"/>
                <a:gd name="T69" fmla="*/ 29 h 207"/>
                <a:gd name="T70" fmla="*/ 156 w 202"/>
                <a:gd name="T71" fmla="*/ 59 h 207"/>
                <a:gd name="T72" fmla="*/ 151 w 202"/>
                <a:gd name="T73" fmla="*/ 53 h 207"/>
                <a:gd name="T74" fmla="*/ 140 w 202"/>
                <a:gd name="T75" fmla="*/ 42 h 207"/>
                <a:gd name="T76" fmla="*/ 127 w 202"/>
                <a:gd name="T77" fmla="*/ 35 h 207"/>
                <a:gd name="T78" fmla="*/ 111 w 202"/>
                <a:gd name="T79" fmla="*/ 31 h 207"/>
                <a:gd name="T80" fmla="*/ 101 w 202"/>
                <a:gd name="T81" fmla="*/ 30 h 207"/>
                <a:gd name="T82" fmla="*/ 88 w 202"/>
                <a:gd name="T83" fmla="*/ 31 h 207"/>
                <a:gd name="T84" fmla="*/ 75 w 202"/>
                <a:gd name="T85" fmla="*/ 36 h 207"/>
                <a:gd name="T86" fmla="*/ 53 w 202"/>
                <a:gd name="T87" fmla="*/ 52 h 207"/>
                <a:gd name="T88" fmla="*/ 39 w 202"/>
                <a:gd name="T89" fmla="*/ 75 h 207"/>
                <a:gd name="T90" fmla="*/ 34 w 202"/>
                <a:gd name="T91" fmla="*/ 103 h 207"/>
                <a:gd name="T92" fmla="*/ 36 w 202"/>
                <a:gd name="T93" fmla="*/ 118 h 207"/>
                <a:gd name="T94" fmla="*/ 45 w 202"/>
                <a:gd name="T95" fmla="*/ 145 h 207"/>
                <a:gd name="T96" fmla="*/ 62 w 202"/>
                <a:gd name="T97" fmla="*/ 164 h 207"/>
                <a:gd name="T98" fmla="*/ 81 w 202"/>
                <a:gd name="T99" fmla="*/ 173 h 207"/>
                <a:gd name="T100" fmla="*/ 94 w 202"/>
                <a:gd name="T101" fmla="*/ 176 h 207"/>
                <a:gd name="T102" fmla="*/ 101 w 202"/>
                <a:gd name="T103" fmla="*/ 176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02" h="207">
                  <a:moveTo>
                    <a:pt x="101" y="176"/>
                  </a:moveTo>
                  <a:lnTo>
                    <a:pt x="101" y="176"/>
                  </a:lnTo>
                  <a:lnTo>
                    <a:pt x="116" y="175"/>
                  </a:lnTo>
                  <a:lnTo>
                    <a:pt x="129" y="171"/>
                  </a:lnTo>
                  <a:lnTo>
                    <a:pt x="140" y="164"/>
                  </a:lnTo>
                  <a:lnTo>
                    <a:pt x="150" y="156"/>
                  </a:lnTo>
                  <a:lnTo>
                    <a:pt x="159" y="145"/>
                  </a:lnTo>
                  <a:lnTo>
                    <a:pt x="165" y="132"/>
                  </a:lnTo>
                  <a:lnTo>
                    <a:pt x="168" y="119"/>
                  </a:lnTo>
                  <a:lnTo>
                    <a:pt x="170" y="103"/>
                  </a:lnTo>
                  <a:lnTo>
                    <a:pt x="202" y="103"/>
                  </a:lnTo>
                  <a:lnTo>
                    <a:pt x="202" y="103"/>
                  </a:lnTo>
                  <a:lnTo>
                    <a:pt x="202" y="114"/>
                  </a:lnTo>
                  <a:lnTo>
                    <a:pt x="201" y="124"/>
                  </a:lnTo>
                  <a:lnTo>
                    <a:pt x="199" y="135"/>
                  </a:lnTo>
                  <a:lnTo>
                    <a:pt x="195" y="143"/>
                  </a:lnTo>
                  <a:lnTo>
                    <a:pt x="190" y="153"/>
                  </a:lnTo>
                  <a:lnTo>
                    <a:pt x="185" y="162"/>
                  </a:lnTo>
                  <a:lnTo>
                    <a:pt x="181" y="169"/>
                  </a:lnTo>
                  <a:lnTo>
                    <a:pt x="173" y="178"/>
                  </a:lnTo>
                  <a:lnTo>
                    <a:pt x="167" y="184"/>
                  </a:lnTo>
                  <a:lnTo>
                    <a:pt x="159" y="190"/>
                  </a:lnTo>
                  <a:lnTo>
                    <a:pt x="151" y="195"/>
                  </a:lnTo>
                  <a:lnTo>
                    <a:pt x="142" y="200"/>
                  </a:lnTo>
                  <a:lnTo>
                    <a:pt x="133" y="203"/>
                  </a:lnTo>
                  <a:lnTo>
                    <a:pt x="122" y="206"/>
                  </a:lnTo>
                  <a:lnTo>
                    <a:pt x="112" y="207"/>
                  </a:lnTo>
                  <a:lnTo>
                    <a:pt x="101" y="207"/>
                  </a:lnTo>
                  <a:lnTo>
                    <a:pt x="101" y="207"/>
                  </a:lnTo>
                  <a:lnTo>
                    <a:pt x="92" y="207"/>
                  </a:lnTo>
                  <a:lnTo>
                    <a:pt x="81" y="206"/>
                  </a:lnTo>
                  <a:lnTo>
                    <a:pt x="71" y="203"/>
                  </a:lnTo>
                  <a:lnTo>
                    <a:pt x="61" y="200"/>
                  </a:lnTo>
                  <a:lnTo>
                    <a:pt x="53" y="195"/>
                  </a:lnTo>
                  <a:lnTo>
                    <a:pt x="44" y="190"/>
                  </a:lnTo>
                  <a:lnTo>
                    <a:pt x="37" y="184"/>
                  </a:lnTo>
                  <a:lnTo>
                    <a:pt x="30" y="178"/>
                  </a:lnTo>
                  <a:lnTo>
                    <a:pt x="23" y="169"/>
                  </a:lnTo>
                  <a:lnTo>
                    <a:pt x="17" y="162"/>
                  </a:lnTo>
                  <a:lnTo>
                    <a:pt x="12" y="153"/>
                  </a:lnTo>
                  <a:lnTo>
                    <a:pt x="9" y="143"/>
                  </a:lnTo>
                  <a:lnTo>
                    <a:pt x="5" y="135"/>
                  </a:lnTo>
                  <a:lnTo>
                    <a:pt x="3" y="124"/>
                  </a:lnTo>
                  <a:lnTo>
                    <a:pt x="2" y="114"/>
                  </a:lnTo>
                  <a:lnTo>
                    <a:pt x="0" y="103"/>
                  </a:lnTo>
                  <a:lnTo>
                    <a:pt x="0" y="103"/>
                  </a:lnTo>
                  <a:lnTo>
                    <a:pt x="2" y="92"/>
                  </a:lnTo>
                  <a:lnTo>
                    <a:pt x="3" y="82"/>
                  </a:lnTo>
                  <a:lnTo>
                    <a:pt x="5" y="73"/>
                  </a:lnTo>
                  <a:lnTo>
                    <a:pt x="9" y="63"/>
                  </a:lnTo>
                  <a:lnTo>
                    <a:pt x="12" y="53"/>
                  </a:lnTo>
                  <a:lnTo>
                    <a:pt x="17" y="45"/>
                  </a:lnTo>
                  <a:lnTo>
                    <a:pt x="23" y="37"/>
                  </a:lnTo>
                  <a:lnTo>
                    <a:pt x="30" y="30"/>
                  </a:lnTo>
                  <a:lnTo>
                    <a:pt x="37" y="23"/>
                  </a:lnTo>
                  <a:lnTo>
                    <a:pt x="44" y="17"/>
                  </a:lnTo>
                  <a:lnTo>
                    <a:pt x="53" y="12"/>
                  </a:lnTo>
                  <a:lnTo>
                    <a:pt x="61" y="8"/>
                  </a:lnTo>
                  <a:lnTo>
                    <a:pt x="71" y="4"/>
                  </a:lnTo>
                  <a:lnTo>
                    <a:pt x="81" y="2"/>
                  </a:lnTo>
                  <a:lnTo>
                    <a:pt x="9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114" y="0"/>
                  </a:lnTo>
                  <a:lnTo>
                    <a:pt x="126" y="2"/>
                  </a:lnTo>
                  <a:lnTo>
                    <a:pt x="135" y="6"/>
                  </a:lnTo>
                  <a:lnTo>
                    <a:pt x="146" y="9"/>
                  </a:lnTo>
                  <a:lnTo>
                    <a:pt x="155" y="15"/>
                  </a:lnTo>
                  <a:lnTo>
                    <a:pt x="163" y="22"/>
                  </a:lnTo>
                  <a:lnTo>
                    <a:pt x="172" y="29"/>
                  </a:lnTo>
                  <a:lnTo>
                    <a:pt x="179" y="37"/>
                  </a:lnTo>
                  <a:lnTo>
                    <a:pt x="156" y="59"/>
                  </a:lnTo>
                  <a:lnTo>
                    <a:pt x="156" y="59"/>
                  </a:lnTo>
                  <a:lnTo>
                    <a:pt x="151" y="53"/>
                  </a:lnTo>
                  <a:lnTo>
                    <a:pt x="146" y="47"/>
                  </a:lnTo>
                  <a:lnTo>
                    <a:pt x="140" y="42"/>
                  </a:lnTo>
                  <a:lnTo>
                    <a:pt x="134" y="39"/>
                  </a:lnTo>
                  <a:lnTo>
                    <a:pt x="127" y="35"/>
                  </a:lnTo>
                  <a:lnTo>
                    <a:pt x="118" y="32"/>
                  </a:lnTo>
                  <a:lnTo>
                    <a:pt x="111" y="31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94" y="31"/>
                  </a:lnTo>
                  <a:lnTo>
                    <a:pt x="88" y="31"/>
                  </a:lnTo>
                  <a:lnTo>
                    <a:pt x="81" y="34"/>
                  </a:lnTo>
                  <a:lnTo>
                    <a:pt x="75" y="36"/>
                  </a:lnTo>
                  <a:lnTo>
                    <a:pt x="62" y="42"/>
                  </a:lnTo>
                  <a:lnTo>
                    <a:pt x="53" y="52"/>
                  </a:lnTo>
                  <a:lnTo>
                    <a:pt x="45" y="62"/>
                  </a:lnTo>
                  <a:lnTo>
                    <a:pt x="39" y="75"/>
                  </a:lnTo>
                  <a:lnTo>
                    <a:pt x="36" y="89"/>
                  </a:lnTo>
                  <a:lnTo>
                    <a:pt x="34" y="103"/>
                  </a:lnTo>
                  <a:lnTo>
                    <a:pt x="34" y="103"/>
                  </a:lnTo>
                  <a:lnTo>
                    <a:pt x="36" y="118"/>
                  </a:lnTo>
                  <a:lnTo>
                    <a:pt x="39" y="132"/>
                  </a:lnTo>
                  <a:lnTo>
                    <a:pt x="45" y="145"/>
                  </a:lnTo>
                  <a:lnTo>
                    <a:pt x="53" y="156"/>
                  </a:lnTo>
                  <a:lnTo>
                    <a:pt x="62" y="164"/>
                  </a:lnTo>
                  <a:lnTo>
                    <a:pt x="75" y="170"/>
                  </a:lnTo>
                  <a:lnTo>
                    <a:pt x="81" y="173"/>
                  </a:lnTo>
                  <a:lnTo>
                    <a:pt x="88" y="175"/>
                  </a:lnTo>
                  <a:lnTo>
                    <a:pt x="94" y="176"/>
                  </a:lnTo>
                  <a:lnTo>
                    <a:pt x="101" y="176"/>
                  </a:lnTo>
                  <a:lnTo>
                    <a:pt x="101" y="17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2"/>
            <p:cNvSpPr>
              <a:spLocks noEditPoints="1"/>
            </p:cNvSpPr>
            <p:nvPr userDrawn="1"/>
          </p:nvSpPr>
          <p:spPr bwMode="auto">
            <a:xfrm>
              <a:off x="2376" y="2429"/>
              <a:ext cx="49" cy="50"/>
            </a:xfrm>
            <a:custGeom>
              <a:avLst/>
              <a:gdLst>
                <a:gd name="T0" fmla="*/ 34 w 148"/>
                <a:gd name="T1" fmla="*/ 85 h 149"/>
                <a:gd name="T2" fmla="*/ 39 w 148"/>
                <a:gd name="T3" fmla="*/ 99 h 149"/>
                <a:gd name="T4" fmla="*/ 47 w 148"/>
                <a:gd name="T5" fmla="*/ 110 h 149"/>
                <a:gd name="T6" fmla="*/ 59 w 148"/>
                <a:gd name="T7" fmla="*/ 116 h 149"/>
                <a:gd name="T8" fmla="*/ 75 w 148"/>
                <a:gd name="T9" fmla="*/ 120 h 149"/>
                <a:gd name="T10" fmla="*/ 85 w 148"/>
                <a:gd name="T11" fmla="*/ 118 h 149"/>
                <a:gd name="T12" fmla="*/ 102 w 148"/>
                <a:gd name="T13" fmla="*/ 111 h 149"/>
                <a:gd name="T14" fmla="*/ 146 w 148"/>
                <a:gd name="T15" fmla="*/ 105 h 149"/>
                <a:gd name="T16" fmla="*/ 141 w 148"/>
                <a:gd name="T17" fmla="*/ 115 h 149"/>
                <a:gd name="T18" fmla="*/ 128 w 148"/>
                <a:gd name="T19" fmla="*/ 131 h 149"/>
                <a:gd name="T20" fmla="*/ 109 w 148"/>
                <a:gd name="T21" fmla="*/ 143 h 149"/>
                <a:gd name="T22" fmla="*/ 87 w 148"/>
                <a:gd name="T23" fmla="*/ 149 h 149"/>
                <a:gd name="T24" fmla="*/ 75 w 148"/>
                <a:gd name="T25" fmla="*/ 149 h 149"/>
                <a:gd name="T26" fmla="*/ 59 w 148"/>
                <a:gd name="T27" fmla="*/ 148 h 149"/>
                <a:gd name="T28" fmla="*/ 45 w 148"/>
                <a:gd name="T29" fmla="*/ 144 h 149"/>
                <a:gd name="T30" fmla="*/ 22 w 148"/>
                <a:gd name="T31" fmla="*/ 128 h 149"/>
                <a:gd name="T32" fmla="*/ 6 w 148"/>
                <a:gd name="T33" fmla="*/ 104 h 149"/>
                <a:gd name="T34" fmla="*/ 1 w 148"/>
                <a:gd name="T35" fmla="*/ 90 h 149"/>
                <a:gd name="T36" fmla="*/ 0 w 148"/>
                <a:gd name="T37" fmla="*/ 74 h 149"/>
                <a:gd name="T38" fmla="*/ 0 w 148"/>
                <a:gd name="T39" fmla="*/ 67 h 149"/>
                <a:gd name="T40" fmla="*/ 6 w 148"/>
                <a:gd name="T41" fmla="*/ 45 h 149"/>
                <a:gd name="T42" fmla="*/ 22 w 148"/>
                <a:gd name="T43" fmla="*/ 22 h 149"/>
                <a:gd name="T44" fmla="*/ 45 w 148"/>
                <a:gd name="T45" fmla="*/ 6 h 149"/>
                <a:gd name="T46" fmla="*/ 58 w 148"/>
                <a:gd name="T47" fmla="*/ 1 h 149"/>
                <a:gd name="T48" fmla="*/ 74 w 148"/>
                <a:gd name="T49" fmla="*/ 0 h 149"/>
                <a:gd name="T50" fmla="*/ 81 w 148"/>
                <a:gd name="T51" fmla="*/ 0 h 149"/>
                <a:gd name="T52" fmla="*/ 96 w 148"/>
                <a:gd name="T53" fmla="*/ 4 h 149"/>
                <a:gd name="T54" fmla="*/ 115 w 148"/>
                <a:gd name="T55" fmla="*/ 12 h 149"/>
                <a:gd name="T56" fmla="*/ 135 w 148"/>
                <a:gd name="T57" fmla="*/ 33 h 149"/>
                <a:gd name="T58" fmla="*/ 146 w 148"/>
                <a:gd name="T59" fmla="*/ 60 h 149"/>
                <a:gd name="T60" fmla="*/ 148 w 148"/>
                <a:gd name="T61" fmla="*/ 74 h 149"/>
                <a:gd name="T62" fmla="*/ 147 w 148"/>
                <a:gd name="T63" fmla="*/ 85 h 149"/>
                <a:gd name="T64" fmla="*/ 35 w 148"/>
                <a:gd name="T65" fmla="*/ 57 h 149"/>
                <a:gd name="T66" fmla="*/ 113 w 148"/>
                <a:gd name="T67" fmla="*/ 57 h 149"/>
                <a:gd name="T68" fmla="*/ 107 w 148"/>
                <a:gd name="T69" fmla="*/ 46 h 149"/>
                <a:gd name="T70" fmla="*/ 98 w 148"/>
                <a:gd name="T71" fmla="*/ 38 h 149"/>
                <a:gd name="T72" fmla="*/ 87 w 148"/>
                <a:gd name="T73" fmla="*/ 32 h 149"/>
                <a:gd name="T74" fmla="*/ 74 w 148"/>
                <a:gd name="T75" fmla="*/ 29 h 149"/>
                <a:gd name="T76" fmla="*/ 67 w 148"/>
                <a:gd name="T77" fmla="*/ 31 h 149"/>
                <a:gd name="T78" fmla="*/ 55 w 148"/>
                <a:gd name="T79" fmla="*/ 34 h 149"/>
                <a:gd name="T80" fmla="*/ 45 w 148"/>
                <a:gd name="T81" fmla="*/ 42 h 149"/>
                <a:gd name="T82" fmla="*/ 38 w 148"/>
                <a:gd name="T83" fmla="*/ 51 h 149"/>
                <a:gd name="T84" fmla="*/ 35 w 148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8" h="149">
                  <a:moveTo>
                    <a:pt x="34" y="85"/>
                  </a:moveTo>
                  <a:lnTo>
                    <a:pt x="34" y="85"/>
                  </a:lnTo>
                  <a:lnTo>
                    <a:pt x="35" y="93"/>
                  </a:lnTo>
                  <a:lnTo>
                    <a:pt x="39" y="99"/>
                  </a:lnTo>
                  <a:lnTo>
                    <a:pt x="42" y="105"/>
                  </a:lnTo>
                  <a:lnTo>
                    <a:pt x="47" y="110"/>
                  </a:lnTo>
                  <a:lnTo>
                    <a:pt x="53" y="113"/>
                  </a:lnTo>
                  <a:lnTo>
                    <a:pt x="59" y="116"/>
                  </a:lnTo>
                  <a:lnTo>
                    <a:pt x="67" y="118"/>
                  </a:lnTo>
                  <a:lnTo>
                    <a:pt x="75" y="120"/>
                  </a:lnTo>
                  <a:lnTo>
                    <a:pt x="75" y="120"/>
                  </a:lnTo>
                  <a:lnTo>
                    <a:pt x="85" y="118"/>
                  </a:lnTo>
                  <a:lnTo>
                    <a:pt x="95" y="116"/>
                  </a:lnTo>
                  <a:lnTo>
                    <a:pt x="102" y="111"/>
                  </a:lnTo>
                  <a:lnTo>
                    <a:pt x="108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1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19" y="137"/>
                  </a:lnTo>
                  <a:lnTo>
                    <a:pt x="109" y="143"/>
                  </a:lnTo>
                  <a:lnTo>
                    <a:pt x="98" y="146"/>
                  </a:lnTo>
                  <a:lnTo>
                    <a:pt x="87" y="149"/>
                  </a:lnTo>
                  <a:lnTo>
                    <a:pt x="75" y="149"/>
                  </a:lnTo>
                  <a:lnTo>
                    <a:pt x="75" y="149"/>
                  </a:lnTo>
                  <a:lnTo>
                    <a:pt x="67" y="149"/>
                  </a:lnTo>
                  <a:lnTo>
                    <a:pt x="59" y="148"/>
                  </a:lnTo>
                  <a:lnTo>
                    <a:pt x="52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3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2" y="4"/>
                  </a:lnTo>
                  <a:lnTo>
                    <a:pt x="58" y="1"/>
                  </a:lnTo>
                  <a:lnTo>
                    <a:pt x="67" y="0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1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3" y="6"/>
                  </a:lnTo>
                  <a:lnTo>
                    <a:pt x="115" y="12"/>
                  </a:lnTo>
                  <a:lnTo>
                    <a:pt x="126" y="22"/>
                  </a:lnTo>
                  <a:lnTo>
                    <a:pt x="135" y="33"/>
                  </a:lnTo>
                  <a:lnTo>
                    <a:pt x="142" y="45"/>
                  </a:lnTo>
                  <a:lnTo>
                    <a:pt x="146" y="60"/>
                  </a:lnTo>
                  <a:lnTo>
                    <a:pt x="147" y="67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7" y="85"/>
                  </a:lnTo>
                  <a:lnTo>
                    <a:pt x="34" y="85"/>
                  </a:lnTo>
                  <a:close/>
                  <a:moveTo>
                    <a:pt x="35" y="57"/>
                  </a:moveTo>
                  <a:lnTo>
                    <a:pt x="113" y="57"/>
                  </a:lnTo>
                  <a:lnTo>
                    <a:pt x="113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3" y="42"/>
                  </a:lnTo>
                  <a:lnTo>
                    <a:pt x="98" y="38"/>
                  </a:lnTo>
                  <a:lnTo>
                    <a:pt x="94" y="34"/>
                  </a:lnTo>
                  <a:lnTo>
                    <a:pt x="87" y="32"/>
                  </a:lnTo>
                  <a:lnTo>
                    <a:pt x="80" y="31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5" y="57"/>
                  </a:lnTo>
                  <a:lnTo>
                    <a:pt x="35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3"/>
            <p:cNvSpPr>
              <a:spLocks/>
            </p:cNvSpPr>
            <p:nvPr userDrawn="1"/>
          </p:nvSpPr>
          <p:spPr bwMode="auto">
            <a:xfrm>
              <a:off x="2434" y="2429"/>
              <a:ext cx="43" cy="49"/>
            </a:xfrm>
            <a:custGeom>
              <a:avLst/>
              <a:gdLst>
                <a:gd name="T0" fmla="*/ 0 w 128"/>
                <a:gd name="T1" fmla="*/ 1 h 148"/>
                <a:gd name="T2" fmla="*/ 32 w 128"/>
                <a:gd name="T3" fmla="*/ 1 h 148"/>
                <a:gd name="T4" fmla="*/ 32 w 128"/>
                <a:gd name="T5" fmla="*/ 18 h 148"/>
                <a:gd name="T6" fmla="*/ 32 w 128"/>
                <a:gd name="T7" fmla="*/ 18 h 148"/>
                <a:gd name="T8" fmla="*/ 38 w 128"/>
                <a:gd name="T9" fmla="*/ 12 h 148"/>
                <a:gd name="T10" fmla="*/ 47 w 128"/>
                <a:gd name="T11" fmla="*/ 6 h 148"/>
                <a:gd name="T12" fmla="*/ 53 w 128"/>
                <a:gd name="T13" fmla="*/ 4 h 148"/>
                <a:gd name="T14" fmla="*/ 59 w 128"/>
                <a:gd name="T15" fmla="*/ 1 h 148"/>
                <a:gd name="T16" fmla="*/ 65 w 128"/>
                <a:gd name="T17" fmla="*/ 0 h 148"/>
                <a:gd name="T18" fmla="*/ 72 w 128"/>
                <a:gd name="T19" fmla="*/ 0 h 148"/>
                <a:gd name="T20" fmla="*/ 72 w 128"/>
                <a:gd name="T21" fmla="*/ 0 h 148"/>
                <a:gd name="T22" fmla="*/ 84 w 128"/>
                <a:gd name="T23" fmla="*/ 1 h 148"/>
                <a:gd name="T24" fmla="*/ 97 w 128"/>
                <a:gd name="T25" fmla="*/ 4 h 148"/>
                <a:gd name="T26" fmla="*/ 105 w 128"/>
                <a:gd name="T27" fmla="*/ 9 h 148"/>
                <a:gd name="T28" fmla="*/ 114 w 128"/>
                <a:gd name="T29" fmla="*/ 16 h 148"/>
                <a:gd name="T30" fmla="*/ 120 w 128"/>
                <a:gd name="T31" fmla="*/ 24 h 148"/>
                <a:gd name="T32" fmla="*/ 125 w 128"/>
                <a:gd name="T33" fmla="*/ 34 h 148"/>
                <a:gd name="T34" fmla="*/ 127 w 128"/>
                <a:gd name="T35" fmla="*/ 46 h 148"/>
                <a:gd name="T36" fmla="*/ 128 w 128"/>
                <a:gd name="T37" fmla="*/ 60 h 148"/>
                <a:gd name="T38" fmla="*/ 128 w 128"/>
                <a:gd name="T39" fmla="*/ 148 h 148"/>
                <a:gd name="T40" fmla="*/ 97 w 128"/>
                <a:gd name="T41" fmla="*/ 148 h 148"/>
                <a:gd name="T42" fmla="*/ 97 w 128"/>
                <a:gd name="T43" fmla="*/ 67 h 148"/>
                <a:gd name="T44" fmla="*/ 97 w 128"/>
                <a:gd name="T45" fmla="*/ 67 h 148"/>
                <a:gd name="T46" fmla="*/ 95 w 128"/>
                <a:gd name="T47" fmla="*/ 59 h 148"/>
                <a:gd name="T48" fmla="*/ 94 w 128"/>
                <a:gd name="T49" fmla="*/ 50 h 148"/>
                <a:gd name="T50" fmla="*/ 92 w 128"/>
                <a:gd name="T51" fmla="*/ 44 h 148"/>
                <a:gd name="T52" fmla="*/ 88 w 128"/>
                <a:gd name="T53" fmla="*/ 39 h 148"/>
                <a:gd name="T54" fmla="*/ 83 w 128"/>
                <a:gd name="T55" fmla="*/ 35 h 148"/>
                <a:gd name="T56" fmla="*/ 78 w 128"/>
                <a:gd name="T57" fmla="*/ 32 h 148"/>
                <a:gd name="T58" fmla="*/ 71 w 128"/>
                <a:gd name="T59" fmla="*/ 31 h 148"/>
                <a:gd name="T60" fmla="*/ 64 w 128"/>
                <a:gd name="T61" fmla="*/ 31 h 148"/>
                <a:gd name="T62" fmla="*/ 64 w 128"/>
                <a:gd name="T63" fmla="*/ 31 h 148"/>
                <a:gd name="T64" fmla="*/ 56 w 128"/>
                <a:gd name="T65" fmla="*/ 31 h 148"/>
                <a:gd name="T66" fmla="*/ 50 w 128"/>
                <a:gd name="T67" fmla="*/ 33 h 148"/>
                <a:gd name="T68" fmla="*/ 44 w 128"/>
                <a:gd name="T69" fmla="*/ 37 h 148"/>
                <a:gd name="T70" fmla="*/ 41 w 128"/>
                <a:gd name="T71" fmla="*/ 40 h 148"/>
                <a:gd name="T72" fmla="*/ 37 w 128"/>
                <a:gd name="T73" fmla="*/ 46 h 148"/>
                <a:gd name="T74" fmla="*/ 34 w 128"/>
                <a:gd name="T75" fmla="*/ 53 h 148"/>
                <a:gd name="T76" fmla="*/ 32 w 128"/>
                <a:gd name="T77" fmla="*/ 60 h 148"/>
                <a:gd name="T78" fmla="*/ 32 w 128"/>
                <a:gd name="T79" fmla="*/ 67 h 148"/>
                <a:gd name="T80" fmla="*/ 32 w 128"/>
                <a:gd name="T81" fmla="*/ 148 h 148"/>
                <a:gd name="T82" fmla="*/ 0 w 128"/>
                <a:gd name="T83" fmla="*/ 148 h 148"/>
                <a:gd name="T84" fmla="*/ 0 w 128"/>
                <a:gd name="T85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28" h="148">
                  <a:moveTo>
                    <a:pt x="0" y="1"/>
                  </a:moveTo>
                  <a:lnTo>
                    <a:pt x="32" y="1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8" y="12"/>
                  </a:lnTo>
                  <a:lnTo>
                    <a:pt x="47" y="6"/>
                  </a:lnTo>
                  <a:lnTo>
                    <a:pt x="53" y="4"/>
                  </a:lnTo>
                  <a:lnTo>
                    <a:pt x="59" y="1"/>
                  </a:lnTo>
                  <a:lnTo>
                    <a:pt x="65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84" y="1"/>
                  </a:lnTo>
                  <a:lnTo>
                    <a:pt x="97" y="4"/>
                  </a:lnTo>
                  <a:lnTo>
                    <a:pt x="105" y="9"/>
                  </a:lnTo>
                  <a:lnTo>
                    <a:pt x="114" y="16"/>
                  </a:lnTo>
                  <a:lnTo>
                    <a:pt x="120" y="24"/>
                  </a:lnTo>
                  <a:lnTo>
                    <a:pt x="125" y="34"/>
                  </a:lnTo>
                  <a:lnTo>
                    <a:pt x="127" y="46"/>
                  </a:lnTo>
                  <a:lnTo>
                    <a:pt x="128" y="60"/>
                  </a:lnTo>
                  <a:lnTo>
                    <a:pt x="128" y="148"/>
                  </a:lnTo>
                  <a:lnTo>
                    <a:pt x="97" y="148"/>
                  </a:lnTo>
                  <a:lnTo>
                    <a:pt x="97" y="67"/>
                  </a:lnTo>
                  <a:lnTo>
                    <a:pt x="97" y="67"/>
                  </a:lnTo>
                  <a:lnTo>
                    <a:pt x="95" y="59"/>
                  </a:lnTo>
                  <a:lnTo>
                    <a:pt x="94" y="50"/>
                  </a:lnTo>
                  <a:lnTo>
                    <a:pt x="92" y="44"/>
                  </a:lnTo>
                  <a:lnTo>
                    <a:pt x="88" y="39"/>
                  </a:lnTo>
                  <a:lnTo>
                    <a:pt x="83" y="35"/>
                  </a:lnTo>
                  <a:lnTo>
                    <a:pt x="78" y="32"/>
                  </a:lnTo>
                  <a:lnTo>
                    <a:pt x="71" y="31"/>
                  </a:lnTo>
                  <a:lnTo>
                    <a:pt x="64" y="31"/>
                  </a:lnTo>
                  <a:lnTo>
                    <a:pt x="64" y="31"/>
                  </a:lnTo>
                  <a:lnTo>
                    <a:pt x="56" y="31"/>
                  </a:lnTo>
                  <a:lnTo>
                    <a:pt x="50" y="33"/>
                  </a:lnTo>
                  <a:lnTo>
                    <a:pt x="44" y="37"/>
                  </a:lnTo>
                  <a:lnTo>
                    <a:pt x="41" y="40"/>
                  </a:lnTo>
                  <a:lnTo>
                    <a:pt x="37" y="46"/>
                  </a:lnTo>
                  <a:lnTo>
                    <a:pt x="34" y="53"/>
                  </a:lnTo>
                  <a:lnTo>
                    <a:pt x="32" y="60"/>
                  </a:lnTo>
                  <a:lnTo>
                    <a:pt x="32" y="67"/>
                  </a:lnTo>
                  <a:lnTo>
                    <a:pt x="32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4"/>
            <p:cNvSpPr>
              <a:spLocks/>
            </p:cNvSpPr>
            <p:nvPr userDrawn="1"/>
          </p:nvSpPr>
          <p:spPr bwMode="auto">
            <a:xfrm>
              <a:off x="2484" y="2409"/>
              <a:ext cx="35" cy="69"/>
            </a:xfrm>
            <a:custGeom>
              <a:avLst/>
              <a:gdLst>
                <a:gd name="T0" fmla="*/ 30 w 106"/>
                <a:gd name="T1" fmla="*/ 4 h 209"/>
                <a:gd name="T2" fmla="*/ 62 w 106"/>
                <a:gd name="T3" fmla="*/ 0 h 209"/>
                <a:gd name="T4" fmla="*/ 62 w 106"/>
                <a:gd name="T5" fmla="*/ 62 h 209"/>
                <a:gd name="T6" fmla="*/ 106 w 106"/>
                <a:gd name="T7" fmla="*/ 62 h 209"/>
                <a:gd name="T8" fmla="*/ 106 w 106"/>
                <a:gd name="T9" fmla="*/ 93 h 209"/>
                <a:gd name="T10" fmla="*/ 62 w 106"/>
                <a:gd name="T11" fmla="*/ 93 h 209"/>
                <a:gd name="T12" fmla="*/ 62 w 106"/>
                <a:gd name="T13" fmla="*/ 209 h 209"/>
                <a:gd name="T14" fmla="*/ 30 w 106"/>
                <a:gd name="T15" fmla="*/ 209 h 209"/>
                <a:gd name="T16" fmla="*/ 30 w 106"/>
                <a:gd name="T17" fmla="*/ 93 h 209"/>
                <a:gd name="T18" fmla="*/ 0 w 106"/>
                <a:gd name="T19" fmla="*/ 93 h 209"/>
                <a:gd name="T20" fmla="*/ 0 w 106"/>
                <a:gd name="T21" fmla="*/ 62 h 209"/>
                <a:gd name="T22" fmla="*/ 30 w 106"/>
                <a:gd name="T23" fmla="*/ 62 h 209"/>
                <a:gd name="T24" fmla="*/ 30 w 106"/>
                <a:gd name="T25" fmla="*/ 4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209">
                  <a:moveTo>
                    <a:pt x="30" y="4"/>
                  </a:moveTo>
                  <a:lnTo>
                    <a:pt x="62" y="0"/>
                  </a:lnTo>
                  <a:lnTo>
                    <a:pt x="62" y="62"/>
                  </a:lnTo>
                  <a:lnTo>
                    <a:pt x="106" y="62"/>
                  </a:lnTo>
                  <a:lnTo>
                    <a:pt x="106" y="93"/>
                  </a:lnTo>
                  <a:lnTo>
                    <a:pt x="62" y="93"/>
                  </a:lnTo>
                  <a:lnTo>
                    <a:pt x="62" y="209"/>
                  </a:lnTo>
                  <a:lnTo>
                    <a:pt x="30" y="209"/>
                  </a:lnTo>
                  <a:lnTo>
                    <a:pt x="30" y="93"/>
                  </a:lnTo>
                  <a:lnTo>
                    <a:pt x="0" y="93"/>
                  </a:lnTo>
                  <a:lnTo>
                    <a:pt x="0" y="62"/>
                  </a:lnTo>
                  <a:lnTo>
                    <a:pt x="30" y="62"/>
                  </a:lnTo>
                  <a:lnTo>
                    <a:pt x="30" y="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5"/>
            <p:cNvSpPr>
              <a:spLocks/>
            </p:cNvSpPr>
            <p:nvPr userDrawn="1"/>
          </p:nvSpPr>
          <p:spPr bwMode="auto">
            <a:xfrm>
              <a:off x="2527" y="2429"/>
              <a:ext cx="23" cy="49"/>
            </a:xfrm>
            <a:custGeom>
              <a:avLst/>
              <a:gdLst>
                <a:gd name="T0" fmla="*/ 0 w 69"/>
                <a:gd name="T1" fmla="*/ 1 h 148"/>
                <a:gd name="T2" fmla="*/ 32 w 69"/>
                <a:gd name="T3" fmla="*/ 1 h 148"/>
                <a:gd name="T4" fmla="*/ 32 w 69"/>
                <a:gd name="T5" fmla="*/ 17 h 148"/>
                <a:gd name="T6" fmla="*/ 32 w 69"/>
                <a:gd name="T7" fmla="*/ 17 h 148"/>
                <a:gd name="T8" fmla="*/ 38 w 69"/>
                <a:gd name="T9" fmla="*/ 10 h 148"/>
                <a:gd name="T10" fmla="*/ 45 w 69"/>
                <a:gd name="T11" fmla="*/ 5 h 148"/>
                <a:gd name="T12" fmla="*/ 50 w 69"/>
                <a:gd name="T13" fmla="*/ 3 h 148"/>
                <a:gd name="T14" fmla="*/ 56 w 69"/>
                <a:gd name="T15" fmla="*/ 1 h 148"/>
                <a:gd name="T16" fmla="*/ 62 w 69"/>
                <a:gd name="T17" fmla="*/ 0 h 148"/>
                <a:gd name="T18" fmla="*/ 69 w 69"/>
                <a:gd name="T19" fmla="*/ 0 h 148"/>
                <a:gd name="T20" fmla="*/ 69 w 69"/>
                <a:gd name="T21" fmla="*/ 31 h 148"/>
                <a:gd name="T22" fmla="*/ 67 w 69"/>
                <a:gd name="T23" fmla="*/ 31 h 148"/>
                <a:gd name="T24" fmla="*/ 67 w 69"/>
                <a:gd name="T25" fmla="*/ 31 h 148"/>
                <a:gd name="T26" fmla="*/ 60 w 69"/>
                <a:gd name="T27" fmla="*/ 32 h 148"/>
                <a:gd name="T28" fmla="*/ 52 w 69"/>
                <a:gd name="T29" fmla="*/ 33 h 148"/>
                <a:gd name="T30" fmla="*/ 46 w 69"/>
                <a:gd name="T31" fmla="*/ 37 h 148"/>
                <a:gd name="T32" fmla="*/ 41 w 69"/>
                <a:gd name="T33" fmla="*/ 40 h 148"/>
                <a:gd name="T34" fmla="*/ 38 w 69"/>
                <a:gd name="T35" fmla="*/ 46 h 148"/>
                <a:gd name="T36" fmla="*/ 34 w 69"/>
                <a:gd name="T37" fmla="*/ 53 h 148"/>
                <a:gd name="T38" fmla="*/ 33 w 69"/>
                <a:gd name="T39" fmla="*/ 60 h 148"/>
                <a:gd name="T40" fmla="*/ 32 w 69"/>
                <a:gd name="T41" fmla="*/ 67 h 148"/>
                <a:gd name="T42" fmla="*/ 32 w 69"/>
                <a:gd name="T43" fmla="*/ 148 h 148"/>
                <a:gd name="T44" fmla="*/ 0 w 69"/>
                <a:gd name="T45" fmla="*/ 148 h 148"/>
                <a:gd name="T46" fmla="*/ 0 w 69"/>
                <a:gd name="T47" fmla="*/ 1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9" h="148">
                  <a:moveTo>
                    <a:pt x="0" y="1"/>
                  </a:moveTo>
                  <a:lnTo>
                    <a:pt x="32" y="1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8" y="10"/>
                  </a:lnTo>
                  <a:lnTo>
                    <a:pt x="45" y="5"/>
                  </a:lnTo>
                  <a:lnTo>
                    <a:pt x="50" y="3"/>
                  </a:lnTo>
                  <a:lnTo>
                    <a:pt x="56" y="1"/>
                  </a:lnTo>
                  <a:lnTo>
                    <a:pt x="62" y="0"/>
                  </a:lnTo>
                  <a:lnTo>
                    <a:pt x="69" y="0"/>
                  </a:lnTo>
                  <a:lnTo>
                    <a:pt x="69" y="31"/>
                  </a:lnTo>
                  <a:lnTo>
                    <a:pt x="67" y="31"/>
                  </a:lnTo>
                  <a:lnTo>
                    <a:pt x="67" y="31"/>
                  </a:lnTo>
                  <a:lnTo>
                    <a:pt x="60" y="32"/>
                  </a:lnTo>
                  <a:lnTo>
                    <a:pt x="52" y="33"/>
                  </a:lnTo>
                  <a:lnTo>
                    <a:pt x="46" y="37"/>
                  </a:lnTo>
                  <a:lnTo>
                    <a:pt x="41" y="40"/>
                  </a:lnTo>
                  <a:lnTo>
                    <a:pt x="38" y="46"/>
                  </a:lnTo>
                  <a:lnTo>
                    <a:pt x="34" y="53"/>
                  </a:lnTo>
                  <a:lnTo>
                    <a:pt x="33" y="60"/>
                  </a:lnTo>
                  <a:lnTo>
                    <a:pt x="32" y="67"/>
                  </a:lnTo>
                  <a:lnTo>
                    <a:pt x="32" y="148"/>
                  </a:lnTo>
                  <a:lnTo>
                    <a:pt x="0" y="148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6"/>
            <p:cNvSpPr>
              <a:spLocks noEditPoints="1"/>
            </p:cNvSpPr>
            <p:nvPr userDrawn="1"/>
          </p:nvSpPr>
          <p:spPr bwMode="auto">
            <a:xfrm>
              <a:off x="2555" y="2429"/>
              <a:ext cx="50" cy="50"/>
            </a:xfrm>
            <a:custGeom>
              <a:avLst/>
              <a:gdLst>
                <a:gd name="T0" fmla="*/ 34 w 149"/>
                <a:gd name="T1" fmla="*/ 85 h 149"/>
                <a:gd name="T2" fmla="*/ 39 w 149"/>
                <a:gd name="T3" fmla="*/ 99 h 149"/>
                <a:gd name="T4" fmla="*/ 48 w 149"/>
                <a:gd name="T5" fmla="*/ 110 h 149"/>
                <a:gd name="T6" fmla="*/ 60 w 149"/>
                <a:gd name="T7" fmla="*/ 116 h 149"/>
                <a:gd name="T8" fmla="*/ 76 w 149"/>
                <a:gd name="T9" fmla="*/ 120 h 149"/>
                <a:gd name="T10" fmla="*/ 86 w 149"/>
                <a:gd name="T11" fmla="*/ 118 h 149"/>
                <a:gd name="T12" fmla="*/ 103 w 149"/>
                <a:gd name="T13" fmla="*/ 111 h 149"/>
                <a:gd name="T14" fmla="*/ 146 w 149"/>
                <a:gd name="T15" fmla="*/ 105 h 149"/>
                <a:gd name="T16" fmla="*/ 142 w 149"/>
                <a:gd name="T17" fmla="*/ 115 h 149"/>
                <a:gd name="T18" fmla="*/ 128 w 149"/>
                <a:gd name="T19" fmla="*/ 131 h 149"/>
                <a:gd name="T20" fmla="*/ 110 w 149"/>
                <a:gd name="T21" fmla="*/ 143 h 149"/>
                <a:gd name="T22" fmla="*/ 87 w 149"/>
                <a:gd name="T23" fmla="*/ 149 h 149"/>
                <a:gd name="T24" fmla="*/ 76 w 149"/>
                <a:gd name="T25" fmla="*/ 149 h 149"/>
                <a:gd name="T26" fmla="*/ 60 w 149"/>
                <a:gd name="T27" fmla="*/ 148 h 149"/>
                <a:gd name="T28" fmla="*/ 45 w 149"/>
                <a:gd name="T29" fmla="*/ 144 h 149"/>
                <a:gd name="T30" fmla="*/ 22 w 149"/>
                <a:gd name="T31" fmla="*/ 128 h 149"/>
                <a:gd name="T32" fmla="*/ 6 w 149"/>
                <a:gd name="T33" fmla="*/ 104 h 149"/>
                <a:gd name="T34" fmla="*/ 1 w 149"/>
                <a:gd name="T35" fmla="*/ 90 h 149"/>
                <a:gd name="T36" fmla="*/ 0 w 149"/>
                <a:gd name="T37" fmla="*/ 74 h 149"/>
                <a:gd name="T38" fmla="*/ 0 w 149"/>
                <a:gd name="T39" fmla="*/ 67 h 149"/>
                <a:gd name="T40" fmla="*/ 6 w 149"/>
                <a:gd name="T41" fmla="*/ 45 h 149"/>
                <a:gd name="T42" fmla="*/ 22 w 149"/>
                <a:gd name="T43" fmla="*/ 22 h 149"/>
                <a:gd name="T44" fmla="*/ 45 w 149"/>
                <a:gd name="T45" fmla="*/ 6 h 149"/>
                <a:gd name="T46" fmla="*/ 59 w 149"/>
                <a:gd name="T47" fmla="*/ 1 h 149"/>
                <a:gd name="T48" fmla="*/ 75 w 149"/>
                <a:gd name="T49" fmla="*/ 0 h 149"/>
                <a:gd name="T50" fmla="*/ 82 w 149"/>
                <a:gd name="T51" fmla="*/ 0 h 149"/>
                <a:gd name="T52" fmla="*/ 96 w 149"/>
                <a:gd name="T53" fmla="*/ 4 h 149"/>
                <a:gd name="T54" fmla="*/ 116 w 149"/>
                <a:gd name="T55" fmla="*/ 12 h 149"/>
                <a:gd name="T56" fmla="*/ 135 w 149"/>
                <a:gd name="T57" fmla="*/ 33 h 149"/>
                <a:gd name="T58" fmla="*/ 146 w 149"/>
                <a:gd name="T59" fmla="*/ 60 h 149"/>
                <a:gd name="T60" fmla="*/ 149 w 149"/>
                <a:gd name="T61" fmla="*/ 74 h 149"/>
                <a:gd name="T62" fmla="*/ 148 w 149"/>
                <a:gd name="T63" fmla="*/ 85 h 149"/>
                <a:gd name="T64" fmla="*/ 36 w 149"/>
                <a:gd name="T65" fmla="*/ 57 h 149"/>
                <a:gd name="T66" fmla="*/ 114 w 149"/>
                <a:gd name="T67" fmla="*/ 57 h 149"/>
                <a:gd name="T68" fmla="*/ 107 w 149"/>
                <a:gd name="T69" fmla="*/ 46 h 149"/>
                <a:gd name="T70" fmla="*/ 99 w 149"/>
                <a:gd name="T71" fmla="*/ 38 h 149"/>
                <a:gd name="T72" fmla="*/ 88 w 149"/>
                <a:gd name="T73" fmla="*/ 32 h 149"/>
                <a:gd name="T74" fmla="*/ 75 w 149"/>
                <a:gd name="T75" fmla="*/ 29 h 149"/>
                <a:gd name="T76" fmla="*/ 67 w 149"/>
                <a:gd name="T77" fmla="*/ 31 h 149"/>
                <a:gd name="T78" fmla="*/ 55 w 149"/>
                <a:gd name="T79" fmla="*/ 34 h 149"/>
                <a:gd name="T80" fmla="*/ 45 w 149"/>
                <a:gd name="T81" fmla="*/ 42 h 149"/>
                <a:gd name="T82" fmla="*/ 38 w 149"/>
                <a:gd name="T83" fmla="*/ 51 h 149"/>
                <a:gd name="T84" fmla="*/ 36 w 149"/>
                <a:gd name="T85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49" h="149">
                  <a:moveTo>
                    <a:pt x="34" y="85"/>
                  </a:moveTo>
                  <a:lnTo>
                    <a:pt x="34" y="85"/>
                  </a:lnTo>
                  <a:lnTo>
                    <a:pt x="36" y="93"/>
                  </a:lnTo>
                  <a:lnTo>
                    <a:pt x="39" y="99"/>
                  </a:lnTo>
                  <a:lnTo>
                    <a:pt x="43" y="105"/>
                  </a:lnTo>
                  <a:lnTo>
                    <a:pt x="48" y="110"/>
                  </a:lnTo>
                  <a:lnTo>
                    <a:pt x="54" y="113"/>
                  </a:lnTo>
                  <a:lnTo>
                    <a:pt x="60" y="116"/>
                  </a:lnTo>
                  <a:lnTo>
                    <a:pt x="67" y="118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86" y="118"/>
                  </a:lnTo>
                  <a:lnTo>
                    <a:pt x="95" y="116"/>
                  </a:lnTo>
                  <a:lnTo>
                    <a:pt x="103" y="111"/>
                  </a:lnTo>
                  <a:lnTo>
                    <a:pt x="109" y="105"/>
                  </a:lnTo>
                  <a:lnTo>
                    <a:pt x="146" y="105"/>
                  </a:lnTo>
                  <a:lnTo>
                    <a:pt x="146" y="105"/>
                  </a:lnTo>
                  <a:lnTo>
                    <a:pt x="142" y="115"/>
                  </a:lnTo>
                  <a:lnTo>
                    <a:pt x="135" y="123"/>
                  </a:lnTo>
                  <a:lnTo>
                    <a:pt x="128" y="131"/>
                  </a:lnTo>
                  <a:lnTo>
                    <a:pt x="120" y="137"/>
                  </a:lnTo>
                  <a:lnTo>
                    <a:pt x="110" y="143"/>
                  </a:lnTo>
                  <a:lnTo>
                    <a:pt x="99" y="146"/>
                  </a:lnTo>
                  <a:lnTo>
                    <a:pt x="87" y="149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67" y="149"/>
                  </a:lnTo>
                  <a:lnTo>
                    <a:pt x="60" y="148"/>
                  </a:lnTo>
                  <a:lnTo>
                    <a:pt x="53" y="146"/>
                  </a:lnTo>
                  <a:lnTo>
                    <a:pt x="45" y="144"/>
                  </a:lnTo>
                  <a:lnTo>
                    <a:pt x="33" y="137"/>
                  </a:lnTo>
                  <a:lnTo>
                    <a:pt x="22" y="128"/>
                  </a:lnTo>
                  <a:lnTo>
                    <a:pt x="12" y="116"/>
                  </a:lnTo>
                  <a:lnTo>
                    <a:pt x="6" y="104"/>
                  </a:lnTo>
                  <a:lnTo>
                    <a:pt x="4" y="96"/>
                  </a:lnTo>
                  <a:lnTo>
                    <a:pt x="1" y="90"/>
                  </a:lnTo>
                  <a:lnTo>
                    <a:pt x="0" y="82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0" y="67"/>
                  </a:lnTo>
                  <a:lnTo>
                    <a:pt x="1" y="60"/>
                  </a:lnTo>
                  <a:lnTo>
                    <a:pt x="6" y="45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33" y="12"/>
                  </a:lnTo>
                  <a:lnTo>
                    <a:pt x="45" y="6"/>
                  </a:lnTo>
                  <a:lnTo>
                    <a:pt x="53" y="4"/>
                  </a:lnTo>
                  <a:lnTo>
                    <a:pt x="59" y="1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82" y="0"/>
                  </a:lnTo>
                  <a:lnTo>
                    <a:pt x="89" y="1"/>
                  </a:lnTo>
                  <a:lnTo>
                    <a:pt x="96" y="4"/>
                  </a:lnTo>
                  <a:lnTo>
                    <a:pt x="104" y="6"/>
                  </a:lnTo>
                  <a:lnTo>
                    <a:pt x="116" y="12"/>
                  </a:lnTo>
                  <a:lnTo>
                    <a:pt x="127" y="22"/>
                  </a:lnTo>
                  <a:lnTo>
                    <a:pt x="135" y="33"/>
                  </a:lnTo>
                  <a:lnTo>
                    <a:pt x="143" y="45"/>
                  </a:lnTo>
                  <a:lnTo>
                    <a:pt x="146" y="60"/>
                  </a:lnTo>
                  <a:lnTo>
                    <a:pt x="148" y="67"/>
                  </a:lnTo>
                  <a:lnTo>
                    <a:pt x="149" y="74"/>
                  </a:lnTo>
                  <a:lnTo>
                    <a:pt x="149" y="74"/>
                  </a:lnTo>
                  <a:lnTo>
                    <a:pt x="148" y="85"/>
                  </a:lnTo>
                  <a:lnTo>
                    <a:pt x="34" y="85"/>
                  </a:lnTo>
                  <a:close/>
                  <a:moveTo>
                    <a:pt x="36" y="57"/>
                  </a:moveTo>
                  <a:lnTo>
                    <a:pt x="114" y="57"/>
                  </a:lnTo>
                  <a:lnTo>
                    <a:pt x="114" y="57"/>
                  </a:lnTo>
                  <a:lnTo>
                    <a:pt x="111" y="51"/>
                  </a:lnTo>
                  <a:lnTo>
                    <a:pt x="107" y="46"/>
                  </a:lnTo>
                  <a:lnTo>
                    <a:pt x="104" y="42"/>
                  </a:lnTo>
                  <a:lnTo>
                    <a:pt x="99" y="38"/>
                  </a:lnTo>
                  <a:lnTo>
                    <a:pt x="94" y="34"/>
                  </a:lnTo>
                  <a:lnTo>
                    <a:pt x="88" y="32"/>
                  </a:lnTo>
                  <a:lnTo>
                    <a:pt x="81" y="31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67" y="31"/>
                  </a:lnTo>
                  <a:lnTo>
                    <a:pt x="61" y="32"/>
                  </a:lnTo>
                  <a:lnTo>
                    <a:pt x="55" y="34"/>
                  </a:lnTo>
                  <a:lnTo>
                    <a:pt x="50" y="38"/>
                  </a:lnTo>
                  <a:lnTo>
                    <a:pt x="45" y="42"/>
                  </a:lnTo>
                  <a:lnTo>
                    <a:pt x="40" y="46"/>
                  </a:lnTo>
                  <a:lnTo>
                    <a:pt x="38" y="51"/>
                  </a:lnTo>
                  <a:lnTo>
                    <a:pt x="36" y="57"/>
                  </a:lnTo>
                  <a:lnTo>
                    <a:pt x="36" y="5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08205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70" t="12938" r="-48113" b="26562"/>
          <a:stretch/>
        </p:blipFill>
        <p:spPr>
          <a:xfrm>
            <a:off x="771525" y="758825"/>
            <a:ext cx="10658475" cy="5334000"/>
          </a:xfrm>
          <a:prstGeom prst="rect">
            <a:avLst/>
          </a:prstGeom>
        </p:spPr>
      </p:pic>
      <p:sp>
        <p:nvSpPr>
          <p:cNvPr id="15" name="Tijdelijke aanduiding voor tekst 14">
            <a:extLst>
              <a:ext uri="{FF2B5EF4-FFF2-40B4-BE49-F238E27FC236}">
                <a16:creationId xmlns:a16="http://schemas.microsoft.com/office/drawing/2014/main" id="{B625ABE2-4787-4DCE-8BBA-59C73CFF5EF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220200" y="1794669"/>
            <a:ext cx="2097363" cy="3243262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Georgia" panose="02040502050405020303" pitchFamily="18" charset="0"/>
              <a:buChar char="─"/>
              <a:defRPr sz="28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 3</a:t>
            </a:r>
          </a:p>
          <a:p>
            <a:pPr lvl="0"/>
            <a:r>
              <a:rPr lang="nl-NL" dirty="0"/>
              <a:t> 4</a:t>
            </a:r>
          </a:p>
          <a:p>
            <a:pPr lvl="0"/>
            <a:r>
              <a:rPr lang="nl-NL" dirty="0"/>
              <a:t> 5</a:t>
            </a:r>
          </a:p>
          <a:p>
            <a:pPr lvl="0"/>
            <a:r>
              <a:rPr lang="nl-NL" dirty="0"/>
              <a:t> 6</a:t>
            </a:r>
          </a:p>
          <a:p>
            <a:pPr lvl="0"/>
            <a:r>
              <a:rPr lang="nl-NL"/>
              <a:t> </a:t>
            </a:r>
            <a:r>
              <a:rPr lang="nl-NL" smtClean="0"/>
              <a:t>7</a:t>
            </a:r>
            <a:endParaRPr lang="en-BE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3AEE0936-214A-4172-9057-144F7932C4E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74703" y="1794669"/>
            <a:ext cx="4433060" cy="32766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 marL="0" indent="0" algn="r">
              <a:lnSpc>
                <a:spcPct val="150000"/>
              </a:lnSpc>
              <a:spcBef>
                <a:spcPts val="0"/>
              </a:spcBef>
              <a:buFontTx/>
              <a:buNone/>
              <a:defRPr sz="2800"/>
            </a:lvl1pPr>
          </a:lstStyle>
          <a:p>
            <a:pPr lvl="0"/>
            <a:r>
              <a:rPr lang="en-US" smtClean="0"/>
              <a:t>Click to add subtitle</a:t>
            </a:r>
            <a:endParaRPr lang="en-BE" dirty="0"/>
          </a:p>
        </p:txBody>
      </p:sp>
      <p:sp>
        <p:nvSpPr>
          <p:cNvPr id="11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2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55404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42" t="9657" r="6963" b="29950"/>
          <a:stretch/>
        </p:blipFill>
        <p:spPr>
          <a:xfrm>
            <a:off x="787400" y="761999"/>
            <a:ext cx="10668000" cy="5334001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224613" y="2263515"/>
            <a:ext cx="5209082" cy="23459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C9C767-9A67-4216-A05F-95382F81B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52538" y="2254251"/>
            <a:ext cx="5173662" cy="2352674"/>
          </a:xfrm>
          <a:prstGeom prst="rect">
            <a:avLst/>
          </a:prstGeom>
          <a:solidFill>
            <a:schemeClr val="bg1"/>
          </a:solidFill>
        </p:spPr>
        <p:txBody>
          <a:bodyPr lIns="182880" tIns="182880" rIns="182880" bIns="182880" anchor="ctr" anchorCtr="0">
            <a:normAutofit/>
          </a:bodyPr>
          <a:lstStyle>
            <a:lvl1pPr>
              <a:defRPr sz="3600"/>
            </a:lvl1pPr>
          </a:lstStyle>
          <a:p>
            <a:r>
              <a:rPr lang="en-US" smtClean="0"/>
              <a:t>Click to add subtitle</a:t>
            </a:r>
            <a:endParaRPr lang="en-BE" dirty="0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0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9600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AA5B3CA4-7383-4A08-AD3F-748BE844E0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11" t="29944" r="6884" b="9678"/>
          <a:stretch/>
        </p:blipFill>
        <p:spPr>
          <a:xfrm>
            <a:off x="754743" y="756557"/>
            <a:ext cx="10711543" cy="5355772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341620" y="2235825"/>
            <a:ext cx="5029200" cy="23684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C9C767-9A67-4216-A05F-95382F81B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9829" y="2237014"/>
            <a:ext cx="5021942" cy="2351315"/>
          </a:xfrm>
          <a:prstGeom prst="rect">
            <a:avLst/>
          </a:prstGeom>
          <a:noFill/>
        </p:spPr>
        <p:txBody>
          <a:bodyPr lIns="182880" tIns="182880" rIns="182880" bIns="182880" anchor="ctr" anchorCtr="0">
            <a:normAutofit/>
          </a:bodyPr>
          <a:lstStyle>
            <a:lvl1pPr>
              <a:defRPr sz="3600"/>
            </a:lvl1pPr>
          </a:lstStyle>
          <a:p>
            <a:r>
              <a:rPr lang="en-US" smtClean="0"/>
              <a:t>Click to add subtitle</a:t>
            </a:r>
            <a:endParaRPr lang="en-BE" dirty="0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9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2267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8">
            <a:extLst>
              <a:ext uri="{FF2B5EF4-FFF2-40B4-BE49-F238E27FC236}">
                <a16:creationId xmlns:a16="http://schemas.microsoft.com/office/drawing/2014/main" id="{647C93FD-69BD-4ECC-920A-2E0DC25772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721" t="28982" r="2160" b="26878"/>
          <a:stretch/>
        </p:blipFill>
        <p:spPr>
          <a:xfrm>
            <a:off x="742950" y="733425"/>
            <a:ext cx="9210675" cy="535305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334125" y="2241030"/>
            <a:ext cx="5074170" cy="2360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C9C767-9A67-4216-A05F-95382F81B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500" y="2247899"/>
            <a:ext cx="5067300" cy="2362201"/>
          </a:xfrm>
          <a:prstGeom prst="rect">
            <a:avLst/>
          </a:prstGeom>
          <a:noFill/>
        </p:spPr>
        <p:txBody>
          <a:bodyPr lIns="182880" tIns="182880" rIns="182880" bIns="182880" anchor="ctr" anchorCtr="0">
            <a:normAutofit/>
          </a:bodyPr>
          <a:lstStyle>
            <a:lvl1pPr>
              <a:defRPr sz="3600"/>
            </a:lvl1pPr>
          </a:lstStyle>
          <a:p>
            <a:r>
              <a:rPr lang="en-US" smtClean="0"/>
              <a:t>Click to add subtitle</a:t>
            </a:r>
            <a:endParaRPr lang="en-BE" dirty="0"/>
          </a:p>
        </p:txBody>
      </p:sp>
      <p:sp>
        <p:nvSpPr>
          <p:cNvPr id="8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554549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9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554549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453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el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2" t="23540" r="6984" b="16462"/>
          <a:stretch/>
        </p:blipFill>
        <p:spPr>
          <a:xfrm>
            <a:off x="752929" y="769258"/>
            <a:ext cx="10697028" cy="5326742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346825" y="2241030"/>
            <a:ext cx="5074170" cy="2360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AC9C767-9A67-4216-A05F-95382F81BA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46200" y="2247899"/>
            <a:ext cx="5067300" cy="2362201"/>
          </a:xfrm>
          <a:prstGeom prst="rect">
            <a:avLst/>
          </a:prstGeom>
          <a:noFill/>
        </p:spPr>
        <p:txBody>
          <a:bodyPr lIns="182880" tIns="182880" rIns="182880" bIns="182880" anchor="ctr" anchorCtr="0">
            <a:normAutofit/>
          </a:bodyPr>
          <a:lstStyle>
            <a:lvl1pPr>
              <a:defRPr sz="3600"/>
            </a:lvl1pPr>
          </a:lstStyle>
          <a:p>
            <a:r>
              <a:rPr lang="en-US" smtClean="0"/>
              <a:t>Click to add subtitle</a:t>
            </a:r>
            <a:endParaRPr lang="en-BE" dirty="0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0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591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ng slide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afbeelding 3">
            <a:extLst>
              <a:ext uri="{FF2B5EF4-FFF2-40B4-BE49-F238E27FC236}">
                <a16:creationId xmlns:a16="http://schemas.microsoft.com/office/drawing/2014/main" id="{E2D5FF81-71AA-4A77-BAFA-7D04F841B0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66763" y="1827482"/>
            <a:ext cx="1470223" cy="14716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Tx/>
              <a:buNone/>
              <a:defRPr sz="1100"/>
            </a:lvl1pPr>
          </a:lstStyle>
          <a:p>
            <a:r>
              <a:rPr lang="en-US" smtClean="0"/>
              <a:t>add icon</a:t>
            </a:r>
          </a:p>
        </p:txBody>
      </p:sp>
      <p:sp>
        <p:nvSpPr>
          <p:cNvPr id="8" name="Tijdelijke aanduiding voor afbeelding 3">
            <a:extLst>
              <a:ext uri="{FF2B5EF4-FFF2-40B4-BE49-F238E27FC236}">
                <a16:creationId xmlns:a16="http://schemas.microsoft.com/office/drawing/2014/main" id="{09AA0D7A-FE33-4F8C-9C9B-2DF71EA202B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563784" y="1810727"/>
            <a:ext cx="1517650" cy="14716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Tx/>
              <a:buNone/>
              <a:defRPr sz="1100"/>
            </a:lvl1pPr>
          </a:lstStyle>
          <a:p>
            <a:r>
              <a:rPr lang="en-US" smtClean="0"/>
              <a:t>add icon</a:t>
            </a:r>
            <a:endParaRPr lang="en-BE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2F64FA00-F52F-4F8C-9ED0-8C00855A7D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305175" y="1822478"/>
            <a:ext cx="3333623" cy="147161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buFontTx/>
              <a:buNone/>
              <a:defRPr sz="280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endParaRPr lang="nl-NL" dirty="0"/>
          </a:p>
        </p:txBody>
      </p:sp>
      <p:sp>
        <p:nvSpPr>
          <p:cNvPr id="12" name="Tijdelijke aanduiding voor tekst 9">
            <a:extLst>
              <a:ext uri="{FF2B5EF4-FFF2-40B4-BE49-F238E27FC236}">
                <a16:creationId xmlns:a16="http://schemas.microsoft.com/office/drawing/2014/main" id="{21D06019-3674-4CC0-8571-2CD83FD684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55264" y="1810727"/>
            <a:ext cx="3269974" cy="1471612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buFontTx/>
              <a:buNone/>
              <a:defRPr sz="280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endParaRPr lang="nl-NL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6762" y="806211"/>
            <a:ext cx="10658476" cy="88447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766763" y="3429000"/>
            <a:ext cx="4872037" cy="26289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569814" y="3429000"/>
            <a:ext cx="4872037" cy="26289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1212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552">
          <p15:clr>
            <a:srgbClr val="FBAE40"/>
          </p15:clr>
        </p15:guide>
        <p15:guide id="3" pos="412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00496"/>
            <a:ext cx="8939204" cy="52507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013F778B-D9C1-4802-970E-A23E39CC2A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6763" y="1486463"/>
            <a:ext cx="8939204" cy="72510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nl-NL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9408312" y="800496"/>
            <a:ext cx="2013743" cy="5287567"/>
            <a:chOff x="9408312" y="800496"/>
            <a:chExt cx="2013743" cy="5287567"/>
          </a:xfrm>
          <a:solidFill>
            <a:schemeClr val="bg1">
              <a:lumMod val="95000"/>
            </a:schemeClr>
          </a:solidFill>
        </p:grpSpPr>
        <p:sp>
          <p:nvSpPr>
            <p:cNvPr id="673" name="Oval 672"/>
            <p:cNvSpPr/>
            <p:nvPr/>
          </p:nvSpPr>
          <p:spPr>
            <a:xfrm>
              <a:off x="10003624" y="5860256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5" name="Oval 674"/>
            <p:cNvSpPr/>
            <p:nvPr/>
          </p:nvSpPr>
          <p:spPr>
            <a:xfrm>
              <a:off x="10598936" y="5860256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6" name="Oval 675"/>
            <p:cNvSpPr/>
            <p:nvPr/>
          </p:nvSpPr>
          <p:spPr>
            <a:xfrm>
              <a:off x="10896592" y="5860256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7" name="Oval 676"/>
            <p:cNvSpPr/>
            <p:nvPr/>
          </p:nvSpPr>
          <p:spPr>
            <a:xfrm>
              <a:off x="11194248" y="5860256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8" name="Oval 637"/>
            <p:cNvSpPr/>
            <p:nvPr/>
          </p:nvSpPr>
          <p:spPr>
            <a:xfrm>
              <a:off x="10301280" y="555863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9" name="Oval 638"/>
            <p:cNvSpPr/>
            <p:nvPr/>
          </p:nvSpPr>
          <p:spPr>
            <a:xfrm>
              <a:off x="10598936" y="555863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0" name="Oval 639"/>
            <p:cNvSpPr/>
            <p:nvPr/>
          </p:nvSpPr>
          <p:spPr>
            <a:xfrm>
              <a:off x="10896592" y="555863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1" name="Oval 640"/>
            <p:cNvSpPr/>
            <p:nvPr/>
          </p:nvSpPr>
          <p:spPr>
            <a:xfrm>
              <a:off x="11194248" y="555863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1" name="Oval 600"/>
            <p:cNvSpPr/>
            <p:nvPr/>
          </p:nvSpPr>
          <p:spPr>
            <a:xfrm>
              <a:off x="10003624" y="526399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2" name="Oval 601"/>
            <p:cNvSpPr/>
            <p:nvPr userDrawn="1"/>
          </p:nvSpPr>
          <p:spPr>
            <a:xfrm>
              <a:off x="10301280" y="526399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4" name="Oval 603"/>
            <p:cNvSpPr/>
            <p:nvPr/>
          </p:nvSpPr>
          <p:spPr>
            <a:xfrm>
              <a:off x="10896592" y="526399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5" name="Oval 604"/>
            <p:cNvSpPr/>
            <p:nvPr/>
          </p:nvSpPr>
          <p:spPr>
            <a:xfrm>
              <a:off x="11194248" y="526399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6" name="Oval 565"/>
            <p:cNvSpPr/>
            <p:nvPr/>
          </p:nvSpPr>
          <p:spPr>
            <a:xfrm>
              <a:off x="10301280" y="4966720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9" name="Oval 568"/>
            <p:cNvSpPr/>
            <p:nvPr/>
          </p:nvSpPr>
          <p:spPr>
            <a:xfrm>
              <a:off x="11194248" y="4966720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9" name="Oval 528"/>
            <p:cNvSpPr/>
            <p:nvPr/>
          </p:nvSpPr>
          <p:spPr>
            <a:xfrm>
              <a:off x="10003624" y="467167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0" name="Oval 529"/>
            <p:cNvSpPr/>
            <p:nvPr/>
          </p:nvSpPr>
          <p:spPr>
            <a:xfrm>
              <a:off x="10301280" y="467167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1" name="Oval 530"/>
            <p:cNvSpPr/>
            <p:nvPr/>
          </p:nvSpPr>
          <p:spPr>
            <a:xfrm>
              <a:off x="10598936" y="467167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2" name="Oval 531"/>
            <p:cNvSpPr/>
            <p:nvPr/>
          </p:nvSpPr>
          <p:spPr>
            <a:xfrm>
              <a:off x="10896592" y="467167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3" name="Oval 532"/>
            <p:cNvSpPr/>
            <p:nvPr/>
          </p:nvSpPr>
          <p:spPr>
            <a:xfrm>
              <a:off x="11194248" y="467167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2" name="Oval 491"/>
            <p:cNvSpPr/>
            <p:nvPr/>
          </p:nvSpPr>
          <p:spPr>
            <a:xfrm>
              <a:off x="9705968" y="437322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4" name="Oval 493"/>
            <p:cNvSpPr/>
            <p:nvPr/>
          </p:nvSpPr>
          <p:spPr>
            <a:xfrm>
              <a:off x="10301280" y="437322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5" name="Oval 494"/>
            <p:cNvSpPr/>
            <p:nvPr/>
          </p:nvSpPr>
          <p:spPr>
            <a:xfrm>
              <a:off x="10598936" y="437322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6" name="Oval 495"/>
            <p:cNvSpPr/>
            <p:nvPr/>
          </p:nvSpPr>
          <p:spPr>
            <a:xfrm>
              <a:off x="10896592" y="437322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7" name="Oval 496"/>
            <p:cNvSpPr/>
            <p:nvPr/>
          </p:nvSpPr>
          <p:spPr>
            <a:xfrm>
              <a:off x="11194248" y="437322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7" name="Oval 456"/>
            <p:cNvSpPr/>
            <p:nvPr/>
          </p:nvSpPr>
          <p:spPr>
            <a:xfrm>
              <a:off x="10003624" y="407477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8" name="Oval 457"/>
            <p:cNvSpPr/>
            <p:nvPr/>
          </p:nvSpPr>
          <p:spPr>
            <a:xfrm>
              <a:off x="10301280" y="407477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9" name="Oval 458"/>
            <p:cNvSpPr/>
            <p:nvPr/>
          </p:nvSpPr>
          <p:spPr>
            <a:xfrm>
              <a:off x="10598936" y="407477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1" name="Oval 460"/>
            <p:cNvSpPr/>
            <p:nvPr/>
          </p:nvSpPr>
          <p:spPr>
            <a:xfrm>
              <a:off x="11194248" y="407477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3" name="Oval 422"/>
            <p:cNvSpPr/>
            <p:nvPr/>
          </p:nvSpPr>
          <p:spPr>
            <a:xfrm>
              <a:off x="10598936" y="3775648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4" name="Oval 423"/>
            <p:cNvSpPr/>
            <p:nvPr/>
          </p:nvSpPr>
          <p:spPr>
            <a:xfrm>
              <a:off x="10896592" y="3775648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5" name="Oval 424"/>
            <p:cNvSpPr/>
            <p:nvPr/>
          </p:nvSpPr>
          <p:spPr>
            <a:xfrm>
              <a:off x="11194248" y="3775648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3" name="Oval 382"/>
            <p:cNvSpPr/>
            <p:nvPr/>
          </p:nvSpPr>
          <p:spPr>
            <a:xfrm>
              <a:off x="9408312" y="347720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4" name="Oval 383"/>
            <p:cNvSpPr/>
            <p:nvPr/>
          </p:nvSpPr>
          <p:spPr>
            <a:xfrm>
              <a:off x="9705968" y="347720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5" name="Oval 384"/>
            <p:cNvSpPr/>
            <p:nvPr/>
          </p:nvSpPr>
          <p:spPr>
            <a:xfrm>
              <a:off x="10003624" y="347720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6" name="Oval 385"/>
            <p:cNvSpPr/>
            <p:nvPr/>
          </p:nvSpPr>
          <p:spPr>
            <a:xfrm>
              <a:off x="10301280" y="347720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7" name="Oval 386"/>
            <p:cNvSpPr/>
            <p:nvPr/>
          </p:nvSpPr>
          <p:spPr>
            <a:xfrm>
              <a:off x="10598936" y="347720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8" name="Oval 387"/>
            <p:cNvSpPr/>
            <p:nvPr/>
          </p:nvSpPr>
          <p:spPr>
            <a:xfrm>
              <a:off x="10896592" y="347720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9" name="Oval 388"/>
            <p:cNvSpPr/>
            <p:nvPr/>
          </p:nvSpPr>
          <p:spPr>
            <a:xfrm>
              <a:off x="11194248" y="347720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8" name="Oval 347"/>
            <p:cNvSpPr/>
            <p:nvPr/>
          </p:nvSpPr>
          <p:spPr>
            <a:xfrm>
              <a:off x="9705968" y="318276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9" name="Oval 348"/>
            <p:cNvSpPr/>
            <p:nvPr/>
          </p:nvSpPr>
          <p:spPr>
            <a:xfrm>
              <a:off x="10003624" y="318276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2" name="Oval 351"/>
            <p:cNvSpPr/>
            <p:nvPr/>
          </p:nvSpPr>
          <p:spPr>
            <a:xfrm>
              <a:off x="10896592" y="318276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3" name="Oval 352"/>
            <p:cNvSpPr/>
            <p:nvPr/>
          </p:nvSpPr>
          <p:spPr>
            <a:xfrm>
              <a:off x="11194248" y="318276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3" name="Oval 312"/>
            <p:cNvSpPr/>
            <p:nvPr/>
          </p:nvSpPr>
          <p:spPr>
            <a:xfrm>
              <a:off x="10003624" y="287894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4" name="Oval 313"/>
            <p:cNvSpPr/>
            <p:nvPr/>
          </p:nvSpPr>
          <p:spPr>
            <a:xfrm>
              <a:off x="10301280" y="287894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5" name="Oval 314"/>
            <p:cNvSpPr/>
            <p:nvPr/>
          </p:nvSpPr>
          <p:spPr>
            <a:xfrm>
              <a:off x="10598936" y="287894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6" name="Oval 315"/>
            <p:cNvSpPr/>
            <p:nvPr/>
          </p:nvSpPr>
          <p:spPr>
            <a:xfrm>
              <a:off x="10896592" y="287894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7" name="Oval 316"/>
            <p:cNvSpPr/>
            <p:nvPr/>
          </p:nvSpPr>
          <p:spPr>
            <a:xfrm>
              <a:off x="11194248" y="287894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9" name="Oval 278"/>
            <p:cNvSpPr/>
            <p:nvPr/>
          </p:nvSpPr>
          <p:spPr>
            <a:xfrm>
              <a:off x="10598936" y="258167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0" name="Oval 279"/>
            <p:cNvSpPr/>
            <p:nvPr/>
          </p:nvSpPr>
          <p:spPr>
            <a:xfrm>
              <a:off x="10896592" y="2581671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8" name="Oval 227"/>
            <p:cNvSpPr/>
            <p:nvPr/>
          </p:nvSpPr>
          <p:spPr>
            <a:xfrm>
              <a:off x="9705968" y="229360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0" name="Oval 229"/>
            <p:cNvSpPr/>
            <p:nvPr/>
          </p:nvSpPr>
          <p:spPr>
            <a:xfrm>
              <a:off x="10301280" y="229360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2" name="Oval 231"/>
            <p:cNvSpPr/>
            <p:nvPr/>
          </p:nvSpPr>
          <p:spPr>
            <a:xfrm>
              <a:off x="10896592" y="229360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3" name="Oval 232"/>
            <p:cNvSpPr/>
            <p:nvPr/>
          </p:nvSpPr>
          <p:spPr>
            <a:xfrm>
              <a:off x="11194248" y="2293602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Oval 192"/>
            <p:cNvSpPr/>
            <p:nvPr/>
          </p:nvSpPr>
          <p:spPr>
            <a:xfrm>
              <a:off x="10003624" y="199447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5" name="Oval 194"/>
            <p:cNvSpPr/>
            <p:nvPr/>
          </p:nvSpPr>
          <p:spPr>
            <a:xfrm>
              <a:off x="10598936" y="199447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6" name="Oval 195"/>
            <p:cNvSpPr/>
            <p:nvPr/>
          </p:nvSpPr>
          <p:spPr>
            <a:xfrm>
              <a:off x="10896592" y="199447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/>
            <p:cNvSpPr/>
            <p:nvPr/>
          </p:nvSpPr>
          <p:spPr>
            <a:xfrm>
              <a:off x="11194248" y="1994473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Oval 154"/>
            <p:cNvSpPr/>
            <p:nvPr/>
          </p:nvSpPr>
          <p:spPr>
            <a:xfrm>
              <a:off x="9408312" y="1696028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Oval 158"/>
            <p:cNvSpPr/>
            <p:nvPr/>
          </p:nvSpPr>
          <p:spPr>
            <a:xfrm>
              <a:off x="10598936" y="1696028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Oval 159"/>
            <p:cNvSpPr/>
            <p:nvPr/>
          </p:nvSpPr>
          <p:spPr>
            <a:xfrm>
              <a:off x="10896592" y="1696028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Oval 160"/>
            <p:cNvSpPr/>
            <p:nvPr/>
          </p:nvSpPr>
          <p:spPr>
            <a:xfrm>
              <a:off x="11194248" y="1696028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1" name="Oval 120"/>
            <p:cNvSpPr/>
            <p:nvPr/>
          </p:nvSpPr>
          <p:spPr>
            <a:xfrm>
              <a:off x="10003624" y="140158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3" name="Oval 122"/>
            <p:cNvSpPr/>
            <p:nvPr/>
          </p:nvSpPr>
          <p:spPr>
            <a:xfrm>
              <a:off x="10598936" y="140158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5" name="Oval 124"/>
            <p:cNvSpPr/>
            <p:nvPr/>
          </p:nvSpPr>
          <p:spPr>
            <a:xfrm>
              <a:off x="11194248" y="140158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/>
            <p:cNvSpPr/>
            <p:nvPr/>
          </p:nvSpPr>
          <p:spPr>
            <a:xfrm>
              <a:off x="10301280" y="109776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/>
            <p:cNvSpPr/>
            <p:nvPr/>
          </p:nvSpPr>
          <p:spPr>
            <a:xfrm>
              <a:off x="10896592" y="109776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Oval 88"/>
            <p:cNvSpPr/>
            <p:nvPr/>
          </p:nvSpPr>
          <p:spPr>
            <a:xfrm>
              <a:off x="11194248" y="1097767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>
              <a:off x="9705968" y="800496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Oval 49"/>
            <p:cNvSpPr/>
            <p:nvPr/>
          </p:nvSpPr>
          <p:spPr>
            <a:xfrm>
              <a:off x="10301280" y="800496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/>
            <p:cNvSpPr/>
            <p:nvPr/>
          </p:nvSpPr>
          <p:spPr>
            <a:xfrm>
              <a:off x="10598936" y="800496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/>
            <p:cNvSpPr/>
            <p:nvPr/>
          </p:nvSpPr>
          <p:spPr>
            <a:xfrm>
              <a:off x="11194248" y="800496"/>
              <a:ext cx="227807" cy="227807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1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66763" y="2293938"/>
            <a:ext cx="8939212" cy="37941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0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82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320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29296422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5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0" y="989683"/>
            <a:ext cx="11195872" cy="5391647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175789" y="1141545"/>
            <a:ext cx="7296811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6234195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800496"/>
            <a:ext cx="10658465" cy="52507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8" name="Tijdelijke aanduiding voor tekst 8">
            <a:extLst>
              <a:ext uri="{FF2B5EF4-FFF2-40B4-BE49-F238E27FC236}">
                <a16:creationId xmlns:a16="http://schemas.microsoft.com/office/drawing/2014/main" id="{013F778B-D9C1-4802-970E-A23E39CC2A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6762" y="1486463"/>
            <a:ext cx="10658465" cy="72510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2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nl-NL" dirty="0"/>
          </a:p>
        </p:txBody>
      </p:sp>
      <p:sp>
        <p:nvSpPr>
          <p:cNvPr id="8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66762" y="2293938"/>
            <a:ext cx="10658475" cy="379412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6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87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444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800496"/>
            <a:ext cx="10658475" cy="9855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81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66762" y="1786072"/>
            <a:ext cx="10658475" cy="430199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7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4867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00100"/>
            <a:ext cx="10658475" cy="7112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3200" y="1638300"/>
            <a:ext cx="4872038" cy="698501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sz="2800" b="0">
                <a:solidFill>
                  <a:schemeClr val="accent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8" name="Tijdelijke aanduiding voor grafiek 7">
            <a:extLst>
              <a:ext uri="{FF2B5EF4-FFF2-40B4-BE49-F238E27FC236}">
                <a16:creationId xmlns:a16="http://schemas.microsoft.com/office/drawing/2014/main" id="{785BDB02-0669-46C1-BC18-4B6915F659E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66762" y="1638300"/>
            <a:ext cx="4872037" cy="441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b="0"/>
            </a:lvl1pPr>
          </a:lstStyle>
          <a:p>
            <a:endParaRPr lang="en-BE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544414" y="2463800"/>
            <a:ext cx="4872037" cy="35941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3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69121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28">
          <p15:clr>
            <a:srgbClr val="FBAE40"/>
          </p15:clr>
        </p15:guide>
        <p15:guide id="3" pos="355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00099"/>
            <a:ext cx="5329237" cy="5588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6763" y="1460501"/>
            <a:ext cx="5329237" cy="922958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sz="2800" b="0">
                <a:solidFill>
                  <a:schemeClr val="accent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8" name="Tijdelijke aanduiding voor grafiek 7">
            <a:extLst>
              <a:ext uri="{FF2B5EF4-FFF2-40B4-BE49-F238E27FC236}">
                <a16:creationId xmlns:a16="http://schemas.microsoft.com/office/drawing/2014/main" id="{785BDB02-0669-46C1-BC18-4B6915F659E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553200" y="800101"/>
            <a:ext cx="4872038" cy="5257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b="0"/>
            </a:lvl1pPr>
          </a:lstStyle>
          <a:p>
            <a:endParaRPr lang="en-BE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766762" y="2485059"/>
            <a:ext cx="5329237" cy="3572841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2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44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28">
          <p15:clr>
            <a:srgbClr val="FBAE40"/>
          </p15:clr>
        </p15:guide>
        <p15:guide id="3" pos="3552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4" y="800100"/>
            <a:ext cx="5983288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DA1F5B52-3085-476E-BB6D-6FEB75BDE4A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000875" y="0"/>
            <a:ext cx="5191125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FontTx/>
              <a:buNone/>
              <a:defRPr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EC44366-3659-4A5F-8C4F-FE4BEEF773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6763" y="1768890"/>
            <a:ext cx="6010275" cy="8473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800">
                <a:solidFill>
                  <a:schemeClr val="accent1"/>
                </a:solidFill>
                <a:latin typeface="Georgia" panose="02040502050405020303" pitchFamily="18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766763" y="2895600"/>
            <a:ext cx="6010275" cy="3581400"/>
          </a:xfrm>
        </p:spPr>
        <p:txBody>
          <a:bodyPr/>
          <a:lstStyle>
            <a:lvl1pPr marL="355600" indent="-355600">
              <a:defRPr/>
            </a:lvl1pPr>
            <a:lvl2pPr marL="622300" indent="-266700">
              <a:defRPr/>
            </a:lvl2pPr>
            <a:lvl3pPr marL="990600" indent="-266700">
              <a:defRPr/>
            </a:lvl3pPr>
            <a:lvl4pPr marL="1524000" indent="-266700">
              <a:defRPr/>
            </a:lvl4pPr>
            <a:lvl5pPr marL="1968500" indent="-355600"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94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Pictu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indent="-360000"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942" y="800100"/>
            <a:ext cx="5305309" cy="838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indent="-360000">
              <a:defRPr sz="3600">
                <a:solidFill>
                  <a:schemeClr val="bg1"/>
                </a:solidFill>
              </a:defRPr>
            </a:lvl1pPr>
          </a:lstStyle>
          <a:p>
            <a:endParaRPr lang="en-BE" dirty="0"/>
          </a:p>
        </p:txBody>
      </p:sp>
      <p:sp>
        <p:nvSpPr>
          <p:cNvPr id="8" name="Tijdelijke aanduiding voor afbeelding 7">
            <a:extLst>
              <a:ext uri="{FF2B5EF4-FFF2-40B4-BE49-F238E27FC236}">
                <a16:creationId xmlns:a16="http://schemas.microsoft.com/office/drawing/2014/main" id="{DA1F5B52-3085-476E-BB6D-6FEB75BDE4A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11057"/>
            <a:ext cx="5191125" cy="6858000"/>
          </a:xfrm>
          <a:prstGeom prst="rect">
            <a:avLst/>
          </a:prstGeom>
        </p:spPr>
        <p:txBody>
          <a:bodyPr anchor="ctr" anchorCtr="0"/>
          <a:lstStyle>
            <a:lvl1pPr marL="0" indent="-360000" algn="ctr">
              <a:buFontTx/>
              <a:buNone/>
              <a:defRPr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3EC44366-3659-4A5F-8C4F-FE4BEEF7735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6000" y="1768890"/>
            <a:ext cx="5329238" cy="84731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-360000">
              <a:buFontTx/>
              <a:buNone/>
              <a:defRPr sz="280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endParaRPr lang="nl-NL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4"/>
          </p:nvPr>
        </p:nvSpPr>
        <p:spPr>
          <a:xfrm>
            <a:off x="6096000" y="2857500"/>
            <a:ext cx="5329238" cy="3200400"/>
          </a:xfrm>
        </p:spPr>
        <p:txBody>
          <a:bodyPr wrap="square">
            <a:normAutofit/>
          </a:bodyPr>
          <a:lstStyle>
            <a:lvl1pPr marL="269875" indent="-273050">
              <a:buClr>
                <a:schemeClr val="bg1"/>
              </a:buClr>
              <a:defRPr sz="2400">
                <a:solidFill>
                  <a:schemeClr val="bg1"/>
                </a:solidFill>
              </a:defRPr>
            </a:lvl1pPr>
            <a:lvl2pPr marL="533400" indent="-269875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marL="901700" indent="-269875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marL="1168400" indent="-269875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marL="1524000" indent="-269875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7" name="Text Placeholder 86"/>
          <p:cNvSpPr>
            <a:spLocks noGrp="1"/>
          </p:cNvSpPr>
          <p:nvPr>
            <p:ph type="body" sz="quarter" idx="15" hasCustomPrompt="1"/>
          </p:nvPr>
        </p:nvSpPr>
        <p:spPr>
          <a:xfrm>
            <a:off x="107078" y="5338327"/>
            <a:ext cx="809863" cy="1418431"/>
          </a:xfrm>
          <a:blipFill dpi="0" rotWithShape="1">
            <a:blip r:embed="rId2">
              <a:alphaModFix amt="50000"/>
            </a:blip>
            <a:srcRect/>
            <a:stretch>
              <a:fillRect/>
            </a:stretch>
          </a:blipFill>
        </p:spPr>
        <p:txBody>
          <a:bodyPr/>
          <a:lstStyle>
            <a:lvl1pPr marL="88900" indent="0">
              <a:buNone/>
              <a:defRPr baseline="0"/>
            </a:lvl1pPr>
          </a:lstStyle>
          <a:p>
            <a:pPr lvl="0"/>
            <a:r>
              <a:rPr lang="en-US" smtClean="0"/>
              <a:t> </a:t>
            </a:r>
            <a:endParaRPr lang="en-US"/>
          </a:p>
        </p:txBody>
      </p:sp>
      <p:sp>
        <p:nvSpPr>
          <p:cNvPr id="14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5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658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F4BDD94-FB2C-4502-A2BB-86CAD3E599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2324100"/>
            <a:ext cx="10658474" cy="2197100"/>
          </a:xfrm>
          <a:prstGeom prst="rect">
            <a:avLst/>
          </a:prstGeom>
        </p:spPr>
        <p:txBody>
          <a:bodyPr lIns="1371600" tIns="0" rIns="1371600" bIns="0" anchor="ctr" anchorCtr="0">
            <a:no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3200">
                <a:solidFill>
                  <a:schemeClr val="accent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nl-NL" smtClean="0"/>
              <a:t>Click to add a quote</a:t>
            </a:r>
            <a:endParaRPr lang="nl-NL" dirty="0"/>
          </a:p>
        </p:txBody>
      </p:sp>
      <p:sp>
        <p:nvSpPr>
          <p:cNvPr id="11" name="Tijdelijke aanduiding voor tekst 10">
            <a:extLst>
              <a:ext uri="{FF2B5EF4-FFF2-40B4-BE49-F238E27FC236}">
                <a16:creationId xmlns:a16="http://schemas.microsoft.com/office/drawing/2014/main" id="{0BF1D710-5F93-4654-8D54-CD40B1D335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3" y="4768439"/>
            <a:ext cx="10658474" cy="881063"/>
          </a:xfrm>
          <a:prstGeom prst="rect">
            <a:avLst/>
          </a:prstGeom>
        </p:spPr>
        <p:txBody>
          <a:bodyPr lIns="1828800" tIns="0" rIns="1828800" bIns="0">
            <a:normAutofit/>
          </a:bodyPr>
          <a:lstStyle>
            <a:lvl1pPr marL="0" indent="0" algn="ctr">
              <a:buFontTx/>
              <a:buNone/>
              <a:defRPr sz="2000" b="0" baseline="0">
                <a:solidFill>
                  <a:schemeClr val="accent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nl-BE" smtClean="0"/>
              <a:t>Click to add a name</a:t>
            </a:r>
            <a:endParaRPr lang="en-BE" dirty="0"/>
          </a:p>
        </p:txBody>
      </p:sp>
      <p:grpSp>
        <p:nvGrpSpPr>
          <p:cNvPr id="2" name="Group 4"/>
          <p:cNvGrpSpPr>
            <a:grpSpLocks noChangeAspect="1"/>
          </p:cNvGrpSpPr>
          <p:nvPr userDrawn="1"/>
        </p:nvGrpSpPr>
        <p:grpSpPr bwMode="auto">
          <a:xfrm>
            <a:off x="5613400" y="1055688"/>
            <a:ext cx="965200" cy="1143000"/>
            <a:chOff x="3536" y="665"/>
            <a:chExt cx="608" cy="720"/>
          </a:xfrm>
        </p:grpSpPr>
        <p:sp>
          <p:nvSpPr>
            <p:cNvPr id="4" name="Freeform 5"/>
            <p:cNvSpPr>
              <a:spLocks/>
            </p:cNvSpPr>
            <p:nvPr userDrawn="1"/>
          </p:nvSpPr>
          <p:spPr bwMode="auto">
            <a:xfrm>
              <a:off x="3988" y="1116"/>
              <a:ext cx="43" cy="44"/>
            </a:xfrm>
            <a:custGeom>
              <a:avLst/>
              <a:gdLst>
                <a:gd name="T0" fmla="*/ 44 w 87"/>
                <a:gd name="T1" fmla="*/ 86 h 86"/>
                <a:gd name="T2" fmla="*/ 44 w 87"/>
                <a:gd name="T3" fmla="*/ 86 h 86"/>
                <a:gd name="T4" fmla="*/ 35 w 87"/>
                <a:gd name="T5" fmla="*/ 85 h 86"/>
                <a:gd name="T6" fmla="*/ 27 w 87"/>
                <a:gd name="T7" fmla="*/ 82 h 86"/>
                <a:gd name="T8" fmla="*/ 20 w 87"/>
                <a:gd name="T9" fmla="*/ 78 h 86"/>
                <a:gd name="T10" fmla="*/ 13 w 87"/>
                <a:gd name="T11" fmla="*/ 74 h 86"/>
                <a:gd name="T12" fmla="*/ 9 w 87"/>
                <a:gd name="T13" fmla="*/ 67 h 86"/>
                <a:gd name="T14" fmla="*/ 5 w 87"/>
                <a:gd name="T15" fmla="*/ 60 h 86"/>
                <a:gd name="T16" fmla="*/ 2 w 87"/>
                <a:gd name="T17" fmla="*/ 52 h 86"/>
                <a:gd name="T18" fmla="*/ 0 w 87"/>
                <a:gd name="T19" fmla="*/ 44 h 86"/>
                <a:gd name="T20" fmla="*/ 0 w 87"/>
                <a:gd name="T21" fmla="*/ 44 h 86"/>
                <a:gd name="T22" fmla="*/ 2 w 87"/>
                <a:gd name="T23" fmla="*/ 34 h 86"/>
                <a:gd name="T24" fmla="*/ 5 w 87"/>
                <a:gd name="T25" fmla="*/ 26 h 86"/>
                <a:gd name="T26" fmla="*/ 9 w 87"/>
                <a:gd name="T27" fmla="*/ 19 h 86"/>
                <a:gd name="T28" fmla="*/ 13 w 87"/>
                <a:gd name="T29" fmla="*/ 12 h 86"/>
                <a:gd name="T30" fmla="*/ 20 w 87"/>
                <a:gd name="T31" fmla="*/ 8 h 86"/>
                <a:gd name="T32" fmla="*/ 27 w 87"/>
                <a:gd name="T33" fmla="*/ 4 h 86"/>
                <a:gd name="T34" fmla="*/ 35 w 87"/>
                <a:gd name="T35" fmla="*/ 1 h 86"/>
                <a:gd name="T36" fmla="*/ 44 w 87"/>
                <a:gd name="T37" fmla="*/ 0 h 86"/>
                <a:gd name="T38" fmla="*/ 44 w 87"/>
                <a:gd name="T39" fmla="*/ 0 h 86"/>
                <a:gd name="T40" fmla="*/ 53 w 87"/>
                <a:gd name="T41" fmla="*/ 1 h 86"/>
                <a:gd name="T42" fmla="*/ 61 w 87"/>
                <a:gd name="T43" fmla="*/ 4 h 86"/>
                <a:gd name="T44" fmla="*/ 68 w 87"/>
                <a:gd name="T45" fmla="*/ 8 h 86"/>
                <a:gd name="T46" fmla="*/ 75 w 87"/>
                <a:gd name="T47" fmla="*/ 12 h 86"/>
                <a:gd name="T48" fmla="*/ 79 w 87"/>
                <a:gd name="T49" fmla="*/ 19 h 86"/>
                <a:gd name="T50" fmla="*/ 83 w 87"/>
                <a:gd name="T51" fmla="*/ 26 h 86"/>
                <a:gd name="T52" fmla="*/ 86 w 87"/>
                <a:gd name="T53" fmla="*/ 34 h 86"/>
                <a:gd name="T54" fmla="*/ 87 w 87"/>
                <a:gd name="T55" fmla="*/ 44 h 86"/>
                <a:gd name="T56" fmla="*/ 87 w 87"/>
                <a:gd name="T57" fmla="*/ 44 h 86"/>
                <a:gd name="T58" fmla="*/ 86 w 87"/>
                <a:gd name="T59" fmla="*/ 52 h 86"/>
                <a:gd name="T60" fmla="*/ 83 w 87"/>
                <a:gd name="T61" fmla="*/ 60 h 86"/>
                <a:gd name="T62" fmla="*/ 79 w 87"/>
                <a:gd name="T63" fmla="*/ 67 h 86"/>
                <a:gd name="T64" fmla="*/ 75 w 87"/>
                <a:gd name="T65" fmla="*/ 74 h 86"/>
                <a:gd name="T66" fmla="*/ 68 w 87"/>
                <a:gd name="T67" fmla="*/ 78 h 86"/>
                <a:gd name="T68" fmla="*/ 61 w 87"/>
                <a:gd name="T69" fmla="*/ 82 h 86"/>
                <a:gd name="T70" fmla="*/ 53 w 87"/>
                <a:gd name="T71" fmla="*/ 85 h 86"/>
                <a:gd name="T72" fmla="*/ 44 w 87"/>
                <a:gd name="T73" fmla="*/ 86 h 86"/>
                <a:gd name="T74" fmla="*/ 44 w 87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86"/>
                  </a:moveTo>
                  <a:lnTo>
                    <a:pt x="44" y="86"/>
                  </a:lnTo>
                  <a:lnTo>
                    <a:pt x="35" y="85"/>
                  </a:lnTo>
                  <a:lnTo>
                    <a:pt x="27" y="82"/>
                  </a:lnTo>
                  <a:lnTo>
                    <a:pt x="20" y="78"/>
                  </a:lnTo>
                  <a:lnTo>
                    <a:pt x="13" y="74"/>
                  </a:lnTo>
                  <a:lnTo>
                    <a:pt x="9" y="67"/>
                  </a:lnTo>
                  <a:lnTo>
                    <a:pt x="5" y="60"/>
                  </a:lnTo>
                  <a:lnTo>
                    <a:pt x="2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8"/>
                  </a:lnTo>
                  <a:lnTo>
                    <a:pt x="27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5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52"/>
                  </a:lnTo>
                  <a:lnTo>
                    <a:pt x="83" y="60"/>
                  </a:lnTo>
                  <a:lnTo>
                    <a:pt x="79" y="67"/>
                  </a:lnTo>
                  <a:lnTo>
                    <a:pt x="75" y="74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4" y="86"/>
                  </a:lnTo>
                  <a:lnTo>
                    <a:pt x="44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" name="Freeform 6"/>
            <p:cNvSpPr>
              <a:spLocks/>
            </p:cNvSpPr>
            <p:nvPr userDrawn="1"/>
          </p:nvSpPr>
          <p:spPr bwMode="auto">
            <a:xfrm>
              <a:off x="3931" y="1116"/>
              <a:ext cx="44" cy="44"/>
            </a:xfrm>
            <a:custGeom>
              <a:avLst/>
              <a:gdLst>
                <a:gd name="T0" fmla="*/ 43 w 87"/>
                <a:gd name="T1" fmla="*/ 86 h 86"/>
                <a:gd name="T2" fmla="*/ 43 w 87"/>
                <a:gd name="T3" fmla="*/ 86 h 86"/>
                <a:gd name="T4" fmla="*/ 35 w 87"/>
                <a:gd name="T5" fmla="*/ 85 h 86"/>
                <a:gd name="T6" fmla="*/ 27 w 87"/>
                <a:gd name="T7" fmla="*/ 82 h 86"/>
                <a:gd name="T8" fmla="*/ 20 w 87"/>
                <a:gd name="T9" fmla="*/ 78 h 86"/>
                <a:gd name="T10" fmla="*/ 13 w 87"/>
                <a:gd name="T11" fmla="*/ 74 h 86"/>
                <a:gd name="T12" fmla="*/ 9 w 87"/>
                <a:gd name="T13" fmla="*/ 67 h 86"/>
                <a:gd name="T14" fmla="*/ 5 w 87"/>
                <a:gd name="T15" fmla="*/ 60 h 86"/>
                <a:gd name="T16" fmla="*/ 2 w 87"/>
                <a:gd name="T17" fmla="*/ 52 h 86"/>
                <a:gd name="T18" fmla="*/ 0 w 87"/>
                <a:gd name="T19" fmla="*/ 44 h 86"/>
                <a:gd name="T20" fmla="*/ 0 w 87"/>
                <a:gd name="T21" fmla="*/ 44 h 86"/>
                <a:gd name="T22" fmla="*/ 2 w 87"/>
                <a:gd name="T23" fmla="*/ 34 h 86"/>
                <a:gd name="T24" fmla="*/ 5 w 87"/>
                <a:gd name="T25" fmla="*/ 26 h 86"/>
                <a:gd name="T26" fmla="*/ 9 w 87"/>
                <a:gd name="T27" fmla="*/ 19 h 86"/>
                <a:gd name="T28" fmla="*/ 13 w 87"/>
                <a:gd name="T29" fmla="*/ 12 h 86"/>
                <a:gd name="T30" fmla="*/ 20 w 87"/>
                <a:gd name="T31" fmla="*/ 8 h 86"/>
                <a:gd name="T32" fmla="*/ 27 w 87"/>
                <a:gd name="T33" fmla="*/ 4 h 86"/>
                <a:gd name="T34" fmla="*/ 35 w 87"/>
                <a:gd name="T35" fmla="*/ 1 h 86"/>
                <a:gd name="T36" fmla="*/ 43 w 87"/>
                <a:gd name="T37" fmla="*/ 0 h 86"/>
                <a:gd name="T38" fmla="*/ 43 w 87"/>
                <a:gd name="T39" fmla="*/ 0 h 86"/>
                <a:gd name="T40" fmla="*/ 53 w 87"/>
                <a:gd name="T41" fmla="*/ 1 h 86"/>
                <a:gd name="T42" fmla="*/ 61 w 87"/>
                <a:gd name="T43" fmla="*/ 4 h 86"/>
                <a:gd name="T44" fmla="*/ 68 w 87"/>
                <a:gd name="T45" fmla="*/ 8 h 86"/>
                <a:gd name="T46" fmla="*/ 73 w 87"/>
                <a:gd name="T47" fmla="*/ 12 h 86"/>
                <a:gd name="T48" fmla="*/ 79 w 87"/>
                <a:gd name="T49" fmla="*/ 19 h 86"/>
                <a:gd name="T50" fmla="*/ 83 w 87"/>
                <a:gd name="T51" fmla="*/ 26 h 86"/>
                <a:gd name="T52" fmla="*/ 86 w 87"/>
                <a:gd name="T53" fmla="*/ 34 h 86"/>
                <a:gd name="T54" fmla="*/ 87 w 87"/>
                <a:gd name="T55" fmla="*/ 44 h 86"/>
                <a:gd name="T56" fmla="*/ 87 w 87"/>
                <a:gd name="T57" fmla="*/ 44 h 86"/>
                <a:gd name="T58" fmla="*/ 86 w 87"/>
                <a:gd name="T59" fmla="*/ 52 h 86"/>
                <a:gd name="T60" fmla="*/ 83 w 87"/>
                <a:gd name="T61" fmla="*/ 60 h 86"/>
                <a:gd name="T62" fmla="*/ 79 w 87"/>
                <a:gd name="T63" fmla="*/ 67 h 86"/>
                <a:gd name="T64" fmla="*/ 73 w 87"/>
                <a:gd name="T65" fmla="*/ 74 h 86"/>
                <a:gd name="T66" fmla="*/ 68 w 87"/>
                <a:gd name="T67" fmla="*/ 78 h 86"/>
                <a:gd name="T68" fmla="*/ 61 w 87"/>
                <a:gd name="T69" fmla="*/ 82 h 86"/>
                <a:gd name="T70" fmla="*/ 53 w 87"/>
                <a:gd name="T71" fmla="*/ 85 h 86"/>
                <a:gd name="T72" fmla="*/ 43 w 87"/>
                <a:gd name="T73" fmla="*/ 86 h 86"/>
                <a:gd name="T74" fmla="*/ 43 w 87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3" y="86"/>
                  </a:moveTo>
                  <a:lnTo>
                    <a:pt x="43" y="86"/>
                  </a:lnTo>
                  <a:lnTo>
                    <a:pt x="35" y="85"/>
                  </a:lnTo>
                  <a:lnTo>
                    <a:pt x="27" y="82"/>
                  </a:lnTo>
                  <a:lnTo>
                    <a:pt x="20" y="78"/>
                  </a:lnTo>
                  <a:lnTo>
                    <a:pt x="13" y="74"/>
                  </a:lnTo>
                  <a:lnTo>
                    <a:pt x="9" y="67"/>
                  </a:lnTo>
                  <a:lnTo>
                    <a:pt x="5" y="60"/>
                  </a:lnTo>
                  <a:lnTo>
                    <a:pt x="2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8"/>
                  </a:lnTo>
                  <a:lnTo>
                    <a:pt x="27" y="4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3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52"/>
                  </a:lnTo>
                  <a:lnTo>
                    <a:pt x="83" y="60"/>
                  </a:lnTo>
                  <a:lnTo>
                    <a:pt x="79" y="67"/>
                  </a:lnTo>
                  <a:lnTo>
                    <a:pt x="73" y="74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 userDrawn="1"/>
          </p:nvSpPr>
          <p:spPr bwMode="auto">
            <a:xfrm>
              <a:off x="3762" y="947"/>
              <a:ext cx="43" cy="43"/>
            </a:xfrm>
            <a:custGeom>
              <a:avLst/>
              <a:gdLst>
                <a:gd name="T0" fmla="*/ 42 w 85"/>
                <a:gd name="T1" fmla="*/ 85 h 85"/>
                <a:gd name="T2" fmla="*/ 42 w 85"/>
                <a:gd name="T3" fmla="*/ 85 h 85"/>
                <a:gd name="T4" fmla="*/ 34 w 85"/>
                <a:gd name="T5" fmla="*/ 85 h 85"/>
                <a:gd name="T6" fmla="*/ 26 w 85"/>
                <a:gd name="T7" fmla="*/ 82 h 85"/>
                <a:gd name="T8" fmla="*/ 19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2 w 85"/>
                <a:gd name="T15" fmla="*/ 59 h 85"/>
                <a:gd name="T16" fmla="*/ 1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1 w 85"/>
                <a:gd name="T23" fmla="*/ 34 h 85"/>
                <a:gd name="T24" fmla="*/ 2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9 w 85"/>
                <a:gd name="T31" fmla="*/ 7 h 85"/>
                <a:gd name="T32" fmla="*/ 26 w 85"/>
                <a:gd name="T33" fmla="*/ 2 h 85"/>
                <a:gd name="T34" fmla="*/ 34 w 85"/>
                <a:gd name="T35" fmla="*/ 1 h 85"/>
                <a:gd name="T36" fmla="*/ 42 w 85"/>
                <a:gd name="T37" fmla="*/ 0 h 85"/>
                <a:gd name="T38" fmla="*/ 42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7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2 w 85"/>
                <a:gd name="T51" fmla="*/ 26 h 85"/>
                <a:gd name="T52" fmla="*/ 85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5 w 85"/>
                <a:gd name="T59" fmla="*/ 51 h 85"/>
                <a:gd name="T60" fmla="*/ 82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7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2 w 85"/>
                <a:gd name="T73" fmla="*/ 85 h 85"/>
                <a:gd name="T74" fmla="*/ 42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2" y="85"/>
                  </a:moveTo>
                  <a:lnTo>
                    <a:pt x="42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2" y="59"/>
                  </a:lnTo>
                  <a:lnTo>
                    <a:pt x="1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2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7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5"/>
                  </a:lnTo>
                  <a:lnTo>
                    <a:pt x="42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 userDrawn="1"/>
          </p:nvSpPr>
          <p:spPr bwMode="auto">
            <a:xfrm>
              <a:off x="3762" y="1004"/>
              <a:ext cx="43" cy="42"/>
            </a:xfrm>
            <a:custGeom>
              <a:avLst/>
              <a:gdLst>
                <a:gd name="T0" fmla="*/ 42 w 85"/>
                <a:gd name="T1" fmla="*/ 86 h 86"/>
                <a:gd name="T2" fmla="*/ 42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9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2 w 85"/>
                <a:gd name="T15" fmla="*/ 59 h 86"/>
                <a:gd name="T16" fmla="*/ 1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1 w 85"/>
                <a:gd name="T23" fmla="*/ 35 h 86"/>
                <a:gd name="T24" fmla="*/ 2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9 w 85"/>
                <a:gd name="T31" fmla="*/ 7 h 86"/>
                <a:gd name="T32" fmla="*/ 26 w 85"/>
                <a:gd name="T33" fmla="*/ 5 h 86"/>
                <a:gd name="T34" fmla="*/ 34 w 85"/>
                <a:gd name="T35" fmla="*/ 2 h 86"/>
                <a:gd name="T36" fmla="*/ 42 w 85"/>
                <a:gd name="T37" fmla="*/ 0 h 86"/>
                <a:gd name="T38" fmla="*/ 42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7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2 w 85"/>
                <a:gd name="T51" fmla="*/ 27 h 86"/>
                <a:gd name="T52" fmla="*/ 85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5 w 85"/>
                <a:gd name="T59" fmla="*/ 53 h 86"/>
                <a:gd name="T60" fmla="*/ 82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7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2 w 85"/>
                <a:gd name="T73" fmla="*/ 86 h 86"/>
                <a:gd name="T74" fmla="*/ 42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2" y="86"/>
                  </a:moveTo>
                  <a:lnTo>
                    <a:pt x="42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2" y="59"/>
                  </a:lnTo>
                  <a:lnTo>
                    <a:pt x="1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2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7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2" y="27"/>
                  </a:lnTo>
                  <a:lnTo>
                    <a:pt x="85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3"/>
                  </a:lnTo>
                  <a:lnTo>
                    <a:pt x="82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7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 userDrawn="1"/>
          </p:nvSpPr>
          <p:spPr bwMode="auto">
            <a:xfrm>
              <a:off x="3762" y="1060"/>
              <a:ext cx="43" cy="43"/>
            </a:xfrm>
            <a:custGeom>
              <a:avLst/>
              <a:gdLst>
                <a:gd name="T0" fmla="*/ 42 w 85"/>
                <a:gd name="T1" fmla="*/ 87 h 87"/>
                <a:gd name="T2" fmla="*/ 42 w 85"/>
                <a:gd name="T3" fmla="*/ 87 h 87"/>
                <a:gd name="T4" fmla="*/ 34 w 85"/>
                <a:gd name="T5" fmla="*/ 85 h 87"/>
                <a:gd name="T6" fmla="*/ 26 w 85"/>
                <a:gd name="T7" fmla="*/ 83 h 87"/>
                <a:gd name="T8" fmla="*/ 19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2 w 85"/>
                <a:gd name="T15" fmla="*/ 61 h 87"/>
                <a:gd name="T16" fmla="*/ 1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1 w 85"/>
                <a:gd name="T23" fmla="*/ 34 h 87"/>
                <a:gd name="T24" fmla="*/ 2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9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2 w 85"/>
                <a:gd name="T37" fmla="*/ 0 h 87"/>
                <a:gd name="T38" fmla="*/ 42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7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2 w 85"/>
                <a:gd name="T51" fmla="*/ 26 h 87"/>
                <a:gd name="T52" fmla="*/ 85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5 w 85"/>
                <a:gd name="T59" fmla="*/ 52 h 87"/>
                <a:gd name="T60" fmla="*/ 82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7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2 w 85"/>
                <a:gd name="T73" fmla="*/ 87 h 87"/>
                <a:gd name="T74" fmla="*/ 42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2" y="87"/>
                  </a:moveTo>
                  <a:lnTo>
                    <a:pt x="42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2" y="61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2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7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2"/>
                  </a:lnTo>
                  <a:lnTo>
                    <a:pt x="82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2" y="87"/>
                  </a:lnTo>
                  <a:lnTo>
                    <a:pt x="42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 userDrawn="1"/>
          </p:nvSpPr>
          <p:spPr bwMode="auto">
            <a:xfrm>
              <a:off x="3705" y="665"/>
              <a:ext cx="43" cy="43"/>
            </a:xfrm>
            <a:custGeom>
              <a:avLst/>
              <a:gdLst>
                <a:gd name="T0" fmla="*/ 42 w 85"/>
                <a:gd name="T1" fmla="*/ 87 h 87"/>
                <a:gd name="T2" fmla="*/ 42 w 85"/>
                <a:gd name="T3" fmla="*/ 87 h 87"/>
                <a:gd name="T4" fmla="*/ 34 w 85"/>
                <a:gd name="T5" fmla="*/ 85 h 87"/>
                <a:gd name="T6" fmla="*/ 26 w 85"/>
                <a:gd name="T7" fmla="*/ 82 h 87"/>
                <a:gd name="T8" fmla="*/ 19 w 85"/>
                <a:gd name="T9" fmla="*/ 80 h 87"/>
                <a:gd name="T10" fmla="*/ 12 w 85"/>
                <a:gd name="T11" fmla="*/ 74 h 87"/>
                <a:gd name="T12" fmla="*/ 7 w 85"/>
                <a:gd name="T13" fmla="*/ 67 h 87"/>
                <a:gd name="T14" fmla="*/ 3 w 85"/>
                <a:gd name="T15" fmla="*/ 60 h 87"/>
                <a:gd name="T16" fmla="*/ 0 w 85"/>
                <a:gd name="T17" fmla="*/ 52 h 87"/>
                <a:gd name="T18" fmla="*/ 0 w 85"/>
                <a:gd name="T19" fmla="*/ 44 h 87"/>
                <a:gd name="T20" fmla="*/ 0 w 85"/>
                <a:gd name="T21" fmla="*/ 44 h 87"/>
                <a:gd name="T22" fmla="*/ 0 w 85"/>
                <a:gd name="T23" fmla="*/ 34 h 87"/>
                <a:gd name="T24" fmla="*/ 3 w 85"/>
                <a:gd name="T25" fmla="*/ 27 h 87"/>
                <a:gd name="T26" fmla="*/ 7 w 85"/>
                <a:gd name="T27" fmla="*/ 19 h 87"/>
                <a:gd name="T28" fmla="*/ 12 w 85"/>
                <a:gd name="T29" fmla="*/ 14 h 87"/>
                <a:gd name="T30" fmla="*/ 19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2 w 85"/>
                <a:gd name="T37" fmla="*/ 0 h 87"/>
                <a:gd name="T38" fmla="*/ 42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4 h 87"/>
                <a:gd name="T48" fmla="*/ 78 w 85"/>
                <a:gd name="T49" fmla="*/ 19 h 87"/>
                <a:gd name="T50" fmla="*/ 82 w 85"/>
                <a:gd name="T51" fmla="*/ 27 h 87"/>
                <a:gd name="T52" fmla="*/ 85 w 85"/>
                <a:gd name="T53" fmla="*/ 34 h 87"/>
                <a:gd name="T54" fmla="*/ 85 w 85"/>
                <a:gd name="T55" fmla="*/ 44 h 87"/>
                <a:gd name="T56" fmla="*/ 85 w 85"/>
                <a:gd name="T57" fmla="*/ 44 h 87"/>
                <a:gd name="T58" fmla="*/ 85 w 85"/>
                <a:gd name="T59" fmla="*/ 52 h 87"/>
                <a:gd name="T60" fmla="*/ 82 w 85"/>
                <a:gd name="T61" fmla="*/ 60 h 87"/>
                <a:gd name="T62" fmla="*/ 78 w 85"/>
                <a:gd name="T63" fmla="*/ 67 h 87"/>
                <a:gd name="T64" fmla="*/ 73 w 85"/>
                <a:gd name="T65" fmla="*/ 74 h 87"/>
                <a:gd name="T66" fmla="*/ 66 w 85"/>
                <a:gd name="T67" fmla="*/ 80 h 87"/>
                <a:gd name="T68" fmla="*/ 59 w 85"/>
                <a:gd name="T69" fmla="*/ 82 h 87"/>
                <a:gd name="T70" fmla="*/ 51 w 85"/>
                <a:gd name="T71" fmla="*/ 85 h 87"/>
                <a:gd name="T72" fmla="*/ 42 w 85"/>
                <a:gd name="T73" fmla="*/ 87 h 87"/>
                <a:gd name="T74" fmla="*/ 42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2" y="87"/>
                  </a:moveTo>
                  <a:lnTo>
                    <a:pt x="42" y="87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80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7"/>
                  </a:lnTo>
                  <a:lnTo>
                    <a:pt x="7" y="19"/>
                  </a:lnTo>
                  <a:lnTo>
                    <a:pt x="12" y="14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4"/>
                  </a:lnTo>
                  <a:lnTo>
                    <a:pt x="78" y="19"/>
                  </a:lnTo>
                  <a:lnTo>
                    <a:pt x="82" y="27"/>
                  </a:lnTo>
                  <a:lnTo>
                    <a:pt x="85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5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80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7"/>
                  </a:lnTo>
                  <a:lnTo>
                    <a:pt x="42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3705" y="891"/>
              <a:ext cx="43" cy="43"/>
            </a:xfrm>
            <a:custGeom>
              <a:avLst/>
              <a:gdLst>
                <a:gd name="T0" fmla="*/ 42 w 85"/>
                <a:gd name="T1" fmla="*/ 85 h 85"/>
                <a:gd name="T2" fmla="*/ 42 w 85"/>
                <a:gd name="T3" fmla="*/ 85 h 85"/>
                <a:gd name="T4" fmla="*/ 34 w 85"/>
                <a:gd name="T5" fmla="*/ 85 h 85"/>
                <a:gd name="T6" fmla="*/ 26 w 85"/>
                <a:gd name="T7" fmla="*/ 83 h 85"/>
                <a:gd name="T8" fmla="*/ 19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3 h 85"/>
                <a:gd name="T20" fmla="*/ 0 w 85"/>
                <a:gd name="T21" fmla="*/ 43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9 w 85"/>
                <a:gd name="T31" fmla="*/ 7 h 85"/>
                <a:gd name="T32" fmla="*/ 26 w 85"/>
                <a:gd name="T33" fmla="*/ 3 h 85"/>
                <a:gd name="T34" fmla="*/ 34 w 85"/>
                <a:gd name="T35" fmla="*/ 1 h 85"/>
                <a:gd name="T36" fmla="*/ 42 w 85"/>
                <a:gd name="T37" fmla="*/ 0 h 85"/>
                <a:gd name="T38" fmla="*/ 42 w 85"/>
                <a:gd name="T39" fmla="*/ 0 h 85"/>
                <a:gd name="T40" fmla="*/ 51 w 85"/>
                <a:gd name="T41" fmla="*/ 1 h 85"/>
                <a:gd name="T42" fmla="*/ 59 w 85"/>
                <a:gd name="T43" fmla="*/ 3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2 w 85"/>
                <a:gd name="T51" fmla="*/ 26 h 85"/>
                <a:gd name="T52" fmla="*/ 85 w 85"/>
                <a:gd name="T53" fmla="*/ 34 h 85"/>
                <a:gd name="T54" fmla="*/ 85 w 85"/>
                <a:gd name="T55" fmla="*/ 43 h 85"/>
                <a:gd name="T56" fmla="*/ 85 w 85"/>
                <a:gd name="T57" fmla="*/ 43 h 85"/>
                <a:gd name="T58" fmla="*/ 85 w 85"/>
                <a:gd name="T59" fmla="*/ 51 h 85"/>
                <a:gd name="T60" fmla="*/ 82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3 h 85"/>
                <a:gd name="T70" fmla="*/ 51 w 85"/>
                <a:gd name="T71" fmla="*/ 85 h 85"/>
                <a:gd name="T72" fmla="*/ 42 w 85"/>
                <a:gd name="T73" fmla="*/ 85 h 85"/>
                <a:gd name="T74" fmla="*/ 42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2" y="85"/>
                  </a:moveTo>
                  <a:lnTo>
                    <a:pt x="42" y="85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2" y="85"/>
                  </a:lnTo>
                  <a:lnTo>
                    <a:pt x="42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3705" y="947"/>
              <a:ext cx="43" cy="43"/>
            </a:xfrm>
            <a:custGeom>
              <a:avLst/>
              <a:gdLst>
                <a:gd name="T0" fmla="*/ 42 w 85"/>
                <a:gd name="T1" fmla="*/ 85 h 85"/>
                <a:gd name="T2" fmla="*/ 42 w 85"/>
                <a:gd name="T3" fmla="*/ 85 h 85"/>
                <a:gd name="T4" fmla="*/ 34 w 85"/>
                <a:gd name="T5" fmla="*/ 85 h 85"/>
                <a:gd name="T6" fmla="*/ 26 w 85"/>
                <a:gd name="T7" fmla="*/ 82 h 85"/>
                <a:gd name="T8" fmla="*/ 19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9 w 85"/>
                <a:gd name="T31" fmla="*/ 7 h 85"/>
                <a:gd name="T32" fmla="*/ 26 w 85"/>
                <a:gd name="T33" fmla="*/ 2 h 85"/>
                <a:gd name="T34" fmla="*/ 34 w 85"/>
                <a:gd name="T35" fmla="*/ 1 h 85"/>
                <a:gd name="T36" fmla="*/ 42 w 85"/>
                <a:gd name="T37" fmla="*/ 0 h 85"/>
                <a:gd name="T38" fmla="*/ 42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2 w 85"/>
                <a:gd name="T51" fmla="*/ 26 h 85"/>
                <a:gd name="T52" fmla="*/ 85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5 w 85"/>
                <a:gd name="T59" fmla="*/ 51 h 85"/>
                <a:gd name="T60" fmla="*/ 82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2 w 85"/>
                <a:gd name="T73" fmla="*/ 85 h 85"/>
                <a:gd name="T74" fmla="*/ 42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2" y="85"/>
                  </a:moveTo>
                  <a:lnTo>
                    <a:pt x="42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5"/>
                  </a:lnTo>
                  <a:lnTo>
                    <a:pt x="42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 userDrawn="1"/>
          </p:nvSpPr>
          <p:spPr bwMode="auto">
            <a:xfrm>
              <a:off x="3705" y="1004"/>
              <a:ext cx="43" cy="42"/>
            </a:xfrm>
            <a:custGeom>
              <a:avLst/>
              <a:gdLst>
                <a:gd name="T0" fmla="*/ 42 w 85"/>
                <a:gd name="T1" fmla="*/ 86 h 86"/>
                <a:gd name="T2" fmla="*/ 42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9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3 w 85"/>
                <a:gd name="T15" fmla="*/ 59 h 86"/>
                <a:gd name="T16" fmla="*/ 0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9 w 85"/>
                <a:gd name="T31" fmla="*/ 7 h 86"/>
                <a:gd name="T32" fmla="*/ 26 w 85"/>
                <a:gd name="T33" fmla="*/ 5 h 86"/>
                <a:gd name="T34" fmla="*/ 34 w 85"/>
                <a:gd name="T35" fmla="*/ 2 h 86"/>
                <a:gd name="T36" fmla="*/ 42 w 85"/>
                <a:gd name="T37" fmla="*/ 0 h 86"/>
                <a:gd name="T38" fmla="*/ 42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2 w 85"/>
                <a:gd name="T51" fmla="*/ 27 h 86"/>
                <a:gd name="T52" fmla="*/ 85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5 w 85"/>
                <a:gd name="T59" fmla="*/ 53 h 86"/>
                <a:gd name="T60" fmla="*/ 82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2 w 85"/>
                <a:gd name="T73" fmla="*/ 86 h 86"/>
                <a:gd name="T74" fmla="*/ 42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2" y="86"/>
                  </a:moveTo>
                  <a:lnTo>
                    <a:pt x="42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3" y="59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2" y="27"/>
                  </a:lnTo>
                  <a:lnTo>
                    <a:pt x="85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3"/>
                  </a:lnTo>
                  <a:lnTo>
                    <a:pt x="82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 userDrawn="1"/>
          </p:nvSpPr>
          <p:spPr bwMode="auto">
            <a:xfrm>
              <a:off x="3705" y="1060"/>
              <a:ext cx="43" cy="43"/>
            </a:xfrm>
            <a:custGeom>
              <a:avLst/>
              <a:gdLst>
                <a:gd name="T0" fmla="*/ 42 w 85"/>
                <a:gd name="T1" fmla="*/ 87 h 87"/>
                <a:gd name="T2" fmla="*/ 42 w 85"/>
                <a:gd name="T3" fmla="*/ 87 h 87"/>
                <a:gd name="T4" fmla="*/ 34 w 85"/>
                <a:gd name="T5" fmla="*/ 85 h 87"/>
                <a:gd name="T6" fmla="*/ 26 w 85"/>
                <a:gd name="T7" fmla="*/ 83 h 87"/>
                <a:gd name="T8" fmla="*/ 19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3 w 85"/>
                <a:gd name="T15" fmla="*/ 61 h 87"/>
                <a:gd name="T16" fmla="*/ 0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0 w 85"/>
                <a:gd name="T23" fmla="*/ 34 h 87"/>
                <a:gd name="T24" fmla="*/ 3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9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2 w 85"/>
                <a:gd name="T37" fmla="*/ 0 h 87"/>
                <a:gd name="T38" fmla="*/ 42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2 w 85"/>
                <a:gd name="T51" fmla="*/ 26 h 87"/>
                <a:gd name="T52" fmla="*/ 85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5 w 85"/>
                <a:gd name="T59" fmla="*/ 52 h 87"/>
                <a:gd name="T60" fmla="*/ 82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6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2 w 85"/>
                <a:gd name="T73" fmla="*/ 87 h 87"/>
                <a:gd name="T74" fmla="*/ 42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2" y="87"/>
                  </a:moveTo>
                  <a:lnTo>
                    <a:pt x="42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2"/>
                  </a:lnTo>
                  <a:lnTo>
                    <a:pt x="82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2" y="87"/>
                  </a:lnTo>
                  <a:lnTo>
                    <a:pt x="42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 userDrawn="1"/>
          </p:nvSpPr>
          <p:spPr bwMode="auto">
            <a:xfrm>
              <a:off x="3705" y="1116"/>
              <a:ext cx="43" cy="44"/>
            </a:xfrm>
            <a:custGeom>
              <a:avLst/>
              <a:gdLst>
                <a:gd name="T0" fmla="*/ 42 w 85"/>
                <a:gd name="T1" fmla="*/ 86 h 86"/>
                <a:gd name="T2" fmla="*/ 42 w 85"/>
                <a:gd name="T3" fmla="*/ 86 h 86"/>
                <a:gd name="T4" fmla="*/ 34 w 85"/>
                <a:gd name="T5" fmla="*/ 85 h 86"/>
                <a:gd name="T6" fmla="*/ 26 w 85"/>
                <a:gd name="T7" fmla="*/ 82 h 86"/>
                <a:gd name="T8" fmla="*/ 19 w 85"/>
                <a:gd name="T9" fmla="*/ 78 h 86"/>
                <a:gd name="T10" fmla="*/ 12 w 85"/>
                <a:gd name="T11" fmla="*/ 74 h 86"/>
                <a:gd name="T12" fmla="*/ 7 w 85"/>
                <a:gd name="T13" fmla="*/ 67 h 86"/>
                <a:gd name="T14" fmla="*/ 3 w 85"/>
                <a:gd name="T15" fmla="*/ 60 h 86"/>
                <a:gd name="T16" fmla="*/ 0 w 85"/>
                <a:gd name="T17" fmla="*/ 52 h 86"/>
                <a:gd name="T18" fmla="*/ 0 w 85"/>
                <a:gd name="T19" fmla="*/ 44 h 86"/>
                <a:gd name="T20" fmla="*/ 0 w 85"/>
                <a:gd name="T21" fmla="*/ 44 h 86"/>
                <a:gd name="T22" fmla="*/ 0 w 85"/>
                <a:gd name="T23" fmla="*/ 34 h 86"/>
                <a:gd name="T24" fmla="*/ 3 w 85"/>
                <a:gd name="T25" fmla="*/ 26 h 86"/>
                <a:gd name="T26" fmla="*/ 7 w 85"/>
                <a:gd name="T27" fmla="*/ 19 h 86"/>
                <a:gd name="T28" fmla="*/ 12 w 85"/>
                <a:gd name="T29" fmla="*/ 12 h 86"/>
                <a:gd name="T30" fmla="*/ 19 w 85"/>
                <a:gd name="T31" fmla="*/ 8 h 86"/>
                <a:gd name="T32" fmla="*/ 26 w 85"/>
                <a:gd name="T33" fmla="*/ 4 h 86"/>
                <a:gd name="T34" fmla="*/ 34 w 85"/>
                <a:gd name="T35" fmla="*/ 1 h 86"/>
                <a:gd name="T36" fmla="*/ 42 w 85"/>
                <a:gd name="T37" fmla="*/ 0 h 86"/>
                <a:gd name="T38" fmla="*/ 42 w 85"/>
                <a:gd name="T39" fmla="*/ 0 h 86"/>
                <a:gd name="T40" fmla="*/ 51 w 85"/>
                <a:gd name="T41" fmla="*/ 1 h 86"/>
                <a:gd name="T42" fmla="*/ 59 w 85"/>
                <a:gd name="T43" fmla="*/ 4 h 86"/>
                <a:gd name="T44" fmla="*/ 66 w 85"/>
                <a:gd name="T45" fmla="*/ 8 h 86"/>
                <a:gd name="T46" fmla="*/ 73 w 85"/>
                <a:gd name="T47" fmla="*/ 12 h 86"/>
                <a:gd name="T48" fmla="*/ 78 w 85"/>
                <a:gd name="T49" fmla="*/ 19 h 86"/>
                <a:gd name="T50" fmla="*/ 82 w 85"/>
                <a:gd name="T51" fmla="*/ 26 h 86"/>
                <a:gd name="T52" fmla="*/ 85 w 85"/>
                <a:gd name="T53" fmla="*/ 34 h 86"/>
                <a:gd name="T54" fmla="*/ 85 w 85"/>
                <a:gd name="T55" fmla="*/ 44 h 86"/>
                <a:gd name="T56" fmla="*/ 85 w 85"/>
                <a:gd name="T57" fmla="*/ 44 h 86"/>
                <a:gd name="T58" fmla="*/ 85 w 85"/>
                <a:gd name="T59" fmla="*/ 52 h 86"/>
                <a:gd name="T60" fmla="*/ 82 w 85"/>
                <a:gd name="T61" fmla="*/ 60 h 86"/>
                <a:gd name="T62" fmla="*/ 78 w 85"/>
                <a:gd name="T63" fmla="*/ 67 h 86"/>
                <a:gd name="T64" fmla="*/ 73 w 85"/>
                <a:gd name="T65" fmla="*/ 74 h 86"/>
                <a:gd name="T66" fmla="*/ 66 w 85"/>
                <a:gd name="T67" fmla="*/ 78 h 86"/>
                <a:gd name="T68" fmla="*/ 59 w 85"/>
                <a:gd name="T69" fmla="*/ 82 h 86"/>
                <a:gd name="T70" fmla="*/ 51 w 85"/>
                <a:gd name="T71" fmla="*/ 85 h 86"/>
                <a:gd name="T72" fmla="*/ 42 w 85"/>
                <a:gd name="T73" fmla="*/ 86 h 86"/>
                <a:gd name="T74" fmla="*/ 42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2" y="86"/>
                  </a:moveTo>
                  <a:lnTo>
                    <a:pt x="42" y="86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5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 userDrawn="1"/>
          </p:nvSpPr>
          <p:spPr bwMode="auto">
            <a:xfrm>
              <a:off x="3649" y="722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4 h 85"/>
                <a:gd name="T6" fmla="*/ 26 w 85"/>
                <a:gd name="T7" fmla="*/ 81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6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3 h 85"/>
                <a:gd name="T20" fmla="*/ 0 w 85"/>
                <a:gd name="T21" fmla="*/ 43 h 85"/>
                <a:gd name="T22" fmla="*/ 0 w 85"/>
                <a:gd name="T23" fmla="*/ 33 h 85"/>
                <a:gd name="T24" fmla="*/ 3 w 85"/>
                <a:gd name="T25" fmla="*/ 26 h 85"/>
                <a:gd name="T26" fmla="*/ 7 w 85"/>
                <a:gd name="T27" fmla="*/ 18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3 h 85"/>
                <a:gd name="T34" fmla="*/ 34 w 85"/>
                <a:gd name="T35" fmla="*/ 0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0 h 85"/>
                <a:gd name="T42" fmla="*/ 59 w 85"/>
                <a:gd name="T43" fmla="*/ 3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8 h 85"/>
                <a:gd name="T50" fmla="*/ 82 w 85"/>
                <a:gd name="T51" fmla="*/ 26 h 85"/>
                <a:gd name="T52" fmla="*/ 84 w 85"/>
                <a:gd name="T53" fmla="*/ 33 h 85"/>
                <a:gd name="T54" fmla="*/ 85 w 85"/>
                <a:gd name="T55" fmla="*/ 43 h 85"/>
                <a:gd name="T56" fmla="*/ 85 w 85"/>
                <a:gd name="T57" fmla="*/ 43 h 85"/>
                <a:gd name="T58" fmla="*/ 84 w 85"/>
                <a:gd name="T59" fmla="*/ 51 h 85"/>
                <a:gd name="T60" fmla="*/ 82 w 85"/>
                <a:gd name="T61" fmla="*/ 59 h 85"/>
                <a:gd name="T62" fmla="*/ 78 w 85"/>
                <a:gd name="T63" fmla="*/ 66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1 h 85"/>
                <a:gd name="T70" fmla="*/ 51 w 85"/>
                <a:gd name="T71" fmla="*/ 84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4"/>
                  </a:lnTo>
                  <a:lnTo>
                    <a:pt x="26" y="81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3"/>
                  </a:lnTo>
                  <a:lnTo>
                    <a:pt x="3" y="26"/>
                  </a:lnTo>
                  <a:lnTo>
                    <a:pt x="7" y="18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0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8"/>
                  </a:lnTo>
                  <a:lnTo>
                    <a:pt x="82" y="26"/>
                  </a:lnTo>
                  <a:lnTo>
                    <a:pt x="84" y="3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2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1"/>
                  </a:lnTo>
                  <a:lnTo>
                    <a:pt x="51" y="84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 userDrawn="1"/>
          </p:nvSpPr>
          <p:spPr bwMode="auto">
            <a:xfrm>
              <a:off x="3649" y="778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4 h 85"/>
                <a:gd name="T6" fmla="*/ 26 w 85"/>
                <a:gd name="T7" fmla="*/ 82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6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8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2 h 85"/>
                <a:gd name="T34" fmla="*/ 34 w 85"/>
                <a:gd name="T35" fmla="*/ 0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0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8 h 85"/>
                <a:gd name="T50" fmla="*/ 82 w 85"/>
                <a:gd name="T51" fmla="*/ 26 h 85"/>
                <a:gd name="T52" fmla="*/ 84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4 w 85"/>
                <a:gd name="T59" fmla="*/ 51 h 85"/>
                <a:gd name="T60" fmla="*/ 82 w 85"/>
                <a:gd name="T61" fmla="*/ 59 h 85"/>
                <a:gd name="T62" fmla="*/ 78 w 85"/>
                <a:gd name="T63" fmla="*/ 66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4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4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8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0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8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2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4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/>
            </p:cNvSpPr>
            <p:nvPr userDrawn="1"/>
          </p:nvSpPr>
          <p:spPr bwMode="auto">
            <a:xfrm>
              <a:off x="3649" y="891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5 h 85"/>
                <a:gd name="T6" fmla="*/ 26 w 85"/>
                <a:gd name="T7" fmla="*/ 83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3 h 85"/>
                <a:gd name="T20" fmla="*/ 0 w 85"/>
                <a:gd name="T21" fmla="*/ 43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3 h 85"/>
                <a:gd name="T34" fmla="*/ 34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3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2 w 85"/>
                <a:gd name="T51" fmla="*/ 26 h 85"/>
                <a:gd name="T52" fmla="*/ 84 w 85"/>
                <a:gd name="T53" fmla="*/ 34 h 85"/>
                <a:gd name="T54" fmla="*/ 85 w 85"/>
                <a:gd name="T55" fmla="*/ 43 h 85"/>
                <a:gd name="T56" fmla="*/ 85 w 85"/>
                <a:gd name="T57" fmla="*/ 43 h 85"/>
                <a:gd name="T58" fmla="*/ 84 w 85"/>
                <a:gd name="T59" fmla="*/ 51 h 85"/>
                <a:gd name="T60" fmla="*/ 82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3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9"/>
            <p:cNvSpPr>
              <a:spLocks/>
            </p:cNvSpPr>
            <p:nvPr userDrawn="1"/>
          </p:nvSpPr>
          <p:spPr bwMode="auto">
            <a:xfrm>
              <a:off x="3649" y="947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5 h 85"/>
                <a:gd name="T6" fmla="*/ 26 w 85"/>
                <a:gd name="T7" fmla="*/ 82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2 h 85"/>
                <a:gd name="T34" fmla="*/ 34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2 w 85"/>
                <a:gd name="T51" fmla="*/ 26 h 85"/>
                <a:gd name="T52" fmla="*/ 84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4 w 85"/>
                <a:gd name="T59" fmla="*/ 51 h 85"/>
                <a:gd name="T60" fmla="*/ 82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0"/>
            <p:cNvSpPr>
              <a:spLocks/>
            </p:cNvSpPr>
            <p:nvPr userDrawn="1"/>
          </p:nvSpPr>
          <p:spPr bwMode="auto">
            <a:xfrm>
              <a:off x="3649" y="1004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3 w 85"/>
                <a:gd name="T15" fmla="*/ 59 h 86"/>
                <a:gd name="T16" fmla="*/ 0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5 h 86"/>
                <a:gd name="T34" fmla="*/ 34 w 85"/>
                <a:gd name="T35" fmla="*/ 2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2 w 85"/>
                <a:gd name="T51" fmla="*/ 27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3 h 86"/>
                <a:gd name="T60" fmla="*/ 82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3" y="59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2" y="27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3"/>
                  </a:lnTo>
                  <a:lnTo>
                    <a:pt x="82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auto">
            <a:xfrm>
              <a:off x="3649" y="1060"/>
              <a:ext cx="43" cy="43"/>
            </a:xfrm>
            <a:custGeom>
              <a:avLst/>
              <a:gdLst>
                <a:gd name="T0" fmla="*/ 43 w 85"/>
                <a:gd name="T1" fmla="*/ 87 h 87"/>
                <a:gd name="T2" fmla="*/ 43 w 85"/>
                <a:gd name="T3" fmla="*/ 87 h 87"/>
                <a:gd name="T4" fmla="*/ 34 w 85"/>
                <a:gd name="T5" fmla="*/ 85 h 87"/>
                <a:gd name="T6" fmla="*/ 26 w 85"/>
                <a:gd name="T7" fmla="*/ 83 h 87"/>
                <a:gd name="T8" fmla="*/ 18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3 w 85"/>
                <a:gd name="T15" fmla="*/ 61 h 87"/>
                <a:gd name="T16" fmla="*/ 0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0 w 85"/>
                <a:gd name="T23" fmla="*/ 34 h 87"/>
                <a:gd name="T24" fmla="*/ 3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8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3 w 85"/>
                <a:gd name="T37" fmla="*/ 0 h 87"/>
                <a:gd name="T38" fmla="*/ 43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2 w 85"/>
                <a:gd name="T51" fmla="*/ 26 h 87"/>
                <a:gd name="T52" fmla="*/ 84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4 w 85"/>
                <a:gd name="T59" fmla="*/ 52 h 87"/>
                <a:gd name="T60" fmla="*/ 82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6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3 w 85"/>
                <a:gd name="T73" fmla="*/ 87 h 87"/>
                <a:gd name="T74" fmla="*/ 43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3" y="87"/>
                  </a:moveTo>
                  <a:lnTo>
                    <a:pt x="43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2"/>
                  </a:lnTo>
                  <a:lnTo>
                    <a:pt x="82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2"/>
            <p:cNvSpPr>
              <a:spLocks/>
            </p:cNvSpPr>
            <p:nvPr userDrawn="1"/>
          </p:nvSpPr>
          <p:spPr bwMode="auto">
            <a:xfrm>
              <a:off x="3649" y="1116"/>
              <a:ext cx="43" cy="44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5 h 86"/>
                <a:gd name="T6" fmla="*/ 26 w 85"/>
                <a:gd name="T7" fmla="*/ 82 h 86"/>
                <a:gd name="T8" fmla="*/ 18 w 85"/>
                <a:gd name="T9" fmla="*/ 78 h 86"/>
                <a:gd name="T10" fmla="*/ 12 w 85"/>
                <a:gd name="T11" fmla="*/ 74 h 86"/>
                <a:gd name="T12" fmla="*/ 7 w 85"/>
                <a:gd name="T13" fmla="*/ 67 h 86"/>
                <a:gd name="T14" fmla="*/ 3 w 85"/>
                <a:gd name="T15" fmla="*/ 60 h 86"/>
                <a:gd name="T16" fmla="*/ 0 w 85"/>
                <a:gd name="T17" fmla="*/ 52 h 86"/>
                <a:gd name="T18" fmla="*/ 0 w 85"/>
                <a:gd name="T19" fmla="*/ 44 h 86"/>
                <a:gd name="T20" fmla="*/ 0 w 85"/>
                <a:gd name="T21" fmla="*/ 44 h 86"/>
                <a:gd name="T22" fmla="*/ 0 w 85"/>
                <a:gd name="T23" fmla="*/ 34 h 86"/>
                <a:gd name="T24" fmla="*/ 3 w 85"/>
                <a:gd name="T25" fmla="*/ 26 h 86"/>
                <a:gd name="T26" fmla="*/ 7 w 85"/>
                <a:gd name="T27" fmla="*/ 19 h 86"/>
                <a:gd name="T28" fmla="*/ 12 w 85"/>
                <a:gd name="T29" fmla="*/ 12 h 86"/>
                <a:gd name="T30" fmla="*/ 18 w 85"/>
                <a:gd name="T31" fmla="*/ 8 h 86"/>
                <a:gd name="T32" fmla="*/ 26 w 85"/>
                <a:gd name="T33" fmla="*/ 4 h 86"/>
                <a:gd name="T34" fmla="*/ 34 w 85"/>
                <a:gd name="T35" fmla="*/ 1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1 h 86"/>
                <a:gd name="T42" fmla="*/ 59 w 85"/>
                <a:gd name="T43" fmla="*/ 4 h 86"/>
                <a:gd name="T44" fmla="*/ 66 w 85"/>
                <a:gd name="T45" fmla="*/ 8 h 86"/>
                <a:gd name="T46" fmla="*/ 73 w 85"/>
                <a:gd name="T47" fmla="*/ 12 h 86"/>
                <a:gd name="T48" fmla="*/ 78 w 85"/>
                <a:gd name="T49" fmla="*/ 19 h 86"/>
                <a:gd name="T50" fmla="*/ 82 w 85"/>
                <a:gd name="T51" fmla="*/ 26 h 86"/>
                <a:gd name="T52" fmla="*/ 84 w 85"/>
                <a:gd name="T53" fmla="*/ 34 h 86"/>
                <a:gd name="T54" fmla="*/ 85 w 85"/>
                <a:gd name="T55" fmla="*/ 44 h 86"/>
                <a:gd name="T56" fmla="*/ 85 w 85"/>
                <a:gd name="T57" fmla="*/ 44 h 86"/>
                <a:gd name="T58" fmla="*/ 84 w 85"/>
                <a:gd name="T59" fmla="*/ 52 h 86"/>
                <a:gd name="T60" fmla="*/ 82 w 85"/>
                <a:gd name="T61" fmla="*/ 60 h 86"/>
                <a:gd name="T62" fmla="*/ 78 w 85"/>
                <a:gd name="T63" fmla="*/ 67 h 86"/>
                <a:gd name="T64" fmla="*/ 73 w 85"/>
                <a:gd name="T65" fmla="*/ 74 h 86"/>
                <a:gd name="T66" fmla="*/ 66 w 85"/>
                <a:gd name="T67" fmla="*/ 78 h 86"/>
                <a:gd name="T68" fmla="*/ 59 w 85"/>
                <a:gd name="T69" fmla="*/ 82 h 86"/>
                <a:gd name="T70" fmla="*/ 51 w 85"/>
                <a:gd name="T71" fmla="*/ 85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4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"/>
            <p:cNvSpPr>
              <a:spLocks/>
            </p:cNvSpPr>
            <p:nvPr userDrawn="1"/>
          </p:nvSpPr>
          <p:spPr bwMode="auto">
            <a:xfrm>
              <a:off x="3592" y="778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4 h 85"/>
                <a:gd name="T6" fmla="*/ 26 w 85"/>
                <a:gd name="T7" fmla="*/ 82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6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8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2 h 85"/>
                <a:gd name="T34" fmla="*/ 34 w 85"/>
                <a:gd name="T35" fmla="*/ 0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0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8 h 85"/>
                <a:gd name="T50" fmla="*/ 83 w 85"/>
                <a:gd name="T51" fmla="*/ 26 h 85"/>
                <a:gd name="T52" fmla="*/ 84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4 w 85"/>
                <a:gd name="T59" fmla="*/ 51 h 85"/>
                <a:gd name="T60" fmla="*/ 83 w 85"/>
                <a:gd name="T61" fmla="*/ 59 h 85"/>
                <a:gd name="T62" fmla="*/ 78 w 85"/>
                <a:gd name="T63" fmla="*/ 66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4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4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8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0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8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3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4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"/>
            <p:cNvSpPr>
              <a:spLocks/>
            </p:cNvSpPr>
            <p:nvPr userDrawn="1"/>
          </p:nvSpPr>
          <p:spPr bwMode="auto">
            <a:xfrm>
              <a:off x="3592" y="835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6 h 86"/>
                <a:gd name="T14" fmla="*/ 3 w 85"/>
                <a:gd name="T15" fmla="*/ 59 h 86"/>
                <a:gd name="T16" fmla="*/ 0 w 85"/>
                <a:gd name="T17" fmla="*/ 51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6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3 h 86"/>
                <a:gd name="T34" fmla="*/ 34 w 85"/>
                <a:gd name="T35" fmla="*/ 0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0 h 86"/>
                <a:gd name="T42" fmla="*/ 59 w 85"/>
                <a:gd name="T43" fmla="*/ 3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3 w 85"/>
                <a:gd name="T51" fmla="*/ 26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1 h 86"/>
                <a:gd name="T60" fmla="*/ 83 w 85"/>
                <a:gd name="T61" fmla="*/ 59 h 86"/>
                <a:gd name="T62" fmla="*/ 78 w 85"/>
                <a:gd name="T63" fmla="*/ 66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6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0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3" y="26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3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auto">
            <a:xfrm>
              <a:off x="3592" y="891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5 h 85"/>
                <a:gd name="T6" fmla="*/ 26 w 85"/>
                <a:gd name="T7" fmla="*/ 83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3 h 85"/>
                <a:gd name="T20" fmla="*/ 0 w 85"/>
                <a:gd name="T21" fmla="*/ 43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3 h 85"/>
                <a:gd name="T34" fmla="*/ 34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3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3 w 85"/>
                <a:gd name="T51" fmla="*/ 26 h 85"/>
                <a:gd name="T52" fmla="*/ 84 w 85"/>
                <a:gd name="T53" fmla="*/ 34 h 85"/>
                <a:gd name="T54" fmla="*/ 85 w 85"/>
                <a:gd name="T55" fmla="*/ 43 h 85"/>
                <a:gd name="T56" fmla="*/ 85 w 85"/>
                <a:gd name="T57" fmla="*/ 43 h 85"/>
                <a:gd name="T58" fmla="*/ 84 w 85"/>
                <a:gd name="T59" fmla="*/ 51 h 85"/>
                <a:gd name="T60" fmla="*/ 83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3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3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/>
            <p:cNvSpPr>
              <a:spLocks/>
            </p:cNvSpPr>
            <p:nvPr userDrawn="1"/>
          </p:nvSpPr>
          <p:spPr bwMode="auto">
            <a:xfrm>
              <a:off x="3592" y="947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5 h 85"/>
                <a:gd name="T6" fmla="*/ 26 w 85"/>
                <a:gd name="T7" fmla="*/ 82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2 h 85"/>
                <a:gd name="T34" fmla="*/ 34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3 w 85"/>
                <a:gd name="T51" fmla="*/ 26 h 85"/>
                <a:gd name="T52" fmla="*/ 84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4 w 85"/>
                <a:gd name="T59" fmla="*/ 51 h 85"/>
                <a:gd name="T60" fmla="*/ 83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3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"/>
            <p:cNvSpPr>
              <a:spLocks/>
            </p:cNvSpPr>
            <p:nvPr userDrawn="1"/>
          </p:nvSpPr>
          <p:spPr bwMode="auto">
            <a:xfrm>
              <a:off x="3592" y="1004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3 w 85"/>
                <a:gd name="T15" fmla="*/ 59 h 86"/>
                <a:gd name="T16" fmla="*/ 0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5 h 86"/>
                <a:gd name="T34" fmla="*/ 34 w 85"/>
                <a:gd name="T35" fmla="*/ 2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3 w 85"/>
                <a:gd name="T51" fmla="*/ 27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3 h 86"/>
                <a:gd name="T60" fmla="*/ 83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3" y="59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3" y="27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3"/>
                  </a:lnTo>
                  <a:lnTo>
                    <a:pt x="83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8"/>
            <p:cNvSpPr>
              <a:spLocks/>
            </p:cNvSpPr>
            <p:nvPr userDrawn="1"/>
          </p:nvSpPr>
          <p:spPr bwMode="auto">
            <a:xfrm>
              <a:off x="3592" y="1060"/>
              <a:ext cx="43" cy="43"/>
            </a:xfrm>
            <a:custGeom>
              <a:avLst/>
              <a:gdLst>
                <a:gd name="T0" fmla="*/ 43 w 85"/>
                <a:gd name="T1" fmla="*/ 87 h 87"/>
                <a:gd name="T2" fmla="*/ 43 w 85"/>
                <a:gd name="T3" fmla="*/ 87 h 87"/>
                <a:gd name="T4" fmla="*/ 34 w 85"/>
                <a:gd name="T5" fmla="*/ 85 h 87"/>
                <a:gd name="T6" fmla="*/ 26 w 85"/>
                <a:gd name="T7" fmla="*/ 83 h 87"/>
                <a:gd name="T8" fmla="*/ 18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3 w 85"/>
                <a:gd name="T15" fmla="*/ 61 h 87"/>
                <a:gd name="T16" fmla="*/ 0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0 w 85"/>
                <a:gd name="T23" fmla="*/ 34 h 87"/>
                <a:gd name="T24" fmla="*/ 3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8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3 w 85"/>
                <a:gd name="T37" fmla="*/ 0 h 87"/>
                <a:gd name="T38" fmla="*/ 43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3 w 85"/>
                <a:gd name="T51" fmla="*/ 26 h 87"/>
                <a:gd name="T52" fmla="*/ 84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4 w 85"/>
                <a:gd name="T59" fmla="*/ 52 h 87"/>
                <a:gd name="T60" fmla="*/ 83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6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3 w 85"/>
                <a:gd name="T73" fmla="*/ 87 h 87"/>
                <a:gd name="T74" fmla="*/ 43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3" y="87"/>
                  </a:moveTo>
                  <a:lnTo>
                    <a:pt x="43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2"/>
                  </a:lnTo>
                  <a:lnTo>
                    <a:pt x="83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/>
            <p:cNvSpPr>
              <a:spLocks/>
            </p:cNvSpPr>
            <p:nvPr userDrawn="1"/>
          </p:nvSpPr>
          <p:spPr bwMode="auto">
            <a:xfrm>
              <a:off x="3592" y="1116"/>
              <a:ext cx="43" cy="44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5 h 86"/>
                <a:gd name="T6" fmla="*/ 26 w 85"/>
                <a:gd name="T7" fmla="*/ 82 h 86"/>
                <a:gd name="T8" fmla="*/ 18 w 85"/>
                <a:gd name="T9" fmla="*/ 78 h 86"/>
                <a:gd name="T10" fmla="*/ 12 w 85"/>
                <a:gd name="T11" fmla="*/ 74 h 86"/>
                <a:gd name="T12" fmla="*/ 7 w 85"/>
                <a:gd name="T13" fmla="*/ 67 h 86"/>
                <a:gd name="T14" fmla="*/ 3 w 85"/>
                <a:gd name="T15" fmla="*/ 60 h 86"/>
                <a:gd name="T16" fmla="*/ 0 w 85"/>
                <a:gd name="T17" fmla="*/ 52 h 86"/>
                <a:gd name="T18" fmla="*/ 0 w 85"/>
                <a:gd name="T19" fmla="*/ 44 h 86"/>
                <a:gd name="T20" fmla="*/ 0 w 85"/>
                <a:gd name="T21" fmla="*/ 44 h 86"/>
                <a:gd name="T22" fmla="*/ 0 w 85"/>
                <a:gd name="T23" fmla="*/ 34 h 86"/>
                <a:gd name="T24" fmla="*/ 3 w 85"/>
                <a:gd name="T25" fmla="*/ 26 h 86"/>
                <a:gd name="T26" fmla="*/ 7 w 85"/>
                <a:gd name="T27" fmla="*/ 19 h 86"/>
                <a:gd name="T28" fmla="*/ 12 w 85"/>
                <a:gd name="T29" fmla="*/ 12 h 86"/>
                <a:gd name="T30" fmla="*/ 18 w 85"/>
                <a:gd name="T31" fmla="*/ 8 h 86"/>
                <a:gd name="T32" fmla="*/ 26 w 85"/>
                <a:gd name="T33" fmla="*/ 4 h 86"/>
                <a:gd name="T34" fmla="*/ 34 w 85"/>
                <a:gd name="T35" fmla="*/ 1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1 h 86"/>
                <a:gd name="T42" fmla="*/ 59 w 85"/>
                <a:gd name="T43" fmla="*/ 4 h 86"/>
                <a:gd name="T44" fmla="*/ 66 w 85"/>
                <a:gd name="T45" fmla="*/ 8 h 86"/>
                <a:gd name="T46" fmla="*/ 73 w 85"/>
                <a:gd name="T47" fmla="*/ 12 h 86"/>
                <a:gd name="T48" fmla="*/ 78 w 85"/>
                <a:gd name="T49" fmla="*/ 19 h 86"/>
                <a:gd name="T50" fmla="*/ 83 w 85"/>
                <a:gd name="T51" fmla="*/ 26 h 86"/>
                <a:gd name="T52" fmla="*/ 84 w 85"/>
                <a:gd name="T53" fmla="*/ 34 h 86"/>
                <a:gd name="T54" fmla="*/ 85 w 85"/>
                <a:gd name="T55" fmla="*/ 44 h 86"/>
                <a:gd name="T56" fmla="*/ 85 w 85"/>
                <a:gd name="T57" fmla="*/ 44 h 86"/>
                <a:gd name="T58" fmla="*/ 84 w 85"/>
                <a:gd name="T59" fmla="*/ 52 h 86"/>
                <a:gd name="T60" fmla="*/ 83 w 85"/>
                <a:gd name="T61" fmla="*/ 60 h 86"/>
                <a:gd name="T62" fmla="*/ 78 w 85"/>
                <a:gd name="T63" fmla="*/ 67 h 86"/>
                <a:gd name="T64" fmla="*/ 73 w 85"/>
                <a:gd name="T65" fmla="*/ 74 h 86"/>
                <a:gd name="T66" fmla="*/ 66 w 85"/>
                <a:gd name="T67" fmla="*/ 78 h 86"/>
                <a:gd name="T68" fmla="*/ 59 w 85"/>
                <a:gd name="T69" fmla="*/ 82 h 86"/>
                <a:gd name="T70" fmla="*/ 51 w 85"/>
                <a:gd name="T71" fmla="*/ 85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4" y="52"/>
                  </a:lnTo>
                  <a:lnTo>
                    <a:pt x="83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0"/>
            <p:cNvSpPr>
              <a:spLocks/>
            </p:cNvSpPr>
            <p:nvPr userDrawn="1"/>
          </p:nvSpPr>
          <p:spPr bwMode="auto">
            <a:xfrm>
              <a:off x="3536" y="835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3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6 h 86"/>
                <a:gd name="T14" fmla="*/ 3 w 85"/>
                <a:gd name="T15" fmla="*/ 59 h 86"/>
                <a:gd name="T16" fmla="*/ 0 w 85"/>
                <a:gd name="T17" fmla="*/ 51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6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3 h 86"/>
                <a:gd name="T34" fmla="*/ 33 w 85"/>
                <a:gd name="T35" fmla="*/ 0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0 h 86"/>
                <a:gd name="T42" fmla="*/ 59 w 85"/>
                <a:gd name="T43" fmla="*/ 3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1 w 85"/>
                <a:gd name="T51" fmla="*/ 26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1 h 86"/>
                <a:gd name="T60" fmla="*/ 81 w 85"/>
                <a:gd name="T61" fmla="*/ 59 h 86"/>
                <a:gd name="T62" fmla="*/ 78 w 85"/>
                <a:gd name="T63" fmla="*/ 66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3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6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0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1" y="26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1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1"/>
            <p:cNvSpPr>
              <a:spLocks/>
            </p:cNvSpPr>
            <p:nvPr userDrawn="1"/>
          </p:nvSpPr>
          <p:spPr bwMode="auto">
            <a:xfrm>
              <a:off x="3536" y="891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3 w 85"/>
                <a:gd name="T5" fmla="*/ 85 h 85"/>
                <a:gd name="T6" fmla="*/ 26 w 85"/>
                <a:gd name="T7" fmla="*/ 83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3 h 85"/>
                <a:gd name="T20" fmla="*/ 0 w 85"/>
                <a:gd name="T21" fmla="*/ 43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3 h 85"/>
                <a:gd name="T34" fmla="*/ 33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3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1 w 85"/>
                <a:gd name="T51" fmla="*/ 26 h 85"/>
                <a:gd name="T52" fmla="*/ 84 w 85"/>
                <a:gd name="T53" fmla="*/ 34 h 85"/>
                <a:gd name="T54" fmla="*/ 85 w 85"/>
                <a:gd name="T55" fmla="*/ 43 h 85"/>
                <a:gd name="T56" fmla="*/ 85 w 85"/>
                <a:gd name="T57" fmla="*/ 43 h 85"/>
                <a:gd name="T58" fmla="*/ 84 w 85"/>
                <a:gd name="T59" fmla="*/ 51 h 85"/>
                <a:gd name="T60" fmla="*/ 81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3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3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1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2"/>
            <p:cNvSpPr>
              <a:spLocks/>
            </p:cNvSpPr>
            <p:nvPr userDrawn="1"/>
          </p:nvSpPr>
          <p:spPr bwMode="auto">
            <a:xfrm>
              <a:off x="3536" y="947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3 w 85"/>
                <a:gd name="T5" fmla="*/ 85 h 85"/>
                <a:gd name="T6" fmla="*/ 26 w 85"/>
                <a:gd name="T7" fmla="*/ 82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2 h 85"/>
                <a:gd name="T34" fmla="*/ 33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1 w 85"/>
                <a:gd name="T51" fmla="*/ 26 h 85"/>
                <a:gd name="T52" fmla="*/ 84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4 w 85"/>
                <a:gd name="T59" fmla="*/ 51 h 85"/>
                <a:gd name="T60" fmla="*/ 81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3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1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3"/>
            <p:cNvSpPr>
              <a:spLocks/>
            </p:cNvSpPr>
            <p:nvPr userDrawn="1"/>
          </p:nvSpPr>
          <p:spPr bwMode="auto">
            <a:xfrm>
              <a:off x="3536" y="1004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3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3 w 85"/>
                <a:gd name="T15" fmla="*/ 59 h 86"/>
                <a:gd name="T16" fmla="*/ 0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5 h 86"/>
                <a:gd name="T34" fmla="*/ 33 w 85"/>
                <a:gd name="T35" fmla="*/ 2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1 w 85"/>
                <a:gd name="T51" fmla="*/ 27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3 h 86"/>
                <a:gd name="T60" fmla="*/ 81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3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3" y="59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5"/>
                  </a:lnTo>
                  <a:lnTo>
                    <a:pt x="33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1" y="27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3"/>
                  </a:lnTo>
                  <a:lnTo>
                    <a:pt x="81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4"/>
            <p:cNvSpPr>
              <a:spLocks/>
            </p:cNvSpPr>
            <p:nvPr userDrawn="1"/>
          </p:nvSpPr>
          <p:spPr bwMode="auto">
            <a:xfrm>
              <a:off x="3536" y="1060"/>
              <a:ext cx="43" cy="43"/>
            </a:xfrm>
            <a:custGeom>
              <a:avLst/>
              <a:gdLst>
                <a:gd name="T0" fmla="*/ 43 w 85"/>
                <a:gd name="T1" fmla="*/ 87 h 87"/>
                <a:gd name="T2" fmla="*/ 43 w 85"/>
                <a:gd name="T3" fmla="*/ 87 h 87"/>
                <a:gd name="T4" fmla="*/ 33 w 85"/>
                <a:gd name="T5" fmla="*/ 85 h 87"/>
                <a:gd name="T6" fmla="*/ 26 w 85"/>
                <a:gd name="T7" fmla="*/ 83 h 87"/>
                <a:gd name="T8" fmla="*/ 18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3 w 85"/>
                <a:gd name="T15" fmla="*/ 61 h 87"/>
                <a:gd name="T16" fmla="*/ 0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0 w 85"/>
                <a:gd name="T23" fmla="*/ 34 h 87"/>
                <a:gd name="T24" fmla="*/ 3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8 w 85"/>
                <a:gd name="T31" fmla="*/ 8 h 87"/>
                <a:gd name="T32" fmla="*/ 26 w 85"/>
                <a:gd name="T33" fmla="*/ 4 h 87"/>
                <a:gd name="T34" fmla="*/ 33 w 85"/>
                <a:gd name="T35" fmla="*/ 1 h 87"/>
                <a:gd name="T36" fmla="*/ 43 w 85"/>
                <a:gd name="T37" fmla="*/ 0 h 87"/>
                <a:gd name="T38" fmla="*/ 43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1 w 85"/>
                <a:gd name="T51" fmla="*/ 26 h 87"/>
                <a:gd name="T52" fmla="*/ 84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4 w 85"/>
                <a:gd name="T59" fmla="*/ 52 h 87"/>
                <a:gd name="T60" fmla="*/ 81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6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3 w 85"/>
                <a:gd name="T73" fmla="*/ 87 h 87"/>
                <a:gd name="T74" fmla="*/ 43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3" y="87"/>
                  </a:moveTo>
                  <a:lnTo>
                    <a:pt x="43" y="87"/>
                  </a:lnTo>
                  <a:lnTo>
                    <a:pt x="33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2"/>
                  </a:lnTo>
                  <a:lnTo>
                    <a:pt x="81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5"/>
            <p:cNvSpPr>
              <a:spLocks/>
            </p:cNvSpPr>
            <p:nvPr userDrawn="1"/>
          </p:nvSpPr>
          <p:spPr bwMode="auto">
            <a:xfrm>
              <a:off x="3536" y="1116"/>
              <a:ext cx="43" cy="44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3 w 85"/>
                <a:gd name="T5" fmla="*/ 85 h 86"/>
                <a:gd name="T6" fmla="*/ 26 w 85"/>
                <a:gd name="T7" fmla="*/ 82 h 86"/>
                <a:gd name="T8" fmla="*/ 18 w 85"/>
                <a:gd name="T9" fmla="*/ 78 h 86"/>
                <a:gd name="T10" fmla="*/ 12 w 85"/>
                <a:gd name="T11" fmla="*/ 74 h 86"/>
                <a:gd name="T12" fmla="*/ 7 w 85"/>
                <a:gd name="T13" fmla="*/ 67 h 86"/>
                <a:gd name="T14" fmla="*/ 3 w 85"/>
                <a:gd name="T15" fmla="*/ 60 h 86"/>
                <a:gd name="T16" fmla="*/ 0 w 85"/>
                <a:gd name="T17" fmla="*/ 52 h 86"/>
                <a:gd name="T18" fmla="*/ 0 w 85"/>
                <a:gd name="T19" fmla="*/ 44 h 86"/>
                <a:gd name="T20" fmla="*/ 0 w 85"/>
                <a:gd name="T21" fmla="*/ 44 h 86"/>
                <a:gd name="T22" fmla="*/ 0 w 85"/>
                <a:gd name="T23" fmla="*/ 34 h 86"/>
                <a:gd name="T24" fmla="*/ 3 w 85"/>
                <a:gd name="T25" fmla="*/ 26 h 86"/>
                <a:gd name="T26" fmla="*/ 7 w 85"/>
                <a:gd name="T27" fmla="*/ 19 h 86"/>
                <a:gd name="T28" fmla="*/ 12 w 85"/>
                <a:gd name="T29" fmla="*/ 12 h 86"/>
                <a:gd name="T30" fmla="*/ 18 w 85"/>
                <a:gd name="T31" fmla="*/ 8 h 86"/>
                <a:gd name="T32" fmla="*/ 26 w 85"/>
                <a:gd name="T33" fmla="*/ 4 h 86"/>
                <a:gd name="T34" fmla="*/ 33 w 85"/>
                <a:gd name="T35" fmla="*/ 1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1 h 86"/>
                <a:gd name="T42" fmla="*/ 59 w 85"/>
                <a:gd name="T43" fmla="*/ 4 h 86"/>
                <a:gd name="T44" fmla="*/ 66 w 85"/>
                <a:gd name="T45" fmla="*/ 8 h 86"/>
                <a:gd name="T46" fmla="*/ 73 w 85"/>
                <a:gd name="T47" fmla="*/ 12 h 86"/>
                <a:gd name="T48" fmla="*/ 78 w 85"/>
                <a:gd name="T49" fmla="*/ 19 h 86"/>
                <a:gd name="T50" fmla="*/ 81 w 85"/>
                <a:gd name="T51" fmla="*/ 26 h 86"/>
                <a:gd name="T52" fmla="*/ 84 w 85"/>
                <a:gd name="T53" fmla="*/ 34 h 86"/>
                <a:gd name="T54" fmla="*/ 85 w 85"/>
                <a:gd name="T55" fmla="*/ 44 h 86"/>
                <a:gd name="T56" fmla="*/ 85 w 85"/>
                <a:gd name="T57" fmla="*/ 44 h 86"/>
                <a:gd name="T58" fmla="*/ 84 w 85"/>
                <a:gd name="T59" fmla="*/ 52 h 86"/>
                <a:gd name="T60" fmla="*/ 81 w 85"/>
                <a:gd name="T61" fmla="*/ 60 h 86"/>
                <a:gd name="T62" fmla="*/ 78 w 85"/>
                <a:gd name="T63" fmla="*/ 67 h 86"/>
                <a:gd name="T64" fmla="*/ 73 w 85"/>
                <a:gd name="T65" fmla="*/ 74 h 86"/>
                <a:gd name="T66" fmla="*/ 66 w 85"/>
                <a:gd name="T67" fmla="*/ 78 h 86"/>
                <a:gd name="T68" fmla="*/ 59 w 85"/>
                <a:gd name="T69" fmla="*/ 82 h 86"/>
                <a:gd name="T70" fmla="*/ 51 w 85"/>
                <a:gd name="T71" fmla="*/ 85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3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6"/>
            <p:cNvSpPr>
              <a:spLocks/>
            </p:cNvSpPr>
            <p:nvPr userDrawn="1"/>
          </p:nvSpPr>
          <p:spPr bwMode="auto">
            <a:xfrm>
              <a:off x="3762" y="947"/>
              <a:ext cx="43" cy="43"/>
            </a:xfrm>
            <a:custGeom>
              <a:avLst/>
              <a:gdLst>
                <a:gd name="T0" fmla="*/ 42 w 85"/>
                <a:gd name="T1" fmla="*/ 85 h 85"/>
                <a:gd name="T2" fmla="*/ 42 w 85"/>
                <a:gd name="T3" fmla="*/ 85 h 85"/>
                <a:gd name="T4" fmla="*/ 34 w 85"/>
                <a:gd name="T5" fmla="*/ 85 h 85"/>
                <a:gd name="T6" fmla="*/ 26 w 85"/>
                <a:gd name="T7" fmla="*/ 82 h 85"/>
                <a:gd name="T8" fmla="*/ 19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2 w 85"/>
                <a:gd name="T15" fmla="*/ 59 h 85"/>
                <a:gd name="T16" fmla="*/ 1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1 w 85"/>
                <a:gd name="T23" fmla="*/ 34 h 85"/>
                <a:gd name="T24" fmla="*/ 2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9 w 85"/>
                <a:gd name="T31" fmla="*/ 7 h 85"/>
                <a:gd name="T32" fmla="*/ 26 w 85"/>
                <a:gd name="T33" fmla="*/ 2 h 85"/>
                <a:gd name="T34" fmla="*/ 34 w 85"/>
                <a:gd name="T35" fmla="*/ 1 h 85"/>
                <a:gd name="T36" fmla="*/ 42 w 85"/>
                <a:gd name="T37" fmla="*/ 0 h 85"/>
                <a:gd name="T38" fmla="*/ 42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7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2 w 85"/>
                <a:gd name="T51" fmla="*/ 26 h 85"/>
                <a:gd name="T52" fmla="*/ 85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5 w 85"/>
                <a:gd name="T59" fmla="*/ 51 h 85"/>
                <a:gd name="T60" fmla="*/ 82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7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2 w 85"/>
                <a:gd name="T73" fmla="*/ 85 h 85"/>
                <a:gd name="T74" fmla="*/ 42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2" y="85"/>
                  </a:moveTo>
                  <a:lnTo>
                    <a:pt x="42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2" y="59"/>
                  </a:lnTo>
                  <a:lnTo>
                    <a:pt x="1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2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7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5"/>
                  </a:lnTo>
                  <a:lnTo>
                    <a:pt x="42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7"/>
            <p:cNvSpPr>
              <a:spLocks/>
            </p:cNvSpPr>
            <p:nvPr userDrawn="1"/>
          </p:nvSpPr>
          <p:spPr bwMode="auto">
            <a:xfrm>
              <a:off x="3762" y="1004"/>
              <a:ext cx="43" cy="42"/>
            </a:xfrm>
            <a:custGeom>
              <a:avLst/>
              <a:gdLst>
                <a:gd name="T0" fmla="*/ 42 w 85"/>
                <a:gd name="T1" fmla="*/ 86 h 86"/>
                <a:gd name="T2" fmla="*/ 42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9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2 w 85"/>
                <a:gd name="T15" fmla="*/ 59 h 86"/>
                <a:gd name="T16" fmla="*/ 1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1 w 85"/>
                <a:gd name="T23" fmla="*/ 35 h 86"/>
                <a:gd name="T24" fmla="*/ 2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9 w 85"/>
                <a:gd name="T31" fmla="*/ 7 h 86"/>
                <a:gd name="T32" fmla="*/ 26 w 85"/>
                <a:gd name="T33" fmla="*/ 5 h 86"/>
                <a:gd name="T34" fmla="*/ 34 w 85"/>
                <a:gd name="T35" fmla="*/ 2 h 86"/>
                <a:gd name="T36" fmla="*/ 42 w 85"/>
                <a:gd name="T37" fmla="*/ 0 h 86"/>
                <a:gd name="T38" fmla="*/ 42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7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2 w 85"/>
                <a:gd name="T51" fmla="*/ 27 h 86"/>
                <a:gd name="T52" fmla="*/ 85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5 w 85"/>
                <a:gd name="T59" fmla="*/ 53 h 86"/>
                <a:gd name="T60" fmla="*/ 82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7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2 w 85"/>
                <a:gd name="T73" fmla="*/ 86 h 86"/>
                <a:gd name="T74" fmla="*/ 42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2" y="86"/>
                  </a:moveTo>
                  <a:lnTo>
                    <a:pt x="42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2" y="59"/>
                  </a:lnTo>
                  <a:lnTo>
                    <a:pt x="1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2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7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2" y="27"/>
                  </a:lnTo>
                  <a:lnTo>
                    <a:pt x="85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3"/>
                  </a:lnTo>
                  <a:lnTo>
                    <a:pt x="82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7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8"/>
            <p:cNvSpPr>
              <a:spLocks/>
            </p:cNvSpPr>
            <p:nvPr userDrawn="1"/>
          </p:nvSpPr>
          <p:spPr bwMode="auto">
            <a:xfrm>
              <a:off x="3762" y="1060"/>
              <a:ext cx="43" cy="43"/>
            </a:xfrm>
            <a:custGeom>
              <a:avLst/>
              <a:gdLst>
                <a:gd name="T0" fmla="*/ 42 w 85"/>
                <a:gd name="T1" fmla="*/ 87 h 87"/>
                <a:gd name="T2" fmla="*/ 42 w 85"/>
                <a:gd name="T3" fmla="*/ 87 h 87"/>
                <a:gd name="T4" fmla="*/ 34 w 85"/>
                <a:gd name="T5" fmla="*/ 85 h 87"/>
                <a:gd name="T6" fmla="*/ 26 w 85"/>
                <a:gd name="T7" fmla="*/ 83 h 87"/>
                <a:gd name="T8" fmla="*/ 19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2 w 85"/>
                <a:gd name="T15" fmla="*/ 61 h 87"/>
                <a:gd name="T16" fmla="*/ 1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1 w 85"/>
                <a:gd name="T23" fmla="*/ 34 h 87"/>
                <a:gd name="T24" fmla="*/ 2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9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2 w 85"/>
                <a:gd name="T37" fmla="*/ 0 h 87"/>
                <a:gd name="T38" fmla="*/ 42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7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2 w 85"/>
                <a:gd name="T51" fmla="*/ 26 h 87"/>
                <a:gd name="T52" fmla="*/ 85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5 w 85"/>
                <a:gd name="T59" fmla="*/ 52 h 87"/>
                <a:gd name="T60" fmla="*/ 82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7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2 w 85"/>
                <a:gd name="T73" fmla="*/ 87 h 87"/>
                <a:gd name="T74" fmla="*/ 42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2" y="87"/>
                  </a:moveTo>
                  <a:lnTo>
                    <a:pt x="42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2" y="61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2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7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2"/>
                  </a:lnTo>
                  <a:lnTo>
                    <a:pt x="82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2" y="87"/>
                  </a:lnTo>
                  <a:lnTo>
                    <a:pt x="42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9"/>
            <p:cNvSpPr>
              <a:spLocks/>
            </p:cNvSpPr>
            <p:nvPr userDrawn="1"/>
          </p:nvSpPr>
          <p:spPr bwMode="auto">
            <a:xfrm>
              <a:off x="3705" y="665"/>
              <a:ext cx="43" cy="43"/>
            </a:xfrm>
            <a:custGeom>
              <a:avLst/>
              <a:gdLst>
                <a:gd name="T0" fmla="*/ 42 w 85"/>
                <a:gd name="T1" fmla="*/ 87 h 87"/>
                <a:gd name="T2" fmla="*/ 42 w 85"/>
                <a:gd name="T3" fmla="*/ 87 h 87"/>
                <a:gd name="T4" fmla="*/ 34 w 85"/>
                <a:gd name="T5" fmla="*/ 85 h 87"/>
                <a:gd name="T6" fmla="*/ 26 w 85"/>
                <a:gd name="T7" fmla="*/ 82 h 87"/>
                <a:gd name="T8" fmla="*/ 19 w 85"/>
                <a:gd name="T9" fmla="*/ 80 h 87"/>
                <a:gd name="T10" fmla="*/ 12 w 85"/>
                <a:gd name="T11" fmla="*/ 74 h 87"/>
                <a:gd name="T12" fmla="*/ 7 w 85"/>
                <a:gd name="T13" fmla="*/ 67 h 87"/>
                <a:gd name="T14" fmla="*/ 3 w 85"/>
                <a:gd name="T15" fmla="*/ 60 h 87"/>
                <a:gd name="T16" fmla="*/ 0 w 85"/>
                <a:gd name="T17" fmla="*/ 52 h 87"/>
                <a:gd name="T18" fmla="*/ 0 w 85"/>
                <a:gd name="T19" fmla="*/ 44 h 87"/>
                <a:gd name="T20" fmla="*/ 0 w 85"/>
                <a:gd name="T21" fmla="*/ 44 h 87"/>
                <a:gd name="T22" fmla="*/ 0 w 85"/>
                <a:gd name="T23" fmla="*/ 34 h 87"/>
                <a:gd name="T24" fmla="*/ 3 w 85"/>
                <a:gd name="T25" fmla="*/ 27 h 87"/>
                <a:gd name="T26" fmla="*/ 7 w 85"/>
                <a:gd name="T27" fmla="*/ 19 h 87"/>
                <a:gd name="T28" fmla="*/ 12 w 85"/>
                <a:gd name="T29" fmla="*/ 14 h 87"/>
                <a:gd name="T30" fmla="*/ 19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2 w 85"/>
                <a:gd name="T37" fmla="*/ 0 h 87"/>
                <a:gd name="T38" fmla="*/ 42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4 h 87"/>
                <a:gd name="T48" fmla="*/ 78 w 85"/>
                <a:gd name="T49" fmla="*/ 19 h 87"/>
                <a:gd name="T50" fmla="*/ 82 w 85"/>
                <a:gd name="T51" fmla="*/ 27 h 87"/>
                <a:gd name="T52" fmla="*/ 85 w 85"/>
                <a:gd name="T53" fmla="*/ 34 h 87"/>
                <a:gd name="T54" fmla="*/ 85 w 85"/>
                <a:gd name="T55" fmla="*/ 44 h 87"/>
                <a:gd name="T56" fmla="*/ 85 w 85"/>
                <a:gd name="T57" fmla="*/ 44 h 87"/>
                <a:gd name="T58" fmla="*/ 85 w 85"/>
                <a:gd name="T59" fmla="*/ 52 h 87"/>
                <a:gd name="T60" fmla="*/ 82 w 85"/>
                <a:gd name="T61" fmla="*/ 60 h 87"/>
                <a:gd name="T62" fmla="*/ 78 w 85"/>
                <a:gd name="T63" fmla="*/ 67 h 87"/>
                <a:gd name="T64" fmla="*/ 73 w 85"/>
                <a:gd name="T65" fmla="*/ 74 h 87"/>
                <a:gd name="T66" fmla="*/ 66 w 85"/>
                <a:gd name="T67" fmla="*/ 80 h 87"/>
                <a:gd name="T68" fmla="*/ 59 w 85"/>
                <a:gd name="T69" fmla="*/ 82 h 87"/>
                <a:gd name="T70" fmla="*/ 51 w 85"/>
                <a:gd name="T71" fmla="*/ 85 h 87"/>
                <a:gd name="T72" fmla="*/ 42 w 85"/>
                <a:gd name="T73" fmla="*/ 87 h 87"/>
                <a:gd name="T74" fmla="*/ 42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2" y="87"/>
                  </a:moveTo>
                  <a:lnTo>
                    <a:pt x="42" y="87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80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7"/>
                  </a:lnTo>
                  <a:lnTo>
                    <a:pt x="7" y="19"/>
                  </a:lnTo>
                  <a:lnTo>
                    <a:pt x="12" y="14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4"/>
                  </a:lnTo>
                  <a:lnTo>
                    <a:pt x="78" y="19"/>
                  </a:lnTo>
                  <a:lnTo>
                    <a:pt x="82" y="27"/>
                  </a:lnTo>
                  <a:lnTo>
                    <a:pt x="85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5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80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7"/>
                  </a:lnTo>
                  <a:lnTo>
                    <a:pt x="42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0"/>
            <p:cNvSpPr>
              <a:spLocks/>
            </p:cNvSpPr>
            <p:nvPr userDrawn="1"/>
          </p:nvSpPr>
          <p:spPr bwMode="auto">
            <a:xfrm>
              <a:off x="3705" y="947"/>
              <a:ext cx="43" cy="43"/>
            </a:xfrm>
            <a:custGeom>
              <a:avLst/>
              <a:gdLst>
                <a:gd name="T0" fmla="*/ 42 w 85"/>
                <a:gd name="T1" fmla="*/ 85 h 85"/>
                <a:gd name="T2" fmla="*/ 42 w 85"/>
                <a:gd name="T3" fmla="*/ 85 h 85"/>
                <a:gd name="T4" fmla="*/ 34 w 85"/>
                <a:gd name="T5" fmla="*/ 85 h 85"/>
                <a:gd name="T6" fmla="*/ 26 w 85"/>
                <a:gd name="T7" fmla="*/ 82 h 85"/>
                <a:gd name="T8" fmla="*/ 19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9 w 85"/>
                <a:gd name="T31" fmla="*/ 7 h 85"/>
                <a:gd name="T32" fmla="*/ 26 w 85"/>
                <a:gd name="T33" fmla="*/ 2 h 85"/>
                <a:gd name="T34" fmla="*/ 34 w 85"/>
                <a:gd name="T35" fmla="*/ 1 h 85"/>
                <a:gd name="T36" fmla="*/ 42 w 85"/>
                <a:gd name="T37" fmla="*/ 0 h 85"/>
                <a:gd name="T38" fmla="*/ 42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2 w 85"/>
                <a:gd name="T51" fmla="*/ 26 h 85"/>
                <a:gd name="T52" fmla="*/ 85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5 w 85"/>
                <a:gd name="T59" fmla="*/ 51 h 85"/>
                <a:gd name="T60" fmla="*/ 82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2 w 85"/>
                <a:gd name="T73" fmla="*/ 85 h 85"/>
                <a:gd name="T74" fmla="*/ 42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2" y="85"/>
                  </a:moveTo>
                  <a:lnTo>
                    <a:pt x="42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5"/>
                  </a:lnTo>
                  <a:lnTo>
                    <a:pt x="42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1"/>
            <p:cNvSpPr>
              <a:spLocks/>
            </p:cNvSpPr>
            <p:nvPr userDrawn="1"/>
          </p:nvSpPr>
          <p:spPr bwMode="auto">
            <a:xfrm>
              <a:off x="3705" y="1004"/>
              <a:ext cx="43" cy="42"/>
            </a:xfrm>
            <a:custGeom>
              <a:avLst/>
              <a:gdLst>
                <a:gd name="T0" fmla="*/ 42 w 85"/>
                <a:gd name="T1" fmla="*/ 86 h 86"/>
                <a:gd name="T2" fmla="*/ 42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9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3 w 85"/>
                <a:gd name="T15" fmla="*/ 59 h 86"/>
                <a:gd name="T16" fmla="*/ 0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9 w 85"/>
                <a:gd name="T31" fmla="*/ 7 h 86"/>
                <a:gd name="T32" fmla="*/ 26 w 85"/>
                <a:gd name="T33" fmla="*/ 5 h 86"/>
                <a:gd name="T34" fmla="*/ 34 w 85"/>
                <a:gd name="T35" fmla="*/ 2 h 86"/>
                <a:gd name="T36" fmla="*/ 42 w 85"/>
                <a:gd name="T37" fmla="*/ 0 h 86"/>
                <a:gd name="T38" fmla="*/ 42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2 w 85"/>
                <a:gd name="T51" fmla="*/ 27 h 86"/>
                <a:gd name="T52" fmla="*/ 85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5 w 85"/>
                <a:gd name="T59" fmla="*/ 53 h 86"/>
                <a:gd name="T60" fmla="*/ 82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2 w 85"/>
                <a:gd name="T73" fmla="*/ 86 h 86"/>
                <a:gd name="T74" fmla="*/ 42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2" y="86"/>
                  </a:moveTo>
                  <a:lnTo>
                    <a:pt x="42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3" y="59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2" y="27"/>
                  </a:lnTo>
                  <a:lnTo>
                    <a:pt x="85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3"/>
                  </a:lnTo>
                  <a:lnTo>
                    <a:pt x="82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2"/>
            <p:cNvSpPr>
              <a:spLocks/>
            </p:cNvSpPr>
            <p:nvPr userDrawn="1"/>
          </p:nvSpPr>
          <p:spPr bwMode="auto">
            <a:xfrm>
              <a:off x="3705" y="1060"/>
              <a:ext cx="43" cy="43"/>
            </a:xfrm>
            <a:custGeom>
              <a:avLst/>
              <a:gdLst>
                <a:gd name="T0" fmla="*/ 42 w 85"/>
                <a:gd name="T1" fmla="*/ 87 h 87"/>
                <a:gd name="T2" fmla="*/ 42 w 85"/>
                <a:gd name="T3" fmla="*/ 87 h 87"/>
                <a:gd name="T4" fmla="*/ 34 w 85"/>
                <a:gd name="T5" fmla="*/ 85 h 87"/>
                <a:gd name="T6" fmla="*/ 26 w 85"/>
                <a:gd name="T7" fmla="*/ 83 h 87"/>
                <a:gd name="T8" fmla="*/ 19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3 w 85"/>
                <a:gd name="T15" fmla="*/ 61 h 87"/>
                <a:gd name="T16" fmla="*/ 0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0 w 85"/>
                <a:gd name="T23" fmla="*/ 34 h 87"/>
                <a:gd name="T24" fmla="*/ 3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9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2 w 85"/>
                <a:gd name="T37" fmla="*/ 0 h 87"/>
                <a:gd name="T38" fmla="*/ 42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2 w 85"/>
                <a:gd name="T51" fmla="*/ 26 h 87"/>
                <a:gd name="T52" fmla="*/ 85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5 w 85"/>
                <a:gd name="T59" fmla="*/ 52 h 87"/>
                <a:gd name="T60" fmla="*/ 82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6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2 w 85"/>
                <a:gd name="T73" fmla="*/ 87 h 87"/>
                <a:gd name="T74" fmla="*/ 42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2" y="87"/>
                  </a:moveTo>
                  <a:lnTo>
                    <a:pt x="42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2"/>
                  </a:lnTo>
                  <a:lnTo>
                    <a:pt x="82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2" y="87"/>
                  </a:lnTo>
                  <a:lnTo>
                    <a:pt x="42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3"/>
            <p:cNvSpPr>
              <a:spLocks/>
            </p:cNvSpPr>
            <p:nvPr userDrawn="1"/>
          </p:nvSpPr>
          <p:spPr bwMode="auto">
            <a:xfrm>
              <a:off x="3705" y="1116"/>
              <a:ext cx="43" cy="44"/>
            </a:xfrm>
            <a:custGeom>
              <a:avLst/>
              <a:gdLst>
                <a:gd name="T0" fmla="*/ 42 w 85"/>
                <a:gd name="T1" fmla="*/ 86 h 86"/>
                <a:gd name="T2" fmla="*/ 42 w 85"/>
                <a:gd name="T3" fmla="*/ 86 h 86"/>
                <a:gd name="T4" fmla="*/ 34 w 85"/>
                <a:gd name="T5" fmla="*/ 85 h 86"/>
                <a:gd name="T6" fmla="*/ 26 w 85"/>
                <a:gd name="T7" fmla="*/ 82 h 86"/>
                <a:gd name="T8" fmla="*/ 19 w 85"/>
                <a:gd name="T9" fmla="*/ 78 h 86"/>
                <a:gd name="T10" fmla="*/ 12 w 85"/>
                <a:gd name="T11" fmla="*/ 74 h 86"/>
                <a:gd name="T12" fmla="*/ 7 w 85"/>
                <a:gd name="T13" fmla="*/ 67 h 86"/>
                <a:gd name="T14" fmla="*/ 3 w 85"/>
                <a:gd name="T15" fmla="*/ 60 h 86"/>
                <a:gd name="T16" fmla="*/ 0 w 85"/>
                <a:gd name="T17" fmla="*/ 52 h 86"/>
                <a:gd name="T18" fmla="*/ 0 w 85"/>
                <a:gd name="T19" fmla="*/ 44 h 86"/>
                <a:gd name="T20" fmla="*/ 0 w 85"/>
                <a:gd name="T21" fmla="*/ 44 h 86"/>
                <a:gd name="T22" fmla="*/ 0 w 85"/>
                <a:gd name="T23" fmla="*/ 34 h 86"/>
                <a:gd name="T24" fmla="*/ 3 w 85"/>
                <a:gd name="T25" fmla="*/ 26 h 86"/>
                <a:gd name="T26" fmla="*/ 7 w 85"/>
                <a:gd name="T27" fmla="*/ 19 h 86"/>
                <a:gd name="T28" fmla="*/ 12 w 85"/>
                <a:gd name="T29" fmla="*/ 12 h 86"/>
                <a:gd name="T30" fmla="*/ 19 w 85"/>
                <a:gd name="T31" fmla="*/ 8 h 86"/>
                <a:gd name="T32" fmla="*/ 26 w 85"/>
                <a:gd name="T33" fmla="*/ 4 h 86"/>
                <a:gd name="T34" fmla="*/ 34 w 85"/>
                <a:gd name="T35" fmla="*/ 1 h 86"/>
                <a:gd name="T36" fmla="*/ 42 w 85"/>
                <a:gd name="T37" fmla="*/ 0 h 86"/>
                <a:gd name="T38" fmla="*/ 42 w 85"/>
                <a:gd name="T39" fmla="*/ 0 h 86"/>
                <a:gd name="T40" fmla="*/ 51 w 85"/>
                <a:gd name="T41" fmla="*/ 1 h 86"/>
                <a:gd name="T42" fmla="*/ 59 w 85"/>
                <a:gd name="T43" fmla="*/ 4 h 86"/>
                <a:gd name="T44" fmla="*/ 66 w 85"/>
                <a:gd name="T45" fmla="*/ 8 h 86"/>
                <a:gd name="T46" fmla="*/ 73 w 85"/>
                <a:gd name="T47" fmla="*/ 12 h 86"/>
                <a:gd name="T48" fmla="*/ 78 w 85"/>
                <a:gd name="T49" fmla="*/ 19 h 86"/>
                <a:gd name="T50" fmla="*/ 82 w 85"/>
                <a:gd name="T51" fmla="*/ 26 h 86"/>
                <a:gd name="T52" fmla="*/ 85 w 85"/>
                <a:gd name="T53" fmla="*/ 34 h 86"/>
                <a:gd name="T54" fmla="*/ 85 w 85"/>
                <a:gd name="T55" fmla="*/ 44 h 86"/>
                <a:gd name="T56" fmla="*/ 85 w 85"/>
                <a:gd name="T57" fmla="*/ 44 h 86"/>
                <a:gd name="T58" fmla="*/ 85 w 85"/>
                <a:gd name="T59" fmla="*/ 52 h 86"/>
                <a:gd name="T60" fmla="*/ 82 w 85"/>
                <a:gd name="T61" fmla="*/ 60 h 86"/>
                <a:gd name="T62" fmla="*/ 78 w 85"/>
                <a:gd name="T63" fmla="*/ 67 h 86"/>
                <a:gd name="T64" fmla="*/ 73 w 85"/>
                <a:gd name="T65" fmla="*/ 74 h 86"/>
                <a:gd name="T66" fmla="*/ 66 w 85"/>
                <a:gd name="T67" fmla="*/ 78 h 86"/>
                <a:gd name="T68" fmla="*/ 59 w 85"/>
                <a:gd name="T69" fmla="*/ 82 h 86"/>
                <a:gd name="T70" fmla="*/ 51 w 85"/>
                <a:gd name="T71" fmla="*/ 85 h 86"/>
                <a:gd name="T72" fmla="*/ 42 w 85"/>
                <a:gd name="T73" fmla="*/ 86 h 86"/>
                <a:gd name="T74" fmla="*/ 42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2" y="86"/>
                  </a:moveTo>
                  <a:lnTo>
                    <a:pt x="42" y="86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5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6"/>
                  </a:lnTo>
                  <a:lnTo>
                    <a:pt x="42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4"/>
            <p:cNvSpPr>
              <a:spLocks/>
            </p:cNvSpPr>
            <p:nvPr userDrawn="1"/>
          </p:nvSpPr>
          <p:spPr bwMode="auto">
            <a:xfrm>
              <a:off x="3649" y="722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4 h 85"/>
                <a:gd name="T6" fmla="*/ 26 w 85"/>
                <a:gd name="T7" fmla="*/ 81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6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3 h 85"/>
                <a:gd name="T20" fmla="*/ 0 w 85"/>
                <a:gd name="T21" fmla="*/ 43 h 85"/>
                <a:gd name="T22" fmla="*/ 0 w 85"/>
                <a:gd name="T23" fmla="*/ 33 h 85"/>
                <a:gd name="T24" fmla="*/ 3 w 85"/>
                <a:gd name="T25" fmla="*/ 26 h 85"/>
                <a:gd name="T26" fmla="*/ 7 w 85"/>
                <a:gd name="T27" fmla="*/ 18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3 h 85"/>
                <a:gd name="T34" fmla="*/ 34 w 85"/>
                <a:gd name="T35" fmla="*/ 0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0 h 85"/>
                <a:gd name="T42" fmla="*/ 59 w 85"/>
                <a:gd name="T43" fmla="*/ 3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8 h 85"/>
                <a:gd name="T50" fmla="*/ 82 w 85"/>
                <a:gd name="T51" fmla="*/ 26 h 85"/>
                <a:gd name="T52" fmla="*/ 84 w 85"/>
                <a:gd name="T53" fmla="*/ 33 h 85"/>
                <a:gd name="T54" fmla="*/ 85 w 85"/>
                <a:gd name="T55" fmla="*/ 43 h 85"/>
                <a:gd name="T56" fmla="*/ 85 w 85"/>
                <a:gd name="T57" fmla="*/ 43 h 85"/>
                <a:gd name="T58" fmla="*/ 84 w 85"/>
                <a:gd name="T59" fmla="*/ 51 h 85"/>
                <a:gd name="T60" fmla="*/ 82 w 85"/>
                <a:gd name="T61" fmla="*/ 59 h 85"/>
                <a:gd name="T62" fmla="*/ 78 w 85"/>
                <a:gd name="T63" fmla="*/ 66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1 h 85"/>
                <a:gd name="T70" fmla="*/ 51 w 85"/>
                <a:gd name="T71" fmla="*/ 84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4"/>
                  </a:lnTo>
                  <a:lnTo>
                    <a:pt x="26" y="81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3"/>
                  </a:lnTo>
                  <a:lnTo>
                    <a:pt x="3" y="26"/>
                  </a:lnTo>
                  <a:lnTo>
                    <a:pt x="7" y="18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0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8"/>
                  </a:lnTo>
                  <a:lnTo>
                    <a:pt x="82" y="26"/>
                  </a:lnTo>
                  <a:lnTo>
                    <a:pt x="84" y="3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2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1"/>
                  </a:lnTo>
                  <a:lnTo>
                    <a:pt x="51" y="84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45"/>
            <p:cNvSpPr>
              <a:spLocks/>
            </p:cNvSpPr>
            <p:nvPr userDrawn="1"/>
          </p:nvSpPr>
          <p:spPr bwMode="auto">
            <a:xfrm>
              <a:off x="3649" y="947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5 h 85"/>
                <a:gd name="T6" fmla="*/ 26 w 85"/>
                <a:gd name="T7" fmla="*/ 82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2 h 85"/>
                <a:gd name="T34" fmla="*/ 34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2 w 85"/>
                <a:gd name="T51" fmla="*/ 26 h 85"/>
                <a:gd name="T52" fmla="*/ 84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4 w 85"/>
                <a:gd name="T59" fmla="*/ 51 h 85"/>
                <a:gd name="T60" fmla="*/ 82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6"/>
            <p:cNvSpPr>
              <a:spLocks/>
            </p:cNvSpPr>
            <p:nvPr userDrawn="1"/>
          </p:nvSpPr>
          <p:spPr bwMode="auto">
            <a:xfrm>
              <a:off x="3649" y="1004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3 w 85"/>
                <a:gd name="T15" fmla="*/ 59 h 86"/>
                <a:gd name="T16" fmla="*/ 0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5 h 86"/>
                <a:gd name="T34" fmla="*/ 34 w 85"/>
                <a:gd name="T35" fmla="*/ 2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2 w 85"/>
                <a:gd name="T51" fmla="*/ 27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3 h 86"/>
                <a:gd name="T60" fmla="*/ 82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3" y="59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2" y="27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3"/>
                  </a:lnTo>
                  <a:lnTo>
                    <a:pt x="82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7"/>
            <p:cNvSpPr>
              <a:spLocks/>
            </p:cNvSpPr>
            <p:nvPr userDrawn="1"/>
          </p:nvSpPr>
          <p:spPr bwMode="auto">
            <a:xfrm>
              <a:off x="3649" y="1060"/>
              <a:ext cx="43" cy="43"/>
            </a:xfrm>
            <a:custGeom>
              <a:avLst/>
              <a:gdLst>
                <a:gd name="T0" fmla="*/ 43 w 85"/>
                <a:gd name="T1" fmla="*/ 87 h 87"/>
                <a:gd name="T2" fmla="*/ 43 w 85"/>
                <a:gd name="T3" fmla="*/ 87 h 87"/>
                <a:gd name="T4" fmla="*/ 34 w 85"/>
                <a:gd name="T5" fmla="*/ 85 h 87"/>
                <a:gd name="T6" fmla="*/ 26 w 85"/>
                <a:gd name="T7" fmla="*/ 83 h 87"/>
                <a:gd name="T8" fmla="*/ 18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3 w 85"/>
                <a:gd name="T15" fmla="*/ 61 h 87"/>
                <a:gd name="T16" fmla="*/ 0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0 w 85"/>
                <a:gd name="T23" fmla="*/ 34 h 87"/>
                <a:gd name="T24" fmla="*/ 3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8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3 w 85"/>
                <a:gd name="T37" fmla="*/ 0 h 87"/>
                <a:gd name="T38" fmla="*/ 43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2 w 85"/>
                <a:gd name="T51" fmla="*/ 26 h 87"/>
                <a:gd name="T52" fmla="*/ 84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4 w 85"/>
                <a:gd name="T59" fmla="*/ 52 h 87"/>
                <a:gd name="T60" fmla="*/ 82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6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3 w 85"/>
                <a:gd name="T73" fmla="*/ 87 h 87"/>
                <a:gd name="T74" fmla="*/ 43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3" y="87"/>
                  </a:moveTo>
                  <a:lnTo>
                    <a:pt x="43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2"/>
                  </a:lnTo>
                  <a:lnTo>
                    <a:pt x="82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8"/>
            <p:cNvSpPr>
              <a:spLocks/>
            </p:cNvSpPr>
            <p:nvPr userDrawn="1"/>
          </p:nvSpPr>
          <p:spPr bwMode="auto">
            <a:xfrm>
              <a:off x="3649" y="1116"/>
              <a:ext cx="43" cy="44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5 h 86"/>
                <a:gd name="T6" fmla="*/ 26 w 85"/>
                <a:gd name="T7" fmla="*/ 82 h 86"/>
                <a:gd name="T8" fmla="*/ 18 w 85"/>
                <a:gd name="T9" fmla="*/ 78 h 86"/>
                <a:gd name="T10" fmla="*/ 12 w 85"/>
                <a:gd name="T11" fmla="*/ 74 h 86"/>
                <a:gd name="T12" fmla="*/ 7 w 85"/>
                <a:gd name="T13" fmla="*/ 67 h 86"/>
                <a:gd name="T14" fmla="*/ 3 w 85"/>
                <a:gd name="T15" fmla="*/ 60 h 86"/>
                <a:gd name="T16" fmla="*/ 0 w 85"/>
                <a:gd name="T17" fmla="*/ 52 h 86"/>
                <a:gd name="T18" fmla="*/ 0 w 85"/>
                <a:gd name="T19" fmla="*/ 44 h 86"/>
                <a:gd name="T20" fmla="*/ 0 w 85"/>
                <a:gd name="T21" fmla="*/ 44 h 86"/>
                <a:gd name="T22" fmla="*/ 0 w 85"/>
                <a:gd name="T23" fmla="*/ 34 h 86"/>
                <a:gd name="T24" fmla="*/ 3 w 85"/>
                <a:gd name="T25" fmla="*/ 26 h 86"/>
                <a:gd name="T26" fmla="*/ 7 w 85"/>
                <a:gd name="T27" fmla="*/ 19 h 86"/>
                <a:gd name="T28" fmla="*/ 12 w 85"/>
                <a:gd name="T29" fmla="*/ 12 h 86"/>
                <a:gd name="T30" fmla="*/ 18 w 85"/>
                <a:gd name="T31" fmla="*/ 8 h 86"/>
                <a:gd name="T32" fmla="*/ 26 w 85"/>
                <a:gd name="T33" fmla="*/ 4 h 86"/>
                <a:gd name="T34" fmla="*/ 34 w 85"/>
                <a:gd name="T35" fmla="*/ 1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1 h 86"/>
                <a:gd name="T42" fmla="*/ 59 w 85"/>
                <a:gd name="T43" fmla="*/ 4 h 86"/>
                <a:gd name="T44" fmla="*/ 66 w 85"/>
                <a:gd name="T45" fmla="*/ 8 h 86"/>
                <a:gd name="T46" fmla="*/ 73 w 85"/>
                <a:gd name="T47" fmla="*/ 12 h 86"/>
                <a:gd name="T48" fmla="*/ 78 w 85"/>
                <a:gd name="T49" fmla="*/ 19 h 86"/>
                <a:gd name="T50" fmla="*/ 82 w 85"/>
                <a:gd name="T51" fmla="*/ 26 h 86"/>
                <a:gd name="T52" fmla="*/ 84 w 85"/>
                <a:gd name="T53" fmla="*/ 34 h 86"/>
                <a:gd name="T54" fmla="*/ 85 w 85"/>
                <a:gd name="T55" fmla="*/ 44 h 86"/>
                <a:gd name="T56" fmla="*/ 85 w 85"/>
                <a:gd name="T57" fmla="*/ 44 h 86"/>
                <a:gd name="T58" fmla="*/ 84 w 85"/>
                <a:gd name="T59" fmla="*/ 52 h 86"/>
                <a:gd name="T60" fmla="*/ 82 w 85"/>
                <a:gd name="T61" fmla="*/ 60 h 86"/>
                <a:gd name="T62" fmla="*/ 78 w 85"/>
                <a:gd name="T63" fmla="*/ 67 h 86"/>
                <a:gd name="T64" fmla="*/ 73 w 85"/>
                <a:gd name="T65" fmla="*/ 74 h 86"/>
                <a:gd name="T66" fmla="*/ 66 w 85"/>
                <a:gd name="T67" fmla="*/ 78 h 86"/>
                <a:gd name="T68" fmla="*/ 59 w 85"/>
                <a:gd name="T69" fmla="*/ 82 h 86"/>
                <a:gd name="T70" fmla="*/ 51 w 85"/>
                <a:gd name="T71" fmla="*/ 85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4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4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9"/>
            <p:cNvSpPr>
              <a:spLocks/>
            </p:cNvSpPr>
            <p:nvPr userDrawn="1"/>
          </p:nvSpPr>
          <p:spPr bwMode="auto">
            <a:xfrm>
              <a:off x="3592" y="778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4 h 85"/>
                <a:gd name="T6" fmla="*/ 26 w 85"/>
                <a:gd name="T7" fmla="*/ 82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6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8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2 h 85"/>
                <a:gd name="T34" fmla="*/ 34 w 85"/>
                <a:gd name="T35" fmla="*/ 0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0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8 h 85"/>
                <a:gd name="T50" fmla="*/ 83 w 85"/>
                <a:gd name="T51" fmla="*/ 26 h 85"/>
                <a:gd name="T52" fmla="*/ 84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4 w 85"/>
                <a:gd name="T59" fmla="*/ 51 h 85"/>
                <a:gd name="T60" fmla="*/ 83 w 85"/>
                <a:gd name="T61" fmla="*/ 59 h 85"/>
                <a:gd name="T62" fmla="*/ 78 w 85"/>
                <a:gd name="T63" fmla="*/ 66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4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4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8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0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8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3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4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0"/>
            <p:cNvSpPr>
              <a:spLocks/>
            </p:cNvSpPr>
            <p:nvPr userDrawn="1"/>
          </p:nvSpPr>
          <p:spPr bwMode="auto">
            <a:xfrm>
              <a:off x="3592" y="835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6 h 86"/>
                <a:gd name="T14" fmla="*/ 3 w 85"/>
                <a:gd name="T15" fmla="*/ 59 h 86"/>
                <a:gd name="T16" fmla="*/ 0 w 85"/>
                <a:gd name="T17" fmla="*/ 51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6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3 h 86"/>
                <a:gd name="T34" fmla="*/ 34 w 85"/>
                <a:gd name="T35" fmla="*/ 0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0 h 86"/>
                <a:gd name="T42" fmla="*/ 59 w 85"/>
                <a:gd name="T43" fmla="*/ 3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3 w 85"/>
                <a:gd name="T51" fmla="*/ 26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1 h 86"/>
                <a:gd name="T60" fmla="*/ 83 w 85"/>
                <a:gd name="T61" fmla="*/ 59 h 86"/>
                <a:gd name="T62" fmla="*/ 78 w 85"/>
                <a:gd name="T63" fmla="*/ 66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6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4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0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3" y="26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3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1"/>
            <p:cNvSpPr>
              <a:spLocks/>
            </p:cNvSpPr>
            <p:nvPr userDrawn="1"/>
          </p:nvSpPr>
          <p:spPr bwMode="auto">
            <a:xfrm>
              <a:off x="3592" y="891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5 h 85"/>
                <a:gd name="T6" fmla="*/ 26 w 85"/>
                <a:gd name="T7" fmla="*/ 83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3 h 85"/>
                <a:gd name="T20" fmla="*/ 0 w 85"/>
                <a:gd name="T21" fmla="*/ 43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3 h 85"/>
                <a:gd name="T34" fmla="*/ 34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3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3 w 85"/>
                <a:gd name="T51" fmla="*/ 26 h 85"/>
                <a:gd name="T52" fmla="*/ 84 w 85"/>
                <a:gd name="T53" fmla="*/ 34 h 85"/>
                <a:gd name="T54" fmla="*/ 85 w 85"/>
                <a:gd name="T55" fmla="*/ 43 h 85"/>
                <a:gd name="T56" fmla="*/ 85 w 85"/>
                <a:gd name="T57" fmla="*/ 43 h 85"/>
                <a:gd name="T58" fmla="*/ 84 w 85"/>
                <a:gd name="T59" fmla="*/ 51 h 85"/>
                <a:gd name="T60" fmla="*/ 83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3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3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2"/>
            <p:cNvSpPr>
              <a:spLocks/>
            </p:cNvSpPr>
            <p:nvPr userDrawn="1"/>
          </p:nvSpPr>
          <p:spPr bwMode="auto">
            <a:xfrm>
              <a:off x="3592" y="947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4 w 85"/>
                <a:gd name="T5" fmla="*/ 85 h 85"/>
                <a:gd name="T6" fmla="*/ 26 w 85"/>
                <a:gd name="T7" fmla="*/ 82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2 h 85"/>
                <a:gd name="T34" fmla="*/ 34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3 w 85"/>
                <a:gd name="T51" fmla="*/ 26 h 85"/>
                <a:gd name="T52" fmla="*/ 84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4 w 85"/>
                <a:gd name="T59" fmla="*/ 51 h 85"/>
                <a:gd name="T60" fmla="*/ 83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3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3"/>
            <p:cNvSpPr>
              <a:spLocks/>
            </p:cNvSpPr>
            <p:nvPr userDrawn="1"/>
          </p:nvSpPr>
          <p:spPr bwMode="auto">
            <a:xfrm>
              <a:off x="3592" y="1004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3 w 85"/>
                <a:gd name="T15" fmla="*/ 59 h 86"/>
                <a:gd name="T16" fmla="*/ 0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5 h 86"/>
                <a:gd name="T34" fmla="*/ 34 w 85"/>
                <a:gd name="T35" fmla="*/ 2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3 w 85"/>
                <a:gd name="T51" fmla="*/ 27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3 h 86"/>
                <a:gd name="T60" fmla="*/ 83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3" y="59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3" y="27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3"/>
                  </a:lnTo>
                  <a:lnTo>
                    <a:pt x="83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4"/>
            <p:cNvSpPr>
              <a:spLocks/>
            </p:cNvSpPr>
            <p:nvPr userDrawn="1"/>
          </p:nvSpPr>
          <p:spPr bwMode="auto">
            <a:xfrm>
              <a:off x="3592" y="1060"/>
              <a:ext cx="43" cy="43"/>
            </a:xfrm>
            <a:custGeom>
              <a:avLst/>
              <a:gdLst>
                <a:gd name="T0" fmla="*/ 43 w 85"/>
                <a:gd name="T1" fmla="*/ 87 h 87"/>
                <a:gd name="T2" fmla="*/ 43 w 85"/>
                <a:gd name="T3" fmla="*/ 87 h 87"/>
                <a:gd name="T4" fmla="*/ 34 w 85"/>
                <a:gd name="T5" fmla="*/ 85 h 87"/>
                <a:gd name="T6" fmla="*/ 26 w 85"/>
                <a:gd name="T7" fmla="*/ 83 h 87"/>
                <a:gd name="T8" fmla="*/ 18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3 w 85"/>
                <a:gd name="T15" fmla="*/ 61 h 87"/>
                <a:gd name="T16" fmla="*/ 0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0 w 85"/>
                <a:gd name="T23" fmla="*/ 34 h 87"/>
                <a:gd name="T24" fmla="*/ 3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8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3 w 85"/>
                <a:gd name="T37" fmla="*/ 0 h 87"/>
                <a:gd name="T38" fmla="*/ 43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3 w 85"/>
                <a:gd name="T51" fmla="*/ 26 h 87"/>
                <a:gd name="T52" fmla="*/ 84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4 w 85"/>
                <a:gd name="T59" fmla="*/ 52 h 87"/>
                <a:gd name="T60" fmla="*/ 83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6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3 w 85"/>
                <a:gd name="T73" fmla="*/ 87 h 87"/>
                <a:gd name="T74" fmla="*/ 43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3" y="87"/>
                  </a:moveTo>
                  <a:lnTo>
                    <a:pt x="43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2"/>
                  </a:lnTo>
                  <a:lnTo>
                    <a:pt x="83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5"/>
            <p:cNvSpPr>
              <a:spLocks/>
            </p:cNvSpPr>
            <p:nvPr userDrawn="1"/>
          </p:nvSpPr>
          <p:spPr bwMode="auto">
            <a:xfrm>
              <a:off x="3592" y="1116"/>
              <a:ext cx="43" cy="44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4 w 85"/>
                <a:gd name="T5" fmla="*/ 85 h 86"/>
                <a:gd name="T6" fmla="*/ 26 w 85"/>
                <a:gd name="T7" fmla="*/ 82 h 86"/>
                <a:gd name="T8" fmla="*/ 18 w 85"/>
                <a:gd name="T9" fmla="*/ 78 h 86"/>
                <a:gd name="T10" fmla="*/ 12 w 85"/>
                <a:gd name="T11" fmla="*/ 74 h 86"/>
                <a:gd name="T12" fmla="*/ 7 w 85"/>
                <a:gd name="T13" fmla="*/ 67 h 86"/>
                <a:gd name="T14" fmla="*/ 3 w 85"/>
                <a:gd name="T15" fmla="*/ 60 h 86"/>
                <a:gd name="T16" fmla="*/ 0 w 85"/>
                <a:gd name="T17" fmla="*/ 52 h 86"/>
                <a:gd name="T18" fmla="*/ 0 w 85"/>
                <a:gd name="T19" fmla="*/ 44 h 86"/>
                <a:gd name="T20" fmla="*/ 0 w 85"/>
                <a:gd name="T21" fmla="*/ 44 h 86"/>
                <a:gd name="T22" fmla="*/ 0 w 85"/>
                <a:gd name="T23" fmla="*/ 34 h 86"/>
                <a:gd name="T24" fmla="*/ 3 w 85"/>
                <a:gd name="T25" fmla="*/ 26 h 86"/>
                <a:gd name="T26" fmla="*/ 7 w 85"/>
                <a:gd name="T27" fmla="*/ 19 h 86"/>
                <a:gd name="T28" fmla="*/ 12 w 85"/>
                <a:gd name="T29" fmla="*/ 12 h 86"/>
                <a:gd name="T30" fmla="*/ 18 w 85"/>
                <a:gd name="T31" fmla="*/ 8 h 86"/>
                <a:gd name="T32" fmla="*/ 26 w 85"/>
                <a:gd name="T33" fmla="*/ 4 h 86"/>
                <a:gd name="T34" fmla="*/ 34 w 85"/>
                <a:gd name="T35" fmla="*/ 1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1 h 86"/>
                <a:gd name="T42" fmla="*/ 59 w 85"/>
                <a:gd name="T43" fmla="*/ 4 h 86"/>
                <a:gd name="T44" fmla="*/ 66 w 85"/>
                <a:gd name="T45" fmla="*/ 8 h 86"/>
                <a:gd name="T46" fmla="*/ 73 w 85"/>
                <a:gd name="T47" fmla="*/ 12 h 86"/>
                <a:gd name="T48" fmla="*/ 78 w 85"/>
                <a:gd name="T49" fmla="*/ 19 h 86"/>
                <a:gd name="T50" fmla="*/ 83 w 85"/>
                <a:gd name="T51" fmla="*/ 26 h 86"/>
                <a:gd name="T52" fmla="*/ 84 w 85"/>
                <a:gd name="T53" fmla="*/ 34 h 86"/>
                <a:gd name="T54" fmla="*/ 85 w 85"/>
                <a:gd name="T55" fmla="*/ 44 h 86"/>
                <a:gd name="T56" fmla="*/ 85 w 85"/>
                <a:gd name="T57" fmla="*/ 44 h 86"/>
                <a:gd name="T58" fmla="*/ 84 w 85"/>
                <a:gd name="T59" fmla="*/ 52 h 86"/>
                <a:gd name="T60" fmla="*/ 83 w 85"/>
                <a:gd name="T61" fmla="*/ 60 h 86"/>
                <a:gd name="T62" fmla="*/ 78 w 85"/>
                <a:gd name="T63" fmla="*/ 67 h 86"/>
                <a:gd name="T64" fmla="*/ 73 w 85"/>
                <a:gd name="T65" fmla="*/ 74 h 86"/>
                <a:gd name="T66" fmla="*/ 66 w 85"/>
                <a:gd name="T67" fmla="*/ 78 h 86"/>
                <a:gd name="T68" fmla="*/ 59 w 85"/>
                <a:gd name="T69" fmla="*/ 82 h 86"/>
                <a:gd name="T70" fmla="*/ 51 w 85"/>
                <a:gd name="T71" fmla="*/ 85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3" y="26"/>
                  </a:lnTo>
                  <a:lnTo>
                    <a:pt x="84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4" y="52"/>
                  </a:lnTo>
                  <a:lnTo>
                    <a:pt x="83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6"/>
            <p:cNvSpPr>
              <a:spLocks/>
            </p:cNvSpPr>
            <p:nvPr userDrawn="1"/>
          </p:nvSpPr>
          <p:spPr bwMode="auto">
            <a:xfrm>
              <a:off x="3536" y="835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3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6 h 86"/>
                <a:gd name="T14" fmla="*/ 3 w 85"/>
                <a:gd name="T15" fmla="*/ 59 h 86"/>
                <a:gd name="T16" fmla="*/ 0 w 85"/>
                <a:gd name="T17" fmla="*/ 51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6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3 h 86"/>
                <a:gd name="T34" fmla="*/ 33 w 85"/>
                <a:gd name="T35" fmla="*/ 0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0 h 86"/>
                <a:gd name="T42" fmla="*/ 59 w 85"/>
                <a:gd name="T43" fmla="*/ 3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1 w 85"/>
                <a:gd name="T51" fmla="*/ 26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1 h 86"/>
                <a:gd name="T60" fmla="*/ 81 w 85"/>
                <a:gd name="T61" fmla="*/ 59 h 86"/>
                <a:gd name="T62" fmla="*/ 78 w 85"/>
                <a:gd name="T63" fmla="*/ 66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3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6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0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1" y="26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1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7"/>
            <p:cNvSpPr>
              <a:spLocks/>
            </p:cNvSpPr>
            <p:nvPr userDrawn="1"/>
          </p:nvSpPr>
          <p:spPr bwMode="auto">
            <a:xfrm>
              <a:off x="3536" y="891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3 w 85"/>
                <a:gd name="T5" fmla="*/ 85 h 85"/>
                <a:gd name="T6" fmla="*/ 26 w 85"/>
                <a:gd name="T7" fmla="*/ 83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3 h 85"/>
                <a:gd name="T20" fmla="*/ 0 w 85"/>
                <a:gd name="T21" fmla="*/ 43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3 h 85"/>
                <a:gd name="T34" fmla="*/ 33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3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1 w 85"/>
                <a:gd name="T51" fmla="*/ 26 h 85"/>
                <a:gd name="T52" fmla="*/ 84 w 85"/>
                <a:gd name="T53" fmla="*/ 34 h 85"/>
                <a:gd name="T54" fmla="*/ 85 w 85"/>
                <a:gd name="T55" fmla="*/ 43 h 85"/>
                <a:gd name="T56" fmla="*/ 85 w 85"/>
                <a:gd name="T57" fmla="*/ 43 h 85"/>
                <a:gd name="T58" fmla="*/ 84 w 85"/>
                <a:gd name="T59" fmla="*/ 51 h 85"/>
                <a:gd name="T60" fmla="*/ 81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3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3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1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8"/>
            <p:cNvSpPr>
              <a:spLocks/>
            </p:cNvSpPr>
            <p:nvPr userDrawn="1"/>
          </p:nvSpPr>
          <p:spPr bwMode="auto">
            <a:xfrm>
              <a:off x="3536" y="947"/>
              <a:ext cx="43" cy="43"/>
            </a:xfrm>
            <a:custGeom>
              <a:avLst/>
              <a:gdLst>
                <a:gd name="T0" fmla="*/ 43 w 85"/>
                <a:gd name="T1" fmla="*/ 85 h 85"/>
                <a:gd name="T2" fmla="*/ 43 w 85"/>
                <a:gd name="T3" fmla="*/ 85 h 85"/>
                <a:gd name="T4" fmla="*/ 33 w 85"/>
                <a:gd name="T5" fmla="*/ 85 h 85"/>
                <a:gd name="T6" fmla="*/ 26 w 85"/>
                <a:gd name="T7" fmla="*/ 82 h 85"/>
                <a:gd name="T8" fmla="*/ 18 w 85"/>
                <a:gd name="T9" fmla="*/ 78 h 85"/>
                <a:gd name="T10" fmla="*/ 12 w 85"/>
                <a:gd name="T11" fmla="*/ 73 h 85"/>
                <a:gd name="T12" fmla="*/ 7 w 85"/>
                <a:gd name="T13" fmla="*/ 67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2 h 85"/>
                <a:gd name="T20" fmla="*/ 0 w 85"/>
                <a:gd name="T21" fmla="*/ 42 h 85"/>
                <a:gd name="T22" fmla="*/ 0 w 85"/>
                <a:gd name="T23" fmla="*/ 34 h 85"/>
                <a:gd name="T24" fmla="*/ 3 w 85"/>
                <a:gd name="T25" fmla="*/ 26 h 85"/>
                <a:gd name="T26" fmla="*/ 7 w 85"/>
                <a:gd name="T27" fmla="*/ 19 h 85"/>
                <a:gd name="T28" fmla="*/ 12 w 85"/>
                <a:gd name="T29" fmla="*/ 12 h 85"/>
                <a:gd name="T30" fmla="*/ 18 w 85"/>
                <a:gd name="T31" fmla="*/ 7 h 85"/>
                <a:gd name="T32" fmla="*/ 26 w 85"/>
                <a:gd name="T33" fmla="*/ 2 h 85"/>
                <a:gd name="T34" fmla="*/ 33 w 85"/>
                <a:gd name="T35" fmla="*/ 1 h 85"/>
                <a:gd name="T36" fmla="*/ 43 w 85"/>
                <a:gd name="T37" fmla="*/ 0 h 85"/>
                <a:gd name="T38" fmla="*/ 43 w 85"/>
                <a:gd name="T39" fmla="*/ 0 h 85"/>
                <a:gd name="T40" fmla="*/ 51 w 85"/>
                <a:gd name="T41" fmla="*/ 1 h 85"/>
                <a:gd name="T42" fmla="*/ 59 w 85"/>
                <a:gd name="T43" fmla="*/ 2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9 h 85"/>
                <a:gd name="T50" fmla="*/ 81 w 85"/>
                <a:gd name="T51" fmla="*/ 26 h 85"/>
                <a:gd name="T52" fmla="*/ 84 w 85"/>
                <a:gd name="T53" fmla="*/ 34 h 85"/>
                <a:gd name="T54" fmla="*/ 85 w 85"/>
                <a:gd name="T55" fmla="*/ 42 h 85"/>
                <a:gd name="T56" fmla="*/ 85 w 85"/>
                <a:gd name="T57" fmla="*/ 42 h 85"/>
                <a:gd name="T58" fmla="*/ 84 w 85"/>
                <a:gd name="T59" fmla="*/ 51 h 85"/>
                <a:gd name="T60" fmla="*/ 81 w 85"/>
                <a:gd name="T61" fmla="*/ 59 h 85"/>
                <a:gd name="T62" fmla="*/ 78 w 85"/>
                <a:gd name="T63" fmla="*/ 67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2 h 85"/>
                <a:gd name="T70" fmla="*/ 51 w 85"/>
                <a:gd name="T71" fmla="*/ 85 h 85"/>
                <a:gd name="T72" fmla="*/ 43 w 85"/>
                <a:gd name="T73" fmla="*/ 85 h 85"/>
                <a:gd name="T74" fmla="*/ 43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3" y="85"/>
                  </a:moveTo>
                  <a:lnTo>
                    <a:pt x="43" y="85"/>
                  </a:lnTo>
                  <a:lnTo>
                    <a:pt x="33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1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5"/>
                  </a:lnTo>
                  <a:lnTo>
                    <a:pt x="43" y="85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9"/>
            <p:cNvSpPr>
              <a:spLocks/>
            </p:cNvSpPr>
            <p:nvPr userDrawn="1"/>
          </p:nvSpPr>
          <p:spPr bwMode="auto">
            <a:xfrm>
              <a:off x="3536" y="1004"/>
              <a:ext cx="43" cy="42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3 w 85"/>
                <a:gd name="T5" fmla="*/ 86 h 86"/>
                <a:gd name="T6" fmla="*/ 26 w 85"/>
                <a:gd name="T7" fmla="*/ 83 h 86"/>
                <a:gd name="T8" fmla="*/ 18 w 85"/>
                <a:gd name="T9" fmla="*/ 79 h 86"/>
                <a:gd name="T10" fmla="*/ 12 w 85"/>
                <a:gd name="T11" fmla="*/ 73 h 86"/>
                <a:gd name="T12" fmla="*/ 7 w 85"/>
                <a:gd name="T13" fmla="*/ 68 h 86"/>
                <a:gd name="T14" fmla="*/ 3 w 85"/>
                <a:gd name="T15" fmla="*/ 59 h 86"/>
                <a:gd name="T16" fmla="*/ 0 w 85"/>
                <a:gd name="T17" fmla="*/ 53 h 86"/>
                <a:gd name="T18" fmla="*/ 0 w 85"/>
                <a:gd name="T19" fmla="*/ 43 h 86"/>
                <a:gd name="T20" fmla="*/ 0 w 85"/>
                <a:gd name="T21" fmla="*/ 43 h 86"/>
                <a:gd name="T22" fmla="*/ 0 w 85"/>
                <a:gd name="T23" fmla="*/ 35 h 86"/>
                <a:gd name="T24" fmla="*/ 3 w 85"/>
                <a:gd name="T25" fmla="*/ 27 h 86"/>
                <a:gd name="T26" fmla="*/ 7 w 85"/>
                <a:gd name="T27" fmla="*/ 20 h 86"/>
                <a:gd name="T28" fmla="*/ 12 w 85"/>
                <a:gd name="T29" fmla="*/ 13 h 86"/>
                <a:gd name="T30" fmla="*/ 18 w 85"/>
                <a:gd name="T31" fmla="*/ 7 h 86"/>
                <a:gd name="T32" fmla="*/ 26 w 85"/>
                <a:gd name="T33" fmla="*/ 5 h 86"/>
                <a:gd name="T34" fmla="*/ 33 w 85"/>
                <a:gd name="T35" fmla="*/ 2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2 h 86"/>
                <a:gd name="T42" fmla="*/ 59 w 85"/>
                <a:gd name="T43" fmla="*/ 5 h 86"/>
                <a:gd name="T44" fmla="*/ 66 w 85"/>
                <a:gd name="T45" fmla="*/ 7 h 86"/>
                <a:gd name="T46" fmla="*/ 73 w 85"/>
                <a:gd name="T47" fmla="*/ 13 h 86"/>
                <a:gd name="T48" fmla="*/ 78 w 85"/>
                <a:gd name="T49" fmla="*/ 20 h 86"/>
                <a:gd name="T50" fmla="*/ 81 w 85"/>
                <a:gd name="T51" fmla="*/ 27 h 86"/>
                <a:gd name="T52" fmla="*/ 84 w 85"/>
                <a:gd name="T53" fmla="*/ 35 h 86"/>
                <a:gd name="T54" fmla="*/ 85 w 85"/>
                <a:gd name="T55" fmla="*/ 43 h 86"/>
                <a:gd name="T56" fmla="*/ 85 w 85"/>
                <a:gd name="T57" fmla="*/ 43 h 86"/>
                <a:gd name="T58" fmla="*/ 84 w 85"/>
                <a:gd name="T59" fmla="*/ 53 h 86"/>
                <a:gd name="T60" fmla="*/ 81 w 85"/>
                <a:gd name="T61" fmla="*/ 59 h 86"/>
                <a:gd name="T62" fmla="*/ 78 w 85"/>
                <a:gd name="T63" fmla="*/ 68 h 86"/>
                <a:gd name="T64" fmla="*/ 73 w 85"/>
                <a:gd name="T65" fmla="*/ 73 h 86"/>
                <a:gd name="T66" fmla="*/ 66 w 85"/>
                <a:gd name="T67" fmla="*/ 79 h 86"/>
                <a:gd name="T68" fmla="*/ 59 w 85"/>
                <a:gd name="T69" fmla="*/ 83 h 86"/>
                <a:gd name="T70" fmla="*/ 51 w 85"/>
                <a:gd name="T71" fmla="*/ 86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3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3" y="59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3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5"/>
                  </a:lnTo>
                  <a:lnTo>
                    <a:pt x="33" y="2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1" y="27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3"/>
                  </a:lnTo>
                  <a:lnTo>
                    <a:pt x="81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60"/>
            <p:cNvSpPr>
              <a:spLocks/>
            </p:cNvSpPr>
            <p:nvPr userDrawn="1"/>
          </p:nvSpPr>
          <p:spPr bwMode="auto">
            <a:xfrm>
              <a:off x="3536" y="1060"/>
              <a:ext cx="43" cy="43"/>
            </a:xfrm>
            <a:custGeom>
              <a:avLst/>
              <a:gdLst>
                <a:gd name="T0" fmla="*/ 43 w 85"/>
                <a:gd name="T1" fmla="*/ 87 h 87"/>
                <a:gd name="T2" fmla="*/ 43 w 85"/>
                <a:gd name="T3" fmla="*/ 87 h 87"/>
                <a:gd name="T4" fmla="*/ 33 w 85"/>
                <a:gd name="T5" fmla="*/ 85 h 87"/>
                <a:gd name="T6" fmla="*/ 26 w 85"/>
                <a:gd name="T7" fmla="*/ 83 h 87"/>
                <a:gd name="T8" fmla="*/ 18 w 85"/>
                <a:gd name="T9" fmla="*/ 78 h 87"/>
                <a:gd name="T10" fmla="*/ 12 w 85"/>
                <a:gd name="T11" fmla="*/ 73 h 87"/>
                <a:gd name="T12" fmla="*/ 7 w 85"/>
                <a:gd name="T13" fmla="*/ 67 h 87"/>
                <a:gd name="T14" fmla="*/ 3 w 85"/>
                <a:gd name="T15" fmla="*/ 61 h 87"/>
                <a:gd name="T16" fmla="*/ 0 w 85"/>
                <a:gd name="T17" fmla="*/ 52 h 87"/>
                <a:gd name="T18" fmla="*/ 0 w 85"/>
                <a:gd name="T19" fmla="*/ 43 h 87"/>
                <a:gd name="T20" fmla="*/ 0 w 85"/>
                <a:gd name="T21" fmla="*/ 43 h 87"/>
                <a:gd name="T22" fmla="*/ 0 w 85"/>
                <a:gd name="T23" fmla="*/ 34 h 87"/>
                <a:gd name="T24" fmla="*/ 3 w 85"/>
                <a:gd name="T25" fmla="*/ 26 h 87"/>
                <a:gd name="T26" fmla="*/ 7 w 85"/>
                <a:gd name="T27" fmla="*/ 19 h 87"/>
                <a:gd name="T28" fmla="*/ 12 w 85"/>
                <a:gd name="T29" fmla="*/ 12 h 87"/>
                <a:gd name="T30" fmla="*/ 18 w 85"/>
                <a:gd name="T31" fmla="*/ 8 h 87"/>
                <a:gd name="T32" fmla="*/ 26 w 85"/>
                <a:gd name="T33" fmla="*/ 4 h 87"/>
                <a:gd name="T34" fmla="*/ 33 w 85"/>
                <a:gd name="T35" fmla="*/ 1 h 87"/>
                <a:gd name="T36" fmla="*/ 43 w 85"/>
                <a:gd name="T37" fmla="*/ 0 h 87"/>
                <a:gd name="T38" fmla="*/ 43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6 w 85"/>
                <a:gd name="T45" fmla="*/ 8 h 87"/>
                <a:gd name="T46" fmla="*/ 73 w 85"/>
                <a:gd name="T47" fmla="*/ 12 h 87"/>
                <a:gd name="T48" fmla="*/ 78 w 85"/>
                <a:gd name="T49" fmla="*/ 19 h 87"/>
                <a:gd name="T50" fmla="*/ 81 w 85"/>
                <a:gd name="T51" fmla="*/ 26 h 87"/>
                <a:gd name="T52" fmla="*/ 84 w 85"/>
                <a:gd name="T53" fmla="*/ 34 h 87"/>
                <a:gd name="T54" fmla="*/ 85 w 85"/>
                <a:gd name="T55" fmla="*/ 43 h 87"/>
                <a:gd name="T56" fmla="*/ 85 w 85"/>
                <a:gd name="T57" fmla="*/ 43 h 87"/>
                <a:gd name="T58" fmla="*/ 84 w 85"/>
                <a:gd name="T59" fmla="*/ 52 h 87"/>
                <a:gd name="T60" fmla="*/ 81 w 85"/>
                <a:gd name="T61" fmla="*/ 61 h 87"/>
                <a:gd name="T62" fmla="*/ 78 w 85"/>
                <a:gd name="T63" fmla="*/ 67 h 87"/>
                <a:gd name="T64" fmla="*/ 73 w 85"/>
                <a:gd name="T65" fmla="*/ 73 h 87"/>
                <a:gd name="T66" fmla="*/ 66 w 85"/>
                <a:gd name="T67" fmla="*/ 78 h 87"/>
                <a:gd name="T68" fmla="*/ 59 w 85"/>
                <a:gd name="T69" fmla="*/ 83 h 87"/>
                <a:gd name="T70" fmla="*/ 51 w 85"/>
                <a:gd name="T71" fmla="*/ 85 h 87"/>
                <a:gd name="T72" fmla="*/ 43 w 85"/>
                <a:gd name="T73" fmla="*/ 87 h 87"/>
                <a:gd name="T74" fmla="*/ 43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3" y="87"/>
                  </a:moveTo>
                  <a:lnTo>
                    <a:pt x="43" y="87"/>
                  </a:lnTo>
                  <a:lnTo>
                    <a:pt x="33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3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2"/>
                  </a:lnTo>
                  <a:lnTo>
                    <a:pt x="81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3" y="87"/>
                  </a:lnTo>
                  <a:lnTo>
                    <a:pt x="43" y="87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61"/>
            <p:cNvSpPr>
              <a:spLocks/>
            </p:cNvSpPr>
            <p:nvPr userDrawn="1"/>
          </p:nvSpPr>
          <p:spPr bwMode="auto">
            <a:xfrm>
              <a:off x="3536" y="1116"/>
              <a:ext cx="43" cy="44"/>
            </a:xfrm>
            <a:custGeom>
              <a:avLst/>
              <a:gdLst>
                <a:gd name="T0" fmla="*/ 43 w 85"/>
                <a:gd name="T1" fmla="*/ 86 h 86"/>
                <a:gd name="T2" fmla="*/ 43 w 85"/>
                <a:gd name="T3" fmla="*/ 86 h 86"/>
                <a:gd name="T4" fmla="*/ 33 w 85"/>
                <a:gd name="T5" fmla="*/ 85 h 86"/>
                <a:gd name="T6" fmla="*/ 26 w 85"/>
                <a:gd name="T7" fmla="*/ 82 h 86"/>
                <a:gd name="T8" fmla="*/ 18 w 85"/>
                <a:gd name="T9" fmla="*/ 78 h 86"/>
                <a:gd name="T10" fmla="*/ 12 w 85"/>
                <a:gd name="T11" fmla="*/ 74 h 86"/>
                <a:gd name="T12" fmla="*/ 7 w 85"/>
                <a:gd name="T13" fmla="*/ 67 h 86"/>
                <a:gd name="T14" fmla="*/ 3 w 85"/>
                <a:gd name="T15" fmla="*/ 60 h 86"/>
                <a:gd name="T16" fmla="*/ 0 w 85"/>
                <a:gd name="T17" fmla="*/ 52 h 86"/>
                <a:gd name="T18" fmla="*/ 0 w 85"/>
                <a:gd name="T19" fmla="*/ 44 h 86"/>
                <a:gd name="T20" fmla="*/ 0 w 85"/>
                <a:gd name="T21" fmla="*/ 44 h 86"/>
                <a:gd name="T22" fmla="*/ 0 w 85"/>
                <a:gd name="T23" fmla="*/ 34 h 86"/>
                <a:gd name="T24" fmla="*/ 3 w 85"/>
                <a:gd name="T25" fmla="*/ 26 h 86"/>
                <a:gd name="T26" fmla="*/ 7 w 85"/>
                <a:gd name="T27" fmla="*/ 19 h 86"/>
                <a:gd name="T28" fmla="*/ 12 w 85"/>
                <a:gd name="T29" fmla="*/ 12 h 86"/>
                <a:gd name="T30" fmla="*/ 18 w 85"/>
                <a:gd name="T31" fmla="*/ 8 h 86"/>
                <a:gd name="T32" fmla="*/ 26 w 85"/>
                <a:gd name="T33" fmla="*/ 4 h 86"/>
                <a:gd name="T34" fmla="*/ 33 w 85"/>
                <a:gd name="T35" fmla="*/ 1 h 86"/>
                <a:gd name="T36" fmla="*/ 43 w 85"/>
                <a:gd name="T37" fmla="*/ 0 h 86"/>
                <a:gd name="T38" fmla="*/ 43 w 85"/>
                <a:gd name="T39" fmla="*/ 0 h 86"/>
                <a:gd name="T40" fmla="*/ 51 w 85"/>
                <a:gd name="T41" fmla="*/ 1 h 86"/>
                <a:gd name="T42" fmla="*/ 59 w 85"/>
                <a:gd name="T43" fmla="*/ 4 h 86"/>
                <a:gd name="T44" fmla="*/ 66 w 85"/>
                <a:gd name="T45" fmla="*/ 8 h 86"/>
                <a:gd name="T46" fmla="*/ 73 w 85"/>
                <a:gd name="T47" fmla="*/ 12 h 86"/>
                <a:gd name="T48" fmla="*/ 78 w 85"/>
                <a:gd name="T49" fmla="*/ 19 h 86"/>
                <a:gd name="T50" fmla="*/ 81 w 85"/>
                <a:gd name="T51" fmla="*/ 26 h 86"/>
                <a:gd name="T52" fmla="*/ 84 w 85"/>
                <a:gd name="T53" fmla="*/ 34 h 86"/>
                <a:gd name="T54" fmla="*/ 85 w 85"/>
                <a:gd name="T55" fmla="*/ 44 h 86"/>
                <a:gd name="T56" fmla="*/ 85 w 85"/>
                <a:gd name="T57" fmla="*/ 44 h 86"/>
                <a:gd name="T58" fmla="*/ 84 w 85"/>
                <a:gd name="T59" fmla="*/ 52 h 86"/>
                <a:gd name="T60" fmla="*/ 81 w 85"/>
                <a:gd name="T61" fmla="*/ 60 h 86"/>
                <a:gd name="T62" fmla="*/ 78 w 85"/>
                <a:gd name="T63" fmla="*/ 67 h 86"/>
                <a:gd name="T64" fmla="*/ 73 w 85"/>
                <a:gd name="T65" fmla="*/ 74 h 86"/>
                <a:gd name="T66" fmla="*/ 66 w 85"/>
                <a:gd name="T67" fmla="*/ 78 h 86"/>
                <a:gd name="T68" fmla="*/ 59 w 85"/>
                <a:gd name="T69" fmla="*/ 82 h 86"/>
                <a:gd name="T70" fmla="*/ 51 w 85"/>
                <a:gd name="T71" fmla="*/ 85 h 86"/>
                <a:gd name="T72" fmla="*/ 43 w 85"/>
                <a:gd name="T73" fmla="*/ 86 h 86"/>
                <a:gd name="T74" fmla="*/ 43 w 8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3" y="86"/>
                  </a:moveTo>
                  <a:lnTo>
                    <a:pt x="43" y="86"/>
                  </a:lnTo>
                  <a:lnTo>
                    <a:pt x="33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3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3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3" y="86"/>
                  </a:lnTo>
                  <a:lnTo>
                    <a:pt x="43" y="86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62"/>
            <p:cNvSpPr>
              <a:spLocks/>
            </p:cNvSpPr>
            <p:nvPr userDrawn="1"/>
          </p:nvSpPr>
          <p:spPr bwMode="auto">
            <a:xfrm>
              <a:off x="3875" y="1342"/>
              <a:ext cx="43" cy="43"/>
            </a:xfrm>
            <a:custGeom>
              <a:avLst/>
              <a:gdLst>
                <a:gd name="T0" fmla="*/ 42 w 86"/>
                <a:gd name="T1" fmla="*/ 0 h 85"/>
                <a:gd name="T2" fmla="*/ 42 w 86"/>
                <a:gd name="T3" fmla="*/ 0 h 85"/>
                <a:gd name="T4" fmla="*/ 52 w 86"/>
                <a:gd name="T5" fmla="*/ 0 h 85"/>
                <a:gd name="T6" fmla="*/ 59 w 86"/>
                <a:gd name="T7" fmla="*/ 3 h 85"/>
                <a:gd name="T8" fmla="*/ 67 w 86"/>
                <a:gd name="T9" fmla="*/ 7 h 85"/>
                <a:gd name="T10" fmla="*/ 73 w 86"/>
                <a:gd name="T11" fmla="*/ 12 h 85"/>
                <a:gd name="T12" fmla="*/ 78 w 86"/>
                <a:gd name="T13" fmla="*/ 18 h 85"/>
                <a:gd name="T14" fmla="*/ 82 w 86"/>
                <a:gd name="T15" fmla="*/ 26 h 85"/>
                <a:gd name="T16" fmla="*/ 85 w 86"/>
                <a:gd name="T17" fmla="*/ 34 h 85"/>
                <a:gd name="T18" fmla="*/ 86 w 86"/>
                <a:gd name="T19" fmla="*/ 42 h 85"/>
                <a:gd name="T20" fmla="*/ 86 w 86"/>
                <a:gd name="T21" fmla="*/ 42 h 85"/>
                <a:gd name="T22" fmla="*/ 85 w 86"/>
                <a:gd name="T23" fmla="*/ 51 h 85"/>
                <a:gd name="T24" fmla="*/ 82 w 86"/>
                <a:gd name="T25" fmla="*/ 59 h 85"/>
                <a:gd name="T26" fmla="*/ 78 w 86"/>
                <a:gd name="T27" fmla="*/ 66 h 85"/>
                <a:gd name="T28" fmla="*/ 73 w 86"/>
                <a:gd name="T29" fmla="*/ 73 h 85"/>
                <a:gd name="T30" fmla="*/ 67 w 86"/>
                <a:gd name="T31" fmla="*/ 78 h 85"/>
                <a:gd name="T32" fmla="*/ 59 w 86"/>
                <a:gd name="T33" fmla="*/ 82 h 85"/>
                <a:gd name="T34" fmla="*/ 52 w 86"/>
                <a:gd name="T35" fmla="*/ 84 h 85"/>
                <a:gd name="T36" fmla="*/ 42 w 86"/>
                <a:gd name="T37" fmla="*/ 85 h 85"/>
                <a:gd name="T38" fmla="*/ 42 w 86"/>
                <a:gd name="T39" fmla="*/ 85 h 85"/>
                <a:gd name="T40" fmla="*/ 34 w 86"/>
                <a:gd name="T41" fmla="*/ 84 h 85"/>
                <a:gd name="T42" fmla="*/ 26 w 86"/>
                <a:gd name="T43" fmla="*/ 82 h 85"/>
                <a:gd name="T44" fmla="*/ 19 w 86"/>
                <a:gd name="T45" fmla="*/ 78 h 85"/>
                <a:gd name="T46" fmla="*/ 12 w 86"/>
                <a:gd name="T47" fmla="*/ 73 h 85"/>
                <a:gd name="T48" fmla="*/ 6 w 86"/>
                <a:gd name="T49" fmla="*/ 66 h 85"/>
                <a:gd name="T50" fmla="*/ 4 w 86"/>
                <a:gd name="T51" fmla="*/ 59 h 85"/>
                <a:gd name="T52" fmla="*/ 1 w 86"/>
                <a:gd name="T53" fmla="*/ 51 h 85"/>
                <a:gd name="T54" fmla="*/ 0 w 86"/>
                <a:gd name="T55" fmla="*/ 42 h 85"/>
                <a:gd name="T56" fmla="*/ 0 w 86"/>
                <a:gd name="T57" fmla="*/ 42 h 85"/>
                <a:gd name="T58" fmla="*/ 1 w 86"/>
                <a:gd name="T59" fmla="*/ 34 h 85"/>
                <a:gd name="T60" fmla="*/ 4 w 86"/>
                <a:gd name="T61" fmla="*/ 26 h 85"/>
                <a:gd name="T62" fmla="*/ 6 w 86"/>
                <a:gd name="T63" fmla="*/ 18 h 85"/>
                <a:gd name="T64" fmla="*/ 12 w 86"/>
                <a:gd name="T65" fmla="*/ 12 h 85"/>
                <a:gd name="T66" fmla="*/ 19 w 86"/>
                <a:gd name="T67" fmla="*/ 7 h 85"/>
                <a:gd name="T68" fmla="*/ 26 w 86"/>
                <a:gd name="T69" fmla="*/ 3 h 85"/>
                <a:gd name="T70" fmla="*/ 34 w 86"/>
                <a:gd name="T71" fmla="*/ 0 h 85"/>
                <a:gd name="T72" fmla="*/ 42 w 86"/>
                <a:gd name="T73" fmla="*/ 0 h 85"/>
                <a:gd name="T74" fmla="*/ 42 w 86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6" h="85">
                  <a:moveTo>
                    <a:pt x="42" y="0"/>
                  </a:moveTo>
                  <a:lnTo>
                    <a:pt x="42" y="0"/>
                  </a:lnTo>
                  <a:lnTo>
                    <a:pt x="52" y="0"/>
                  </a:lnTo>
                  <a:lnTo>
                    <a:pt x="59" y="3"/>
                  </a:lnTo>
                  <a:lnTo>
                    <a:pt x="67" y="7"/>
                  </a:lnTo>
                  <a:lnTo>
                    <a:pt x="73" y="12"/>
                  </a:lnTo>
                  <a:lnTo>
                    <a:pt x="78" y="18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2"/>
                  </a:lnTo>
                  <a:lnTo>
                    <a:pt x="52" y="84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34" y="84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6" y="66"/>
                  </a:lnTo>
                  <a:lnTo>
                    <a:pt x="4" y="59"/>
                  </a:lnTo>
                  <a:lnTo>
                    <a:pt x="1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3"/>
            <p:cNvSpPr>
              <a:spLocks/>
            </p:cNvSpPr>
            <p:nvPr userDrawn="1"/>
          </p:nvSpPr>
          <p:spPr bwMode="auto">
            <a:xfrm>
              <a:off x="3875" y="1060"/>
              <a:ext cx="43" cy="43"/>
            </a:xfrm>
            <a:custGeom>
              <a:avLst/>
              <a:gdLst>
                <a:gd name="T0" fmla="*/ 42 w 86"/>
                <a:gd name="T1" fmla="*/ 0 h 87"/>
                <a:gd name="T2" fmla="*/ 42 w 86"/>
                <a:gd name="T3" fmla="*/ 0 h 87"/>
                <a:gd name="T4" fmla="*/ 52 w 86"/>
                <a:gd name="T5" fmla="*/ 1 h 87"/>
                <a:gd name="T6" fmla="*/ 59 w 86"/>
                <a:gd name="T7" fmla="*/ 4 h 87"/>
                <a:gd name="T8" fmla="*/ 67 w 86"/>
                <a:gd name="T9" fmla="*/ 8 h 87"/>
                <a:gd name="T10" fmla="*/ 73 w 86"/>
                <a:gd name="T11" fmla="*/ 12 h 87"/>
                <a:gd name="T12" fmla="*/ 78 w 86"/>
                <a:gd name="T13" fmla="*/ 19 h 87"/>
                <a:gd name="T14" fmla="*/ 82 w 86"/>
                <a:gd name="T15" fmla="*/ 26 h 87"/>
                <a:gd name="T16" fmla="*/ 85 w 86"/>
                <a:gd name="T17" fmla="*/ 34 h 87"/>
                <a:gd name="T18" fmla="*/ 86 w 86"/>
                <a:gd name="T19" fmla="*/ 43 h 87"/>
                <a:gd name="T20" fmla="*/ 86 w 86"/>
                <a:gd name="T21" fmla="*/ 43 h 87"/>
                <a:gd name="T22" fmla="*/ 85 w 86"/>
                <a:gd name="T23" fmla="*/ 52 h 87"/>
                <a:gd name="T24" fmla="*/ 82 w 86"/>
                <a:gd name="T25" fmla="*/ 61 h 87"/>
                <a:gd name="T26" fmla="*/ 78 w 86"/>
                <a:gd name="T27" fmla="*/ 67 h 87"/>
                <a:gd name="T28" fmla="*/ 73 w 86"/>
                <a:gd name="T29" fmla="*/ 73 h 87"/>
                <a:gd name="T30" fmla="*/ 67 w 86"/>
                <a:gd name="T31" fmla="*/ 78 h 87"/>
                <a:gd name="T32" fmla="*/ 59 w 86"/>
                <a:gd name="T33" fmla="*/ 83 h 87"/>
                <a:gd name="T34" fmla="*/ 52 w 86"/>
                <a:gd name="T35" fmla="*/ 85 h 87"/>
                <a:gd name="T36" fmla="*/ 42 w 86"/>
                <a:gd name="T37" fmla="*/ 87 h 87"/>
                <a:gd name="T38" fmla="*/ 42 w 86"/>
                <a:gd name="T39" fmla="*/ 87 h 87"/>
                <a:gd name="T40" fmla="*/ 34 w 86"/>
                <a:gd name="T41" fmla="*/ 85 h 87"/>
                <a:gd name="T42" fmla="*/ 26 w 86"/>
                <a:gd name="T43" fmla="*/ 83 h 87"/>
                <a:gd name="T44" fmla="*/ 19 w 86"/>
                <a:gd name="T45" fmla="*/ 78 h 87"/>
                <a:gd name="T46" fmla="*/ 12 w 86"/>
                <a:gd name="T47" fmla="*/ 73 h 87"/>
                <a:gd name="T48" fmla="*/ 6 w 86"/>
                <a:gd name="T49" fmla="*/ 67 h 87"/>
                <a:gd name="T50" fmla="*/ 4 w 86"/>
                <a:gd name="T51" fmla="*/ 61 h 87"/>
                <a:gd name="T52" fmla="*/ 1 w 86"/>
                <a:gd name="T53" fmla="*/ 52 h 87"/>
                <a:gd name="T54" fmla="*/ 0 w 86"/>
                <a:gd name="T55" fmla="*/ 43 h 87"/>
                <a:gd name="T56" fmla="*/ 0 w 86"/>
                <a:gd name="T57" fmla="*/ 43 h 87"/>
                <a:gd name="T58" fmla="*/ 1 w 86"/>
                <a:gd name="T59" fmla="*/ 34 h 87"/>
                <a:gd name="T60" fmla="*/ 4 w 86"/>
                <a:gd name="T61" fmla="*/ 26 h 87"/>
                <a:gd name="T62" fmla="*/ 6 w 86"/>
                <a:gd name="T63" fmla="*/ 19 h 87"/>
                <a:gd name="T64" fmla="*/ 12 w 86"/>
                <a:gd name="T65" fmla="*/ 12 h 87"/>
                <a:gd name="T66" fmla="*/ 19 w 86"/>
                <a:gd name="T67" fmla="*/ 8 h 87"/>
                <a:gd name="T68" fmla="*/ 26 w 86"/>
                <a:gd name="T69" fmla="*/ 4 h 87"/>
                <a:gd name="T70" fmla="*/ 34 w 86"/>
                <a:gd name="T71" fmla="*/ 1 h 87"/>
                <a:gd name="T72" fmla="*/ 42 w 86"/>
                <a:gd name="T73" fmla="*/ 0 h 87"/>
                <a:gd name="T74" fmla="*/ 42 w 86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6" h="87">
                  <a:moveTo>
                    <a:pt x="42" y="0"/>
                  </a:moveTo>
                  <a:lnTo>
                    <a:pt x="42" y="0"/>
                  </a:lnTo>
                  <a:lnTo>
                    <a:pt x="52" y="1"/>
                  </a:lnTo>
                  <a:lnTo>
                    <a:pt x="59" y="4"/>
                  </a:lnTo>
                  <a:lnTo>
                    <a:pt x="67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5" y="52"/>
                  </a:lnTo>
                  <a:lnTo>
                    <a:pt x="82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3"/>
                  </a:lnTo>
                  <a:lnTo>
                    <a:pt x="52" y="85"/>
                  </a:lnTo>
                  <a:lnTo>
                    <a:pt x="42" y="87"/>
                  </a:lnTo>
                  <a:lnTo>
                    <a:pt x="42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6" y="67"/>
                  </a:lnTo>
                  <a:lnTo>
                    <a:pt x="4" y="61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6" y="19"/>
                  </a:lnTo>
                  <a:lnTo>
                    <a:pt x="12" y="12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4"/>
            <p:cNvSpPr>
              <a:spLocks/>
            </p:cNvSpPr>
            <p:nvPr userDrawn="1"/>
          </p:nvSpPr>
          <p:spPr bwMode="auto">
            <a:xfrm>
              <a:off x="3875" y="1004"/>
              <a:ext cx="43" cy="42"/>
            </a:xfrm>
            <a:custGeom>
              <a:avLst/>
              <a:gdLst>
                <a:gd name="T0" fmla="*/ 42 w 86"/>
                <a:gd name="T1" fmla="*/ 0 h 86"/>
                <a:gd name="T2" fmla="*/ 42 w 86"/>
                <a:gd name="T3" fmla="*/ 0 h 86"/>
                <a:gd name="T4" fmla="*/ 52 w 86"/>
                <a:gd name="T5" fmla="*/ 2 h 86"/>
                <a:gd name="T6" fmla="*/ 59 w 86"/>
                <a:gd name="T7" fmla="*/ 5 h 86"/>
                <a:gd name="T8" fmla="*/ 67 w 86"/>
                <a:gd name="T9" fmla="*/ 7 h 86"/>
                <a:gd name="T10" fmla="*/ 73 w 86"/>
                <a:gd name="T11" fmla="*/ 13 h 86"/>
                <a:gd name="T12" fmla="*/ 78 w 86"/>
                <a:gd name="T13" fmla="*/ 20 h 86"/>
                <a:gd name="T14" fmla="*/ 82 w 86"/>
                <a:gd name="T15" fmla="*/ 27 h 86"/>
                <a:gd name="T16" fmla="*/ 85 w 86"/>
                <a:gd name="T17" fmla="*/ 35 h 86"/>
                <a:gd name="T18" fmla="*/ 86 w 86"/>
                <a:gd name="T19" fmla="*/ 43 h 86"/>
                <a:gd name="T20" fmla="*/ 86 w 86"/>
                <a:gd name="T21" fmla="*/ 43 h 86"/>
                <a:gd name="T22" fmla="*/ 85 w 86"/>
                <a:gd name="T23" fmla="*/ 53 h 86"/>
                <a:gd name="T24" fmla="*/ 82 w 86"/>
                <a:gd name="T25" fmla="*/ 59 h 86"/>
                <a:gd name="T26" fmla="*/ 78 w 86"/>
                <a:gd name="T27" fmla="*/ 68 h 86"/>
                <a:gd name="T28" fmla="*/ 73 w 86"/>
                <a:gd name="T29" fmla="*/ 73 h 86"/>
                <a:gd name="T30" fmla="*/ 67 w 86"/>
                <a:gd name="T31" fmla="*/ 79 h 86"/>
                <a:gd name="T32" fmla="*/ 59 w 86"/>
                <a:gd name="T33" fmla="*/ 83 h 86"/>
                <a:gd name="T34" fmla="*/ 52 w 86"/>
                <a:gd name="T35" fmla="*/ 86 h 86"/>
                <a:gd name="T36" fmla="*/ 42 w 86"/>
                <a:gd name="T37" fmla="*/ 86 h 86"/>
                <a:gd name="T38" fmla="*/ 42 w 86"/>
                <a:gd name="T39" fmla="*/ 86 h 86"/>
                <a:gd name="T40" fmla="*/ 34 w 86"/>
                <a:gd name="T41" fmla="*/ 86 h 86"/>
                <a:gd name="T42" fmla="*/ 26 w 86"/>
                <a:gd name="T43" fmla="*/ 83 h 86"/>
                <a:gd name="T44" fmla="*/ 19 w 86"/>
                <a:gd name="T45" fmla="*/ 79 h 86"/>
                <a:gd name="T46" fmla="*/ 12 w 86"/>
                <a:gd name="T47" fmla="*/ 73 h 86"/>
                <a:gd name="T48" fmla="*/ 6 w 86"/>
                <a:gd name="T49" fmla="*/ 68 h 86"/>
                <a:gd name="T50" fmla="*/ 4 w 86"/>
                <a:gd name="T51" fmla="*/ 59 h 86"/>
                <a:gd name="T52" fmla="*/ 1 w 86"/>
                <a:gd name="T53" fmla="*/ 53 h 86"/>
                <a:gd name="T54" fmla="*/ 0 w 86"/>
                <a:gd name="T55" fmla="*/ 43 h 86"/>
                <a:gd name="T56" fmla="*/ 0 w 86"/>
                <a:gd name="T57" fmla="*/ 43 h 86"/>
                <a:gd name="T58" fmla="*/ 1 w 86"/>
                <a:gd name="T59" fmla="*/ 35 h 86"/>
                <a:gd name="T60" fmla="*/ 4 w 86"/>
                <a:gd name="T61" fmla="*/ 27 h 86"/>
                <a:gd name="T62" fmla="*/ 6 w 86"/>
                <a:gd name="T63" fmla="*/ 20 h 86"/>
                <a:gd name="T64" fmla="*/ 12 w 86"/>
                <a:gd name="T65" fmla="*/ 13 h 86"/>
                <a:gd name="T66" fmla="*/ 19 w 86"/>
                <a:gd name="T67" fmla="*/ 7 h 86"/>
                <a:gd name="T68" fmla="*/ 26 w 86"/>
                <a:gd name="T69" fmla="*/ 5 h 86"/>
                <a:gd name="T70" fmla="*/ 34 w 86"/>
                <a:gd name="T71" fmla="*/ 2 h 86"/>
                <a:gd name="T72" fmla="*/ 42 w 86"/>
                <a:gd name="T73" fmla="*/ 0 h 86"/>
                <a:gd name="T74" fmla="*/ 42 w 86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52" y="2"/>
                  </a:lnTo>
                  <a:lnTo>
                    <a:pt x="59" y="5"/>
                  </a:lnTo>
                  <a:lnTo>
                    <a:pt x="67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2" y="27"/>
                  </a:lnTo>
                  <a:lnTo>
                    <a:pt x="85" y="35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5" y="53"/>
                  </a:lnTo>
                  <a:lnTo>
                    <a:pt x="82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7" y="79"/>
                  </a:lnTo>
                  <a:lnTo>
                    <a:pt x="59" y="83"/>
                  </a:lnTo>
                  <a:lnTo>
                    <a:pt x="5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6" y="68"/>
                  </a:lnTo>
                  <a:lnTo>
                    <a:pt x="4" y="59"/>
                  </a:lnTo>
                  <a:lnTo>
                    <a:pt x="1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4" y="27"/>
                  </a:lnTo>
                  <a:lnTo>
                    <a:pt x="6" y="20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5"/>
            <p:cNvSpPr>
              <a:spLocks/>
            </p:cNvSpPr>
            <p:nvPr userDrawn="1"/>
          </p:nvSpPr>
          <p:spPr bwMode="auto">
            <a:xfrm>
              <a:off x="3875" y="947"/>
              <a:ext cx="43" cy="43"/>
            </a:xfrm>
            <a:custGeom>
              <a:avLst/>
              <a:gdLst>
                <a:gd name="T0" fmla="*/ 42 w 86"/>
                <a:gd name="T1" fmla="*/ 0 h 85"/>
                <a:gd name="T2" fmla="*/ 42 w 86"/>
                <a:gd name="T3" fmla="*/ 0 h 85"/>
                <a:gd name="T4" fmla="*/ 52 w 86"/>
                <a:gd name="T5" fmla="*/ 1 h 85"/>
                <a:gd name="T6" fmla="*/ 59 w 86"/>
                <a:gd name="T7" fmla="*/ 2 h 85"/>
                <a:gd name="T8" fmla="*/ 67 w 86"/>
                <a:gd name="T9" fmla="*/ 7 h 85"/>
                <a:gd name="T10" fmla="*/ 73 w 86"/>
                <a:gd name="T11" fmla="*/ 12 h 85"/>
                <a:gd name="T12" fmla="*/ 78 w 86"/>
                <a:gd name="T13" fmla="*/ 19 h 85"/>
                <a:gd name="T14" fmla="*/ 82 w 86"/>
                <a:gd name="T15" fmla="*/ 26 h 85"/>
                <a:gd name="T16" fmla="*/ 85 w 86"/>
                <a:gd name="T17" fmla="*/ 34 h 85"/>
                <a:gd name="T18" fmla="*/ 86 w 86"/>
                <a:gd name="T19" fmla="*/ 42 h 85"/>
                <a:gd name="T20" fmla="*/ 86 w 86"/>
                <a:gd name="T21" fmla="*/ 42 h 85"/>
                <a:gd name="T22" fmla="*/ 85 w 86"/>
                <a:gd name="T23" fmla="*/ 51 h 85"/>
                <a:gd name="T24" fmla="*/ 82 w 86"/>
                <a:gd name="T25" fmla="*/ 59 h 85"/>
                <a:gd name="T26" fmla="*/ 78 w 86"/>
                <a:gd name="T27" fmla="*/ 67 h 85"/>
                <a:gd name="T28" fmla="*/ 73 w 86"/>
                <a:gd name="T29" fmla="*/ 73 h 85"/>
                <a:gd name="T30" fmla="*/ 67 w 86"/>
                <a:gd name="T31" fmla="*/ 78 h 85"/>
                <a:gd name="T32" fmla="*/ 59 w 86"/>
                <a:gd name="T33" fmla="*/ 82 h 85"/>
                <a:gd name="T34" fmla="*/ 52 w 86"/>
                <a:gd name="T35" fmla="*/ 85 h 85"/>
                <a:gd name="T36" fmla="*/ 42 w 86"/>
                <a:gd name="T37" fmla="*/ 85 h 85"/>
                <a:gd name="T38" fmla="*/ 42 w 86"/>
                <a:gd name="T39" fmla="*/ 85 h 85"/>
                <a:gd name="T40" fmla="*/ 34 w 86"/>
                <a:gd name="T41" fmla="*/ 85 h 85"/>
                <a:gd name="T42" fmla="*/ 26 w 86"/>
                <a:gd name="T43" fmla="*/ 82 h 85"/>
                <a:gd name="T44" fmla="*/ 19 w 86"/>
                <a:gd name="T45" fmla="*/ 78 h 85"/>
                <a:gd name="T46" fmla="*/ 12 w 86"/>
                <a:gd name="T47" fmla="*/ 73 h 85"/>
                <a:gd name="T48" fmla="*/ 6 w 86"/>
                <a:gd name="T49" fmla="*/ 67 h 85"/>
                <a:gd name="T50" fmla="*/ 4 w 86"/>
                <a:gd name="T51" fmla="*/ 59 h 85"/>
                <a:gd name="T52" fmla="*/ 1 w 86"/>
                <a:gd name="T53" fmla="*/ 51 h 85"/>
                <a:gd name="T54" fmla="*/ 0 w 86"/>
                <a:gd name="T55" fmla="*/ 42 h 85"/>
                <a:gd name="T56" fmla="*/ 0 w 86"/>
                <a:gd name="T57" fmla="*/ 42 h 85"/>
                <a:gd name="T58" fmla="*/ 1 w 86"/>
                <a:gd name="T59" fmla="*/ 34 h 85"/>
                <a:gd name="T60" fmla="*/ 4 w 86"/>
                <a:gd name="T61" fmla="*/ 26 h 85"/>
                <a:gd name="T62" fmla="*/ 6 w 86"/>
                <a:gd name="T63" fmla="*/ 19 h 85"/>
                <a:gd name="T64" fmla="*/ 12 w 86"/>
                <a:gd name="T65" fmla="*/ 12 h 85"/>
                <a:gd name="T66" fmla="*/ 19 w 86"/>
                <a:gd name="T67" fmla="*/ 7 h 85"/>
                <a:gd name="T68" fmla="*/ 26 w 86"/>
                <a:gd name="T69" fmla="*/ 2 h 85"/>
                <a:gd name="T70" fmla="*/ 34 w 86"/>
                <a:gd name="T71" fmla="*/ 1 h 85"/>
                <a:gd name="T72" fmla="*/ 42 w 86"/>
                <a:gd name="T73" fmla="*/ 0 h 85"/>
                <a:gd name="T74" fmla="*/ 42 w 86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6" h="85">
                  <a:moveTo>
                    <a:pt x="42" y="0"/>
                  </a:moveTo>
                  <a:lnTo>
                    <a:pt x="42" y="0"/>
                  </a:lnTo>
                  <a:lnTo>
                    <a:pt x="52" y="1"/>
                  </a:lnTo>
                  <a:lnTo>
                    <a:pt x="59" y="2"/>
                  </a:lnTo>
                  <a:lnTo>
                    <a:pt x="67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2"/>
                  </a:lnTo>
                  <a:lnTo>
                    <a:pt x="52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6" y="67"/>
                  </a:lnTo>
                  <a:lnTo>
                    <a:pt x="4" y="59"/>
                  </a:lnTo>
                  <a:lnTo>
                    <a:pt x="1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6" y="19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66"/>
            <p:cNvSpPr>
              <a:spLocks/>
            </p:cNvSpPr>
            <p:nvPr userDrawn="1"/>
          </p:nvSpPr>
          <p:spPr bwMode="auto">
            <a:xfrm>
              <a:off x="3931" y="1342"/>
              <a:ext cx="44" cy="43"/>
            </a:xfrm>
            <a:custGeom>
              <a:avLst/>
              <a:gdLst>
                <a:gd name="T0" fmla="*/ 43 w 87"/>
                <a:gd name="T1" fmla="*/ 0 h 85"/>
                <a:gd name="T2" fmla="*/ 43 w 87"/>
                <a:gd name="T3" fmla="*/ 0 h 85"/>
                <a:gd name="T4" fmla="*/ 53 w 87"/>
                <a:gd name="T5" fmla="*/ 0 h 85"/>
                <a:gd name="T6" fmla="*/ 61 w 87"/>
                <a:gd name="T7" fmla="*/ 3 h 85"/>
                <a:gd name="T8" fmla="*/ 68 w 87"/>
                <a:gd name="T9" fmla="*/ 7 h 85"/>
                <a:gd name="T10" fmla="*/ 73 w 87"/>
                <a:gd name="T11" fmla="*/ 12 h 85"/>
                <a:gd name="T12" fmla="*/ 79 w 87"/>
                <a:gd name="T13" fmla="*/ 18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2 h 85"/>
                <a:gd name="T20" fmla="*/ 87 w 87"/>
                <a:gd name="T21" fmla="*/ 42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6 h 85"/>
                <a:gd name="T28" fmla="*/ 73 w 87"/>
                <a:gd name="T29" fmla="*/ 73 h 85"/>
                <a:gd name="T30" fmla="*/ 68 w 87"/>
                <a:gd name="T31" fmla="*/ 78 h 85"/>
                <a:gd name="T32" fmla="*/ 61 w 87"/>
                <a:gd name="T33" fmla="*/ 82 h 85"/>
                <a:gd name="T34" fmla="*/ 53 w 87"/>
                <a:gd name="T35" fmla="*/ 84 h 85"/>
                <a:gd name="T36" fmla="*/ 43 w 87"/>
                <a:gd name="T37" fmla="*/ 85 h 85"/>
                <a:gd name="T38" fmla="*/ 43 w 87"/>
                <a:gd name="T39" fmla="*/ 85 h 85"/>
                <a:gd name="T40" fmla="*/ 35 w 87"/>
                <a:gd name="T41" fmla="*/ 84 h 85"/>
                <a:gd name="T42" fmla="*/ 27 w 87"/>
                <a:gd name="T43" fmla="*/ 82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6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2 h 85"/>
                <a:gd name="T56" fmla="*/ 0 w 87"/>
                <a:gd name="T57" fmla="*/ 42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8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0 h 85"/>
                <a:gd name="T72" fmla="*/ 43 w 87"/>
                <a:gd name="T73" fmla="*/ 0 h 85"/>
                <a:gd name="T74" fmla="*/ 43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3" y="0"/>
                  </a:moveTo>
                  <a:lnTo>
                    <a:pt x="43" y="0"/>
                  </a:lnTo>
                  <a:lnTo>
                    <a:pt x="53" y="0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3" y="12"/>
                  </a:lnTo>
                  <a:lnTo>
                    <a:pt x="79" y="18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6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4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35" y="84"/>
                  </a:lnTo>
                  <a:lnTo>
                    <a:pt x="27" y="82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6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8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67"/>
            <p:cNvSpPr>
              <a:spLocks/>
            </p:cNvSpPr>
            <p:nvPr userDrawn="1"/>
          </p:nvSpPr>
          <p:spPr bwMode="auto">
            <a:xfrm>
              <a:off x="3931" y="1286"/>
              <a:ext cx="44" cy="43"/>
            </a:xfrm>
            <a:custGeom>
              <a:avLst/>
              <a:gdLst>
                <a:gd name="T0" fmla="*/ 43 w 87"/>
                <a:gd name="T1" fmla="*/ 0 h 85"/>
                <a:gd name="T2" fmla="*/ 43 w 87"/>
                <a:gd name="T3" fmla="*/ 0 h 85"/>
                <a:gd name="T4" fmla="*/ 53 w 87"/>
                <a:gd name="T5" fmla="*/ 0 h 85"/>
                <a:gd name="T6" fmla="*/ 61 w 87"/>
                <a:gd name="T7" fmla="*/ 3 h 85"/>
                <a:gd name="T8" fmla="*/ 68 w 87"/>
                <a:gd name="T9" fmla="*/ 7 h 85"/>
                <a:gd name="T10" fmla="*/ 73 w 87"/>
                <a:gd name="T11" fmla="*/ 13 h 85"/>
                <a:gd name="T12" fmla="*/ 79 w 87"/>
                <a:gd name="T13" fmla="*/ 18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6 h 85"/>
                <a:gd name="T28" fmla="*/ 73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4 h 85"/>
                <a:gd name="T36" fmla="*/ 43 w 87"/>
                <a:gd name="T37" fmla="*/ 85 h 85"/>
                <a:gd name="T38" fmla="*/ 43 w 87"/>
                <a:gd name="T39" fmla="*/ 85 h 85"/>
                <a:gd name="T40" fmla="*/ 35 w 87"/>
                <a:gd name="T41" fmla="*/ 84 h 85"/>
                <a:gd name="T42" fmla="*/ 27 w 87"/>
                <a:gd name="T43" fmla="*/ 83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6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8 h 85"/>
                <a:gd name="T64" fmla="*/ 13 w 87"/>
                <a:gd name="T65" fmla="*/ 13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0 h 85"/>
                <a:gd name="T72" fmla="*/ 43 w 87"/>
                <a:gd name="T73" fmla="*/ 0 h 85"/>
                <a:gd name="T74" fmla="*/ 43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3" y="0"/>
                  </a:moveTo>
                  <a:lnTo>
                    <a:pt x="43" y="0"/>
                  </a:lnTo>
                  <a:lnTo>
                    <a:pt x="53" y="0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3" y="13"/>
                  </a:lnTo>
                  <a:lnTo>
                    <a:pt x="79" y="18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6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4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35" y="84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6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8"/>
                  </a:lnTo>
                  <a:lnTo>
                    <a:pt x="13" y="13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68"/>
            <p:cNvSpPr>
              <a:spLocks/>
            </p:cNvSpPr>
            <p:nvPr userDrawn="1"/>
          </p:nvSpPr>
          <p:spPr bwMode="auto">
            <a:xfrm>
              <a:off x="3931" y="1060"/>
              <a:ext cx="44" cy="43"/>
            </a:xfrm>
            <a:custGeom>
              <a:avLst/>
              <a:gdLst>
                <a:gd name="T0" fmla="*/ 43 w 87"/>
                <a:gd name="T1" fmla="*/ 0 h 87"/>
                <a:gd name="T2" fmla="*/ 43 w 87"/>
                <a:gd name="T3" fmla="*/ 0 h 87"/>
                <a:gd name="T4" fmla="*/ 53 w 87"/>
                <a:gd name="T5" fmla="*/ 1 h 87"/>
                <a:gd name="T6" fmla="*/ 61 w 87"/>
                <a:gd name="T7" fmla="*/ 4 h 87"/>
                <a:gd name="T8" fmla="*/ 68 w 87"/>
                <a:gd name="T9" fmla="*/ 8 h 87"/>
                <a:gd name="T10" fmla="*/ 73 w 87"/>
                <a:gd name="T11" fmla="*/ 12 h 87"/>
                <a:gd name="T12" fmla="*/ 79 w 87"/>
                <a:gd name="T13" fmla="*/ 19 h 87"/>
                <a:gd name="T14" fmla="*/ 83 w 87"/>
                <a:gd name="T15" fmla="*/ 26 h 87"/>
                <a:gd name="T16" fmla="*/ 86 w 87"/>
                <a:gd name="T17" fmla="*/ 34 h 87"/>
                <a:gd name="T18" fmla="*/ 87 w 87"/>
                <a:gd name="T19" fmla="*/ 43 h 87"/>
                <a:gd name="T20" fmla="*/ 87 w 87"/>
                <a:gd name="T21" fmla="*/ 43 h 87"/>
                <a:gd name="T22" fmla="*/ 86 w 87"/>
                <a:gd name="T23" fmla="*/ 52 h 87"/>
                <a:gd name="T24" fmla="*/ 83 w 87"/>
                <a:gd name="T25" fmla="*/ 61 h 87"/>
                <a:gd name="T26" fmla="*/ 79 w 87"/>
                <a:gd name="T27" fmla="*/ 67 h 87"/>
                <a:gd name="T28" fmla="*/ 73 w 87"/>
                <a:gd name="T29" fmla="*/ 73 h 87"/>
                <a:gd name="T30" fmla="*/ 68 w 87"/>
                <a:gd name="T31" fmla="*/ 78 h 87"/>
                <a:gd name="T32" fmla="*/ 61 w 87"/>
                <a:gd name="T33" fmla="*/ 83 h 87"/>
                <a:gd name="T34" fmla="*/ 53 w 87"/>
                <a:gd name="T35" fmla="*/ 85 h 87"/>
                <a:gd name="T36" fmla="*/ 43 w 87"/>
                <a:gd name="T37" fmla="*/ 87 h 87"/>
                <a:gd name="T38" fmla="*/ 43 w 87"/>
                <a:gd name="T39" fmla="*/ 87 h 87"/>
                <a:gd name="T40" fmla="*/ 35 w 87"/>
                <a:gd name="T41" fmla="*/ 85 h 87"/>
                <a:gd name="T42" fmla="*/ 27 w 87"/>
                <a:gd name="T43" fmla="*/ 83 h 87"/>
                <a:gd name="T44" fmla="*/ 20 w 87"/>
                <a:gd name="T45" fmla="*/ 78 h 87"/>
                <a:gd name="T46" fmla="*/ 13 w 87"/>
                <a:gd name="T47" fmla="*/ 73 h 87"/>
                <a:gd name="T48" fmla="*/ 9 w 87"/>
                <a:gd name="T49" fmla="*/ 67 h 87"/>
                <a:gd name="T50" fmla="*/ 5 w 87"/>
                <a:gd name="T51" fmla="*/ 61 h 87"/>
                <a:gd name="T52" fmla="*/ 2 w 87"/>
                <a:gd name="T53" fmla="*/ 52 h 87"/>
                <a:gd name="T54" fmla="*/ 0 w 87"/>
                <a:gd name="T55" fmla="*/ 43 h 87"/>
                <a:gd name="T56" fmla="*/ 0 w 87"/>
                <a:gd name="T57" fmla="*/ 43 h 87"/>
                <a:gd name="T58" fmla="*/ 2 w 87"/>
                <a:gd name="T59" fmla="*/ 34 h 87"/>
                <a:gd name="T60" fmla="*/ 5 w 87"/>
                <a:gd name="T61" fmla="*/ 26 h 87"/>
                <a:gd name="T62" fmla="*/ 9 w 87"/>
                <a:gd name="T63" fmla="*/ 19 h 87"/>
                <a:gd name="T64" fmla="*/ 13 w 87"/>
                <a:gd name="T65" fmla="*/ 12 h 87"/>
                <a:gd name="T66" fmla="*/ 20 w 87"/>
                <a:gd name="T67" fmla="*/ 8 h 87"/>
                <a:gd name="T68" fmla="*/ 27 w 87"/>
                <a:gd name="T69" fmla="*/ 4 h 87"/>
                <a:gd name="T70" fmla="*/ 35 w 87"/>
                <a:gd name="T71" fmla="*/ 1 h 87"/>
                <a:gd name="T72" fmla="*/ 43 w 87"/>
                <a:gd name="T73" fmla="*/ 0 h 87"/>
                <a:gd name="T74" fmla="*/ 43 w 87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lnTo>
                    <a:pt x="43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3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2"/>
                  </a:lnTo>
                  <a:lnTo>
                    <a:pt x="83" y="61"/>
                  </a:lnTo>
                  <a:lnTo>
                    <a:pt x="79" y="67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35" y="85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61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8"/>
                  </a:lnTo>
                  <a:lnTo>
                    <a:pt x="27" y="4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69"/>
            <p:cNvSpPr>
              <a:spLocks/>
            </p:cNvSpPr>
            <p:nvPr userDrawn="1"/>
          </p:nvSpPr>
          <p:spPr bwMode="auto">
            <a:xfrm>
              <a:off x="3931" y="1004"/>
              <a:ext cx="44" cy="42"/>
            </a:xfrm>
            <a:custGeom>
              <a:avLst/>
              <a:gdLst>
                <a:gd name="T0" fmla="*/ 43 w 87"/>
                <a:gd name="T1" fmla="*/ 0 h 86"/>
                <a:gd name="T2" fmla="*/ 43 w 87"/>
                <a:gd name="T3" fmla="*/ 0 h 86"/>
                <a:gd name="T4" fmla="*/ 53 w 87"/>
                <a:gd name="T5" fmla="*/ 2 h 86"/>
                <a:gd name="T6" fmla="*/ 61 w 87"/>
                <a:gd name="T7" fmla="*/ 5 h 86"/>
                <a:gd name="T8" fmla="*/ 68 w 87"/>
                <a:gd name="T9" fmla="*/ 7 h 86"/>
                <a:gd name="T10" fmla="*/ 73 w 87"/>
                <a:gd name="T11" fmla="*/ 13 h 86"/>
                <a:gd name="T12" fmla="*/ 79 w 87"/>
                <a:gd name="T13" fmla="*/ 20 h 86"/>
                <a:gd name="T14" fmla="*/ 83 w 87"/>
                <a:gd name="T15" fmla="*/ 27 h 86"/>
                <a:gd name="T16" fmla="*/ 86 w 87"/>
                <a:gd name="T17" fmla="*/ 35 h 86"/>
                <a:gd name="T18" fmla="*/ 87 w 87"/>
                <a:gd name="T19" fmla="*/ 43 h 86"/>
                <a:gd name="T20" fmla="*/ 87 w 87"/>
                <a:gd name="T21" fmla="*/ 43 h 86"/>
                <a:gd name="T22" fmla="*/ 86 w 87"/>
                <a:gd name="T23" fmla="*/ 53 h 86"/>
                <a:gd name="T24" fmla="*/ 83 w 87"/>
                <a:gd name="T25" fmla="*/ 59 h 86"/>
                <a:gd name="T26" fmla="*/ 79 w 87"/>
                <a:gd name="T27" fmla="*/ 68 h 86"/>
                <a:gd name="T28" fmla="*/ 73 w 87"/>
                <a:gd name="T29" fmla="*/ 73 h 86"/>
                <a:gd name="T30" fmla="*/ 68 w 87"/>
                <a:gd name="T31" fmla="*/ 79 h 86"/>
                <a:gd name="T32" fmla="*/ 61 w 87"/>
                <a:gd name="T33" fmla="*/ 83 h 86"/>
                <a:gd name="T34" fmla="*/ 53 w 87"/>
                <a:gd name="T35" fmla="*/ 86 h 86"/>
                <a:gd name="T36" fmla="*/ 43 w 87"/>
                <a:gd name="T37" fmla="*/ 86 h 86"/>
                <a:gd name="T38" fmla="*/ 43 w 87"/>
                <a:gd name="T39" fmla="*/ 86 h 86"/>
                <a:gd name="T40" fmla="*/ 35 w 87"/>
                <a:gd name="T41" fmla="*/ 86 h 86"/>
                <a:gd name="T42" fmla="*/ 27 w 87"/>
                <a:gd name="T43" fmla="*/ 83 h 86"/>
                <a:gd name="T44" fmla="*/ 20 w 87"/>
                <a:gd name="T45" fmla="*/ 79 h 86"/>
                <a:gd name="T46" fmla="*/ 13 w 87"/>
                <a:gd name="T47" fmla="*/ 73 h 86"/>
                <a:gd name="T48" fmla="*/ 9 w 87"/>
                <a:gd name="T49" fmla="*/ 68 h 86"/>
                <a:gd name="T50" fmla="*/ 5 w 87"/>
                <a:gd name="T51" fmla="*/ 59 h 86"/>
                <a:gd name="T52" fmla="*/ 2 w 87"/>
                <a:gd name="T53" fmla="*/ 53 h 86"/>
                <a:gd name="T54" fmla="*/ 0 w 87"/>
                <a:gd name="T55" fmla="*/ 43 h 86"/>
                <a:gd name="T56" fmla="*/ 0 w 87"/>
                <a:gd name="T57" fmla="*/ 43 h 86"/>
                <a:gd name="T58" fmla="*/ 2 w 87"/>
                <a:gd name="T59" fmla="*/ 35 h 86"/>
                <a:gd name="T60" fmla="*/ 5 w 87"/>
                <a:gd name="T61" fmla="*/ 27 h 86"/>
                <a:gd name="T62" fmla="*/ 9 w 87"/>
                <a:gd name="T63" fmla="*/ 20 h 86"/>
                <a:gd name="T64" fmla="*/ 13 w 87"/>
                <a:gd name="T65" fmla="*/ 13 h 86"/>
                <a:gd name="T66" fmla="*/ 20 w 87"/>
                <a:gd name="T67" fmla="*/ 7 h 86"/>
                <a:gd name="T68" fmla="*/ 27 w 87"/>
                <a:gd name="T69" fmla="*/ 5 h 86"/>
                <a:gd name="T70" fmla="*/ 35 w 87"/>
                <a:gd name="T71" fmla="*/ 2 h 86"/>
                <a:gd name="T72" fmla="*/ 43 w 87"/>
                <a:gd name="T73" fmla="*/ 0 h 86"/>
                <a:gd name="T74" fmla="*/ 43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3" y="0"/>
                  </a:moveTo>
                  <a:lnTo>
                    <a:pt x="43" y="0"/>
                  </a:lnTo>
                  <a:lnTo>
                    <a:pt x="53" y="2"/>
                  </a:lnTo>
                  <a:lnTo>
                    <a:pt x="61" y="5"/>
                  </a:lnTo>
                  <a:lnTo>
                    <a:pt x="68" y="7"/>
                  </a:lnTo>
                  <a:lnTo>
                    <a:pt x="73" y="13"/>
                  </a:lnTo>
                  <a:lnTo>
                    <a:pt x="79" y="20"/>
                  </a:lnTo>
                  <a:lnTo>
                    <a:pt x="83" y="27"/>
                  </a:lnTo>
                  <a:lnTo>
                    <a:pt x="86" y="35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3"/>
                  </a:lnTo>
                  <a:lnTo>
                    <a:pt x="83" y="59"/>
                  </a:lnTo>
                  <a:lnTo>
                    <a:pt x="79" y="68"/>
                  </a:lnTo>
                  <a:lnTo>
                    <a:pt x="73" y="73"/>
                  </a:lnTo>
                  <a:lnTo>
                    <a:pt x="68" y="79"/>
                  </a:lnTo>
                  <a:lnTo>
                    <a:pt x="61" y="83"/>
                  </a:lnTo>
                  <a:lnTo>
                    <a:pt x="5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35" y="86"/>
                  </a:lnTo>
                  <a:lnTo>
                    <a:pt x="27" y="83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9" y="68"/>
                  </a:lnTo>
                  <a:lnTo>
                    <a:pt x="5" y="59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5" y="27"/>
                  </a:lnTo>
                  <a:lnTo>
                    <a:pt x="9" y="20"/>
                  </a:lnTo>
                  <a:lnTo>
                    <a:pt x="13" y="13"/>
                  </a:lnTo>
                  <a:lnTo>
                    <a:pt x="20" y="7"/>
                  </a:lnTo>
                  <a:lnTo>
                    <a:pt x="27" y="5"/>
                  </a:lnTo>
                  <a:lnTo>
                    <a:pt x="35" y="2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0"/>
            <p:cNvSpPr>
              <a:spLocks/>
            </p:cNvSpPr>
            <p:nvPr userDrawn="1"/>
          </p:nvSpPr>
          <p:spPr bwMode="auto">
            <a:xfrm>
              <a:off x="3931" y="947"/>
              <a:ext cx="44" cy="43"/>
            </a:xfrm>
            <a:custGeom>
              <a:avLst/>
              <a:gdLst>
                <a:gd name="T0" fmla="*/ 43 w 87"/>
                <a:gd name="T1" fmla="*/ 0 h 85"/>
                <a:gd name="T2" fmla="*/ 43 w 87"/>
                <a:gd name="T3" fmla="*/ 0 h 85"/>
                <a:gd name="T4" fmla="*/ 53 w 87"/>
                <a:gd name="T5" fmla="*/ 1 h 85"/>
                <a:gd name="T6" fmla="*/ 61 w 87"/>
                <a:gd name="T7" fmla="*/ 2 h 85"/>
                <a:gd name="T8" fmla="*/ 68 w 87"/>
                <a:gd name="T9" fmla="*/ 7 h 85"/>
                <a:gd name="T10" fmla="*/ 73 w 87"/>
                <a:gd name="T11" fmla="*/ 12 h 85"/>
                <a:gd name="T12" fmla="*/ 79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2 h 85"/>
                <a:gd name="T20" fmla="*/ 87 w 87"/>
                <a:gd name="T21" fmla="*/ 42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7 h 85"/>
                <a:gd name="T28" fmla="*/ 73 w 87"/>
                <a:gd name="T29" fmla="*/ 73 h 85"/>
                <a:gd name="T30" fmla="*/ 68 w 87"/>
                <a:gd name="T31" fmla="*/ 78 h 85"/>
                <a:gd name="T32" fmla="*/ 61 w 87"/>
                <a:gd name="T33" fmla="*/ 82 h 85"/>
                <a:gd name="T34" fmla="*/ 53 w 87"/>
                <a:gd name="T35" fmla="*/ 85 h 85"/>
                <a:gd name="T36" fmla="*/ 43 w 87"/>
                <a:gd name="T37" fmla="*/ 85 h 85"/>
                <a:gd name="T38" fmla="*/ 43 w 87"/>
                <a:gd name="T39" fmla="*/ 85 h 85"/>
                <a:gd name="T40" fmla="*/ 35 w 87"/>
                <a:gd name="T41" fmla="*/ 85 h 85"/>
                <a:gd name="T42" fmla="*/ 27 w 87"/>
                <a:gd name="T43" fmla="*/ 82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7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2 h 85"/>
                <a:gd name="T56" fmla="*/ 0 w 87"/>
                <a:gd name="T57" fmla="*/ 42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9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2 h 85"/>
                <a:gd name="T70" fmla="*/ 35 w 87"/>
                <a:gd name="T71" fmla="*/ 1 h 85"/>
                <a:gd name="T72" fmla="*/ 43 w 87"/>
                <a:gd name="T73" fmla="*/ 0 h 85"/>
                <a:gd name="T74" fmla="*/ 43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3" y="0"/>
                  </a:moveTo>
                  <a:lnTo>
                    <a:pt x="43" y="0"/>
                  </a:lnTo>
                  <a:lnTo>
                    <a:pt x="53" y="1"/>
                  </a:lnTo>
                  <a:lnTo>
                    <a:pt x="61" y="2"/>
                  </a:lnTo>
                  <a:lnTo>
                    <a:pt x="68" y="7"/>
                  </a:lnTo>
                  <a:lnTo>
                    <a:pt x="73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7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35" y="85"/>
                  </a:lnTo>
                  <a:lnTo>
                    <a:pt x="27" y="82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2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1"/>
            <p:cNvSpPr>
              <a:spLocks/>
            </p:cNvSpPr>
            <p:nvPr userDrawn="1"/>
          </p:nvSpPr>
          <p:spPr bwMode="auto">
            <a:xfrm>
              <a:off x="3931" y="891"/>
              <a:ext cx="44" cy="43"/>
            </a:xfrm>
            <a:custGeom>
              <a:avLst/>
              <a:gdLst>
                <a:gd name="T0" fmla="*/ 43 w 87"/>
                <a:gd name="T1" fmla="*/ 0 h 85"/>
                <a:gd name="T2" fmla="*/ 43 w 87"/>
                <a:gd name="T3" fmla="*/ 0 h 85"/>
                <a:gd name="T4" fmla="*/ 53 w 87"/>
                <a:gd name="T5" fmla="*/ 1 h 85"/>
                <a:gd name="T6" fmla="*/ 61 w 87"/>
                <a:gd name="T7" fmla="*/ 3 h 85"/>
                <a:gd name="T8" fmla="*/ 68 w 87"/>
                <a:gd name="T9" fmla="*/ 7 h 85"/>
                <a:gd name="T10" fmla="*/ 73 w 87"/>
                <a:gd name="T11" fmla="*/ 12 h 85"/>
                <a:gd name="T12" fmla="*/ 79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7 h 85"/>
                <a:gd name="T28" fmla="*/ 73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5 h 85"/>
                <a:gd name="T36" fmla="*/ 43 w 87"/>
                <a:gd name="T37" fmla="*/ 85 h 85"/>
                <a:gd name="T38" fmla="*/ 43 w 87"/>
                <a:gd name="T39" fmla="*/ 85 h 85"/>
                <a:gd name="T40" fmla="*/ 35 w 87"/>
                <a:gd name="T41" fmla="*/ 85 h 85"/>
                <a:gd name="T42" fmla="*/ 27 w 87"/>
                <a:gd name="T43" fmla="*/ 83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7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9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1 h 85"/>
                <a:gd name="T72" fmla="*/ 43 w 87"/>
                <a:gd name="T73" fmla="*/ 0 h 85"/>
                <a:gd name="T74" fmla="*/ 43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3" y="0"/>
                  </a:moveTo>
                  <a:lnTo>
                    <a:pt x="43" y="0"/>
                  </a:lnTo>
                  <a:lnTo>
                    <a:pt x="53" y="1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3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7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35" y="85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2"/>
            <p:cNvSpPr>
              <a:spLocks/>
            </p:cNvSpPr>
            <p:nvPr userDrawn="1"/>
          </p:nvSpPr>
          <p:spPr bwMode="auto">
            <a:xfrm>
              <a:off x="3988" y="1286"/>
              <a:ext cx="43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0 h 85"/>
                <a:gd name="T6" fmla="*/ 61 w 87"/>
                <a:gd name="T7" fmla="*/ 3 h 85"/>
                <a:gd name="T8" fmla="*/ 68 w 87"/>
                <a:gd name="T9" fmla="*/ 7 h 85"/>
                <a:gd name="T10" fmla="*/ 75 w 87"/>
                <a:gd name="T11" fmla="*/ 13 h 85"/>
                <a:gd name="T12" fmla="*/ 79 w 87"/>
                <a:gd name="T13" fmla="*/ 18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6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4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4 h 85"/>
                <a:gd name="T42" fmla="*/ 27 w 87"/>
                <a:gd name="T43" fmla="*/ 83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6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8 h 85"/>
                <a:gd name="T64" fmla="*/ 13 w 87"/>
                <a:gd name="T65" fmla="*/ 13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0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0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5" y="13"/>
                  </a:lnTo>
                  <a:lnTo>
                    <a:pt x="79" y="18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6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4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4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6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8"/>
                  </a:lnTo>
                  <a:lnTo>
                    <a:pt x="13" y="13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0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73"/>
            <p:cNvSpPr>
              <a:spLocks/>
            </p:cNvSpPr>
            <p:nvPr userDrawn="1"/>
          </p:nvSpPr>
          <p:spPr bwMode="auto">
            <a:xfrm>
              <a:off x="3988" y="1230"/>
              <a:ext cx="43" cy="42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53 w 87"/>
                <a:gd name="T5" fmla="*/ 0 h 86"/>
                <a:gd name="T6" fmla="*/ 61 w 87"/>
                <a:gd name="T7" fmla="*/ 3 h 86"/>
                <a:gd name="T8" fmla="*/ 68 w 87"/>
                <a:gd name="T9" fmla="*/ 7 h 86"/>
                <a:gd name="T10" fmla="*/ 75 w 87"/>
                <a:gd name="T11" fmla="*/ 13 h 86"/>
                <a:gd name="T12" fmla="*/ 79 w 87"/>
                <a:gd name="T13" fmla="*/ 18 h 86"/>
                <a:gd name="T14" fmla="*/ 83 w 87"/>
                <a:gd name="T15" fmla="*/ 27 h 86"/>
                <a:gd name="T16" fmla="*/ 86 w 87"/>
                <a:gd name="T17" fmla="*/ 33 h 86"/>
                <a:gd name="T18" fmla="*/ 87 w 87"/>
                <a:gd name="T19" fmla="*/ 43 h 86"/>
                <a:gd name="T20" fmla="*/ 87 w 87"/>
                <a:gd name="T21" fmla="*/ 43 h 86"/>
                <a:gd name="T22" fmla="*/ 86 w 87"/>
                <a:gd name="T23" fmla="*/ 51 h 86"/>
                <a:gd name="T24" fmla="*/ 83 w 87"/>
                <a:gd name="T25" fmla="*/ 60 h 86"/>
                <a:gd name="T26" fmla="*/ 79 w 87"/>
                <a:gd name="T27" fmla="*/ 66 h 86"/>
                <a:gd name="T28" fmla="*/ 75 w 87"/>
                <a:gd name="T29" fmla="*/ 73 h 86"/>
                <a:gd name="T30" fmla="*/ 68 w 87"/>
                <a:gd name="T31" fmla="*/ 79 h 86"/>
                <a:gd name="T32" fmla="*/ 61 w 87"/>
                <a:gd name="T33" fmla="*/ 82 h 86"/>
                <a:gd name="T34" fmla="*/ 53 w 87"/>
                <a:gd name="T35" fmla="*/ 84 h 86"/>
                <a:gd name="T36" fmla="*/ 44 w 87"/>
                <a:gd name="T37" fmla="*/ 86 h 86"/>
                <a:gd name="T38" fmla="*/ 44 w 87"/>
                <a:gd name="T39" fmla="*/ 86 h 86"/>
                <a:gd name="T40" fmla="*/ 35 w 87"/>
                <a:gd name="T41" fmla="*/ 84 h 86"/>
                <a:gd name="T42" fmla="*/ 27 w 87"/>
                <a:gd name="T43" fmla="*/ 82 h 86"/>
                <a:gd name="T44" fmla="*/ 20 w 87"/>
                <a:gd name="T45" fmla="*/ 79 h 86"/>
                <a:gd name="T46" fmla="*/ 13 w 87"/>
                <a:gd name="T47" fmla="*/ 73 h 86"/>
                <a:gd name="T48" fmla="*/ 9 w 87"/>
                <a:gd name="T49" fmla="*/ 66 h 86"/>
                <a:gd name="T50" fmla="*/ 5 w 87"/>
                <a:gd name="T51" fmla="*/ 60 h 86"/>
                <a:gd name="T52" fmla="*/ 2 w 87"/>
                <a:gd name="T53" fmla="*/ 51 h 86"/>
                <a:gd name="T54" fmla="*/ 0 w 87"/>
                <a:gd name="T55" fmla="*/ 43 h 86"/>
                <a:gd name="T56" fmla="*/ 0 w 87"/>
                <a:gd name="T57" fmla="*/ 43 h 86"/>
                <a:gd name="T58" fmla="*/ 2 w 87"/>
                <a:gd name="T59" fmla="*/ 33 h 86"/>
                <a:gd name="T60" fmla="*/ 5 w 87"/>
                <a:gd name="T61" fmla="*/ 27 h 86"/>
                <a:gd name="T62" fmla="*/ 9 w 87"/>
                <a:gd name="T63" fmla="*/ 18 h 86"/>
                <a:gd name="T64" fmla="*/ 13 w 87"/>
                <a:gd name="T65" fmla="*/ 13 h 86"/>
                <a:gd name="T66" fmla="*/ 20 w 87"/>
                <a:gd name="T67" fmla="*/ 7 h 86"/>
                <a:gd name="T68" fmla="*/ 27 w 87"/>
                <a:gd name="T69" fmla="*/ 3 h 86"/>
                <a:gd name="T70" fmla="*/ 35 w 87"/>
                <a:gd name="T71" fmla="*/ 0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53" y="0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5" y="13"/>
                  </a:lnTo>
                  <a:lnTo>
                    <a:pt x="79" y="18"/>
                  </a:lnTo>
                  <a:lnTo>
                    <a:pt x="83" y="27"/>
                  </a:lnTo>
                  <a:lnTo>
                    <a:pt x="86" y="3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60"/>
                  </a:lnTo>
                  <a:lnTo>
                    <a:pt x="79" y="66"/>
                  </a:lnTo>
                  <a:lnTo>
                    <a:pt x="75" y="73"/>
                  </a:lnTo>
                  <a:lnTo>
                    <a:pt x="68" y="79"/>
                  </a:lnTo>
                  <a:lnTo>
                    <a:pt x="61" y="82"/>
                  </a:lnTo>
                  <a:lnTo>
                    <a:pt x="53" y="84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35" y="84"/>
                  </a:lnTo>
                  <a:lnTo>
                    <a:pt x="27" y="82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9" y="66"/>
                  </a:lnTo>
                  <a:lnTo>
                    <a:pt x="5" y="60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3"/>
                  </a:lnTo>
                  <a:lnTo>
                    <a:pt x="5" y="27"/>
                  </a:lnTo>
                  <a:lnTo>
                    <a:pt x="9" y="18"/>
                  </a:lnTo>
                  <a:lnTo>
                    <a:pt x="13" y="13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0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74"/>
            <p:cNvSpPr>
              <a:spLocks/>
            </p:cNvSpPr>
            <p:nvPr userDrawn="1"/>
          </p:nvSpPr>
          <p:spPr bwMode="auto">
            <a:xfrm>
              <a:off x="3988" y="1060"/>
              <a:ext cx="43" cy="43"/>
            </a:xfrm>
            <a:custGeom>
              <a:avLst/>
              <a:gdLst>
                <a:gd name="T0" fmla="*/ 44 w 87"/>
                <a:gd name="T1" fmla="*/ 0 h 87"/>
                <a:gd name="T2" fmla="*/ 44 w 87"/>
                <a:gd name="T3" fmla="*/ 0 h 87"/>
                <a:gd name="T4" fmla="*/ 53 w 87"/>
                <a:gd name="T5" fmla="*/ 1 h 87"/>
                <a:gd name="T6" fmla="*/ 61 w 87"/>
                <a:gd name="T7" fmla="*/ 4 h 87"/>
                <a:gd name="T8" fmla="*/ 68 w 87"/>
                <a:gd name="T9" fmla="*/ 8 h 87"/>
                <a:gd name="T10" fmla="*/ 75 w 87"/>
                <a:gd name="T11" fmla="*/ 12 h 87"/>
                <a:gd name="T12" fmla="*/ 79 w 87"/>
                <a:gd name="T13" fmla="*/ 19 h 87"/>
                <a:gd name="T14" fmla="*/ 83 w 87"/>
                <a:gd name="T15" fmla="*/ 26 h 87"/>
                <a:gd name="T16" fmla="*/ 86 w 87"/>
                <a:gd name="T17" fmla="*/ 34 h 87"/>
                <a:gd name="T18" fmla="*/ 87 w 87"/>
                <a:gd name="T19" fmla="*/ 43 h 87"/>
                <a:gd name="T20" fmla="*/ 87 w 87"/>
                <a:gd name="T21" fmla="*/ 43 h 87"/>
                <a:gd name="T22" fmla="*/ 86 w 87"/>
                <a:gd name="T23" fmla="*/ 52 h 87"/>
                <a:gd name="T24" fmla="*/ 83 w 87"/>
                <a:gd name="T25" fmla="*/ 61 h 87"/>
                <a:gd name="T26" fmla="*/ 79 w 87"/>
                <a:gd name="T27" fmla="*/ 67 h 87"/>
                <a:gd name="T28" fmla="*/ 75 w 87"/>
                <a:gd name="T29" fmla="*/ 73 h 87"/>
                <a:gd name="T30" fmla="*/ 68 w 87"/>
                <a:gd name="T31" fmla="*/ 78 h 87"/>
                <a:gd name="T32" fmla="*/ 61 w 87"/>
                <a:gd name="T33" fmla="*/ 83 h 87"/>
                <a:gd name="T34" fmla="*/ 53 w 87"/>
                <a:gd name="T35" fmla="*/ 85 h 87"/>
                <a:gd name="T36" fmla="*/ 44 w 87"/>
                <a:gd name="T37" fmla="*/ 87 h 87"/>
                <a:gd name="T38" fmla="*/ 44 w 87"/>
                <a:gd name="T39" fmla="*/ 87 h 87"/>
                <a:gd name="T40" fmla="*/ 35 w 87"/>
                <a:gd name="T41" fmla="*/ 85 h 87"/>
                <a:gd name="T42" fmla="*/ 27 w 87"/>
                <a:gd name="T43" fmla="*/ 83 h 87"/>
                <a:gd name="T44" fmla="*/ 20 w 87"/>
                <a:gd name="T45" fmla="*/ 78 h 87"/>
                <a:gd name="T46" fmla="*/ 13 w 87"/>
                <a:gd name="T47" fmla="*/ 73 h 87"/>
                <a:gd name="T48" fmla="*/ 9 w 87"/>
                <a:gd name="T49" fmla="*/ 67 h 87"/>
                <a:gd name="T50" fmla="*/ 5 w 87"/>
                <a:gd name="T51" fmla="*/ 61 h 87"/>
                <a:gd name="T52" fmla="*/ 2 w 87"/>
                <a:gd name="T53" fmla="*/ 52 h 87"/>
                <a:gd name="T54" fmla="*/ 0 w 87"/>
                <a:gd name="T55" fmla="*/ 43 h 87"/>
                <a:gd name="T56" fmla="*/ 0 w 87"/>
                <a:gd name="T57" fmla="*/ 43 h 87"/>
                <a:gd name="T58" fmla="*/ 2 w 87"/>
                <a:gd name="T59" fmla="*/ 34 h 87"/>
                <a:gd name="T60" fmla="*/ 5 w 87"/>
                <a:gd name="T61" fmla="*/ 26 h 87"/>
                <a:gd name="T62" fmla="*/ 9 w 87"/>
                <a:gd name="T63" fmla="*/ 19 h 87"/>
                <a:gd name="T64" fmla="*/ 13 w 87"/>
                <a:gd name="T65" fmla="*/ 12 h 87"/>
                <a:gd name="T66" fmla="*/ 20 w 87"/>
                <a:gd name="T67" fmla="*/ 8 h 87"/>
                <a:gd name="T68" fmla="*/ 27 w 87"/>
                <a:gd name="T69" fmla="*/ 4 h 87"/>
                <a:gd name="T70" fmla="*/ 35 w 87"/>
                <a:gd name="T71" fmla="*/ 1 h 87"/>
                <a:gd name="T72" fmla="*/ 44 w 87"/>
                <a:gd name="T73" fmla="*/ 0 h 87"/>
                <a:gd name="T74" fmla="*/ 44 w 87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5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2"/>
                  </a:lnTo>
                  <a:lnTo>
                    <a:pt x="83" y="61"/>
                  </a:lnTo>
                  <a:lnTo>
                    <a:pt x="79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5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61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8"/>
                  </a:lnTo>
                  <a:lnTo>
                    <a:pt x="27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75"/>
            <p:cNvSpPr>
              <a:spLocks/>
            </p:cNvSpPr>
            <p:nvPr userDrawn="1"/>
          </p:nvSpPr>
          <p:spPr bwMode="auto">
            <a:xfrm>
              <a:off x="3988" y="1004"/>
              <a:ext cx="43" cy="42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53 w 87"/>
                <a:gd name="T5" fmla="*/ 2 h 86"/>
                <a:gd name="T6" fmla="*/ 61 w 87"/>
                <a:gd name="T7" fmla="*/ 5 h 86"/>
                <a:gd name="T8" fmla="*/ 68 w 87"/>
                <a:gd name="T9" fmla="*/ 7 h 86"/>
                <a:gd name="T10" fmla="*/ 75 w 87"/>
                <a:gd name="T11" fmla="*/ 13 h 86"/>
                <a:gd name="T12" fmla="*/ 79 w 87"/>
                <a:gd name="T13" fmla="*/ 20 h 86"/>
                <a:gd name="T14" fmla="*/ 83 w 87"/>
                <a:gd name="T15" fmla="*/ 27 h 86"/>
                <a:gd name="T16" fmla="*/ 86 w 87"/>
                <a:gd name="T17" fmla="*/ 35 h 86"/>
                <a:gd name="T18" fmla="*/ 87 w 87"/>
                <a:gd name="T19" fmla="*/ 43 h 86"/>
                <a:gd name="T20" fmla="*/ 87 w 87"/>
                <a:gd name="T21" fmla="*/ 43 h 86"/>
                <a:gd name="T22" fmla="*/ 86 w 87"/>
                <a:gd name="T23" fmla="*/ 53 h 86"/>
                <a:gd name="T24" fmla="*/ 83 w 87"/>
                <a:gd name="T25" fmla="*/ 59 h 86"/>
                <a:gd name="T26" fmla="*/ 79 w 87"/>
                <a:gd name="T27" fmla="*/ 68 h 86"/>
                <a:gd name="T28" fmla="*/ 75 w 87"/>
                <a:gd name="T29" fmla="*/ 73 h 86"/>
                <a:gd name="T30" fmla="*/ 68 w 87"/>
                <a:gd name="T31" fmla="*/ 79 h 86"/>
                <a:gd name="T32" fmla="*/ 61 w 87"/>
                <a:gd name="T33" fmla="*/ 83 h 86"/>
                <a:gd name="T34" fmla="*/ 53 w 87"/>
                <a:gd name="T35" fmla="*/ 86 h 86"/>
                <a:gd name="T36" fmla="*/ 44 w 87"/>
                <a:gd name="T37" fmla="*/ 86 h 86"/>
                <a:gd name="T38" fmla="*/ 44 w 87"/>
                <a:gd name="T39" fmla="*/ 86 h 86"/>
                <a:gd name="T40" fmla="*/ 35 w 87"/>
                <a:gd name="T41" fmla="*/ 86 h 86"/>
                <a:gd name="T42" fmla="*/ 27 w 87"/>
                <a:gd name="T43" fmla="*/ 83 h 86"/>
                <a:gd name="T44" fmla="*/ 20 w 87"/>
                <a:gd name="T45" fmla="*/ 79 h 86"/>
                <a:gd name="T46" fmla="*/ 13 w 87"/>
                <a:gd name="T47" fmla="*/ 73 h 86"/>
                <a:gd name="T48" fmla="*/ 9 w 87"/>
                <a:gd name="T49" fmla="*/ 68 h 86"/>
                <a:gd name="T50" fmla="*/ 5 w 87"/>
                <a:gd name="T51" fmla="*/ 59 h 86"/>
                <a:gd name="T52" fmla="*/ 2 w 87"/>
                <a:gd name="T53" fmla="*/ 53 h 86"/>
                <a:gd name="T54" fmla="*/ 0 w 87"/>
                <a:gd name="T55" fmla="*/ 43 h 86"/>
                <a:gd name="T56" fmla="*/ 0 w 87"/>
                <a:gd name="T57" fmla="*/ 43 h 86"/>
                <a:gd name="T58" fmla="*/ 2 w 87"/>
                <a:gd name="T59" fmla="*/ 35 h 86"/>
                <a:gd name="T60" fmla="*/ 5 w 87"/>
                <a:gd name="T61" fmla="*/ 27 h 86"/>
                <a:gd name="T62" fmla="*/ 9 w 87"/>
                <a:gd name="T63" fmla="*/ 20 h 86"/>
                <a:gd name="T64" fmla="*/ 13 w 87"/>
                <a:gd name="T65" fmla="*/ 13 h 86"/>
                <a:gd name="T66" fmla="*/ 20 w 87"/>
                <a:gd name="T67" fmla="*/ 7 h 86"/>
                <a:gd name="T68" fmla="*/ 27 w 87"/>
                <a:gd name="T69" fmla="*/ 5 h 86"/>
                <a:gd name="T70" fmla="*/ 35 w 87"/>
                <a:gd name="T71" fmla="*/ 2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53" y="2"/>
                  </a:lnTo>
                  <a:lnTo>
                    <a:pt x="61" y="5"/>
                  </a:lnTo>
                  <a:lnTo>
                    <a:pt x="68" y="7"/>
                  </a:lnTo>
                  <a:lnTo>
                    <a:pt x="75" y="13"/>
                  </a:lnTo>
                  <a:lnTo>
                    <a:pt x="79" y="20"/>
                  </a:lnTo>
                  <a:lnTo>
                    <a:pt x="83" y="27"/>
                  </a:lnTo>
                  <a:lnTo>
                    <a:pt x="86" y="35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3"/>
                  </a:lnTo>
                  <a:lnTo>
                    <a:pt x="83" y="59"/>
                  </a:lnTo>
                  <a:lnTo>
                    <a:pt x="79" y="68"/>
                  </a:lnTo>
                  <a:lnTo>
                    <a:pt x="75" y="73"/>
                  </a:lnTo>
                  <a:lnTo>
                    <a:pt x="68" y="79"/>
                  </a:lnTo>
                  <a:lnTo>
                    <a:pt x="61" y="83"/>
                  </a:lnTo>
                  <a:lnTo>
                    <a:pt x="53" y="86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35" y="86"/>
                  </a:lnTo>
                  <a:lnTo>
                    <a:pt x="27" y="83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9" y="68"/>
                  </a:lnTo>
                  <a:lnTo>
                    <a:pt x="5" y="59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5" y="27"/>
                  </a:lnTo>
                  <a:lnTo>
                    <a:pt x="9" y="20"/>
                  </a:lnTo>
                  <a:lnTo>
                    <a:pt x="13" y="13"/>
                  </a:lnTo>
                  <a:lnTo>
                    <a:pt x="20" y="7"/>
                  </a:lnTo>
                  <a:lnTo>
                    <a:pt x="27" y="5"/>
                  </a:lnTo>
                  <a:lnTo>
                    <a:pt x="35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6"/>
            <p:cNvSpPr>
              <a:spLocks/>
            </p:cNvSpPr>
            <p:nvPr userDrawn="1"/>
          </p:nvSpPr>
          <p:spPr bwMode="auto">
            <a:xfrm>
              <a:off x="3988" y="947"/>
              <a:ext cx="43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1 h 85"/>
                <a:gd name="T6" fmla="*/ 61 w 87"/>
                <a:gd name="T7" fmla="*/ 2 h 85"/>
                <a:gd name="T8" fmla="*/ 68 w 87"/>
                <a:gd name="T9" fmla="*/ 7 h 85"/>
                <a:gd name="T10" fmla="*/ 75 w 87"/>
                <a:gd name="T11" fmla="*/ 12 h 85"/>
                <a:gd name="T12" fmla="*/ 79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2 h 85"/>
                <a:gd name="T20" fmla="*/ 87 w 87"/>
                <a:gd name="T21" fmla="*/ 42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7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2 h 85"/>
                <a:gd name="T34" fmla="*/ 53 w 87"/>
                <a:gd name="T35" fmla="*/ 85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5 h 85"/>
                <a:gd name="T42" fmla="*/ 27 w 87"/>
                <a:gd name="T43" fmla="*/ 82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7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2 h 85"/>
                <a:gd name="T56" fmla="*/ 0 w 87"/>
                <a:gd name="T57" fmla="*/ 42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9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2 h 85"/>
                <a:gd name="T70" fmla="*/ 35 w 87"/>
                <a:gd name="T71" fmla="*/ 1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2"/>
                  </a:lnTo>
                  <a:lnTo>
                    <a:pt x="68" y="7"/>
                  </a:lnTo>
                  <a:lnTo>
                    <a:pt x="75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5"/>
                  </a:lnTo>
                  <a:lnTo>
                    <a:pt x="27" y="82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2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77"/>
            <p:cNvSpPr>
              <a:spLocks/>
            </p:cNvSpPr>
            <p:nvPr userDrawn="1"/>
          </p:nvSpPr>
          <p:spPr bwMode="auto">
            <a:xfrm>
              <a:off x="3988" y="891"/>
              <a:ext cx="43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1 h 85"/>
                <a:gd name="T6" fmla="*/ 61 w 87"/>
                <a:gd name="T7" fmla="*/ 3 h 85"/>
                <a:gd name="T8" fmla="*/ 68 w 87"/>
                <a:gd name="T9" fmla="*/ 7 h 85"/>
                <a:gd name="T10" fmla="*/ 75 w 87"/>
                <a:gd name="T11" fmla="*/ 12 h 85"/>
                <a:gd name="T12" fmla="*/ 79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7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5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5 h 85"/>
                <a:gd name="T42" fmla="*/ 27 w 87"/>
                <a:gd name="T43" fmla="*/ 83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7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9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1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5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5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78"/>
            <p:cNvSpPr>
              <a:spLocks/>
            </p:cNvSpPr>
            <p:nvPr userDrawn="1"/>
          </p:nvSpPr>
          <p:spPr bwMode="auto">
            <a:xfrm>
              <a:off x="4044" y="1230"/>
              <a:ext cx="44" cy="42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53 w 87"/>
                <a:gd name="T5" fmla="*/ 0 h 86"/>
                <a:gd name="T6" fmla="*/ 61 w 87"/>
                <a:gd name="T7" fmla="*/ 3 h 86"/>
                <a:gd name="T8" fmla="*/ 68 w 87"/>
                <a:gd name="T9" fmla="*/ 7 h 86"/>
                <a:gd name="T10" fmla="*/ 75 w 87"/>
                <a:gd name="T11" fmla="*/ 13 h 86"/>
                <a:gd name="T12" fmla="*/ 80 w 87"/>
                <a:gd name="T13" fmla="*/ 18 h 86"/>
                <a:gd name="T14" fmla="*/ 83 w 87"/>
                <a:gd name="T15" fmla="*/ 27 h 86"/>
                <a:gd name="T16" fmla="*/ 86 w 87"/>
                <a:gd name="T17" fmla="*/ 33 h 86"/>
                <a:gd name="T18" fmla="*/ 87 w 87"/>
                <a:gd name="T19" fmla="*/ 43 h 86"/>
                <a:gd name="T20" fmla="*/ 87 w 87"/>
                <a:gd name="T21" fmla="*/ 43 h 86"/>
                <a:gd name="T22" fmla="*/ 86 w 87"/>
                <a:gd name="T23" fmla="*/ 51 h 86"/>
                <a:gd name="T24" fmla="*/ 83 w 87"/>
                <a:gd name="T25" fmla="*/ 60 h 86"/>
                <a:gd name="T26" fmla="*/ 80 w 87"/>
                <a:gd name="T27" fmla="*/ 66 h 86"/>
                <a:gd name="T28" fmla="*/ 75 w 87"/>
                <a:gd name="T29" fmla="*/ 73 h 86"/>
                <a:gd name="T30" fmla="*/ 68 w 87"/>
                <a:gd name="T31" fmla="*/ 79 h 86"/>
                <a:gd name="T32" fmla="*/ 61 w 87"/>
                <a:gd name="T33" fmla="*/ 82 h 86"/>
                <a:gd name="T34" fmla="*/ 53 w 87"/>
                <a:gd name="T35" fmla="*/ 84 h 86"/>
                <a:gd name="T36" fmla="*/ 44 w 87"/>
                <a:gd name="T37" fmla="*/ 86 h 86"/>
                <a:gd name="T38" fmla="*/ 44 w 87"/>
                <a:gd name="T39" fmla="*/ 86 h 86"/>
                <a:gd name="T40" fmla="*/ 35 w 87"/>
                <a:gd name="T41" fmla="*/ 84 h 86"/>
                <a:gd name="T42" fmla="*/ 28 w 87"/>
                <a:gd name="T43" fmla="*/ 82 h 86"/>
                <a:gd name="T44" fmla="*/ 20 w 87"/>
                <a:gd name="T45" fmla="*/ 79 h 86"/>
                <a:gd name="T46" fmla="*/ 14 w 87"/>
                <a:gd name="T47" fmla="*/ 73 h 86"/>
                <a:gd name="T48" fmla="*/ 9 w 87"/>
                <a:gd name="T49" fmla="*/ 66 h 86"/>
                <a:gd name="T50" fmla="*/ 4 w 87"/>
                <a:gd name="T51" fmla="*/ 60 h 86"/>
                <a:gd name="T52" fmla="*/ 2 w 87"/>
                <a:gd name="T53" fmla="*/ 51 h 86"/>
                <a:gd name="T54" fmla="*/ 0 w 87"/>
                <a:gd name="T55" fmla="*/ 43 h 86"/>
                <a:gd name="T56" fmla="*/ 0 w 87"/>
                <a:gd name="T57" fmla="*/ 43 h 86"/>
                <a:gd name="T58" fmla="*/ 2 w 87"/>
                <a:gd name="T59" fmla="*/ 33 h 86"/>
                <a:gd name="T60" fmla="*/ 4 w 87"/>
                <a:gd name="T61" fmla="*/ 27 h 86"/>
                <a:gd name="T62" fmla="*/ 9 w 87"/>
                <a:gd name="T63" fmla="*/ 18 h 86"/>
                <a:gd name="T64" fmla="*/ 14 w 87"/>
                <a:gd name="T65" fmla="*/ 13 h 86"/>
                <a:gd name="T66" fmla="*/ 20 w 87"/>
                <a:gd name="T67" fmla="*/ 7 h 86"/>
                <a:gd name="T68" fmla="*/ 28 w 87"/>
                <a:gd name="T69" fmla="*/ 3 h 86"/>
                <a:gd name="T70" fmla="*/ 35 w 87"/>
                <a:gd name="T71" fmla="*/ 0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53" y="0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5" y="13"/>
                  </a:lnTo>
                  <a:lnTo>
                    <a:pt x="80" y="18"/>
                  </a:lnTo>
                  <a:lnTo>
                    <a:pt x="83" y="27"/>
                  </a:lnTo>
                  <a:lnTo>
                    <a:pt x="86" y="3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60"/>
                  </a:lnTo>
                  <a:lnTo>
                    <a:pt x="80" y="66"/>
                  </a:lnTo>
                  <a:lnTo>
                    <a:pt x="75" y="73"/>
                  </a:lnTo>
                  <a:lnTo>
                    <a:pt x="68" y="79"/>
                  </a:lnTo>
                  <a:lnTo>
                    <a:pt x="61" y="82"/>
                  </a:lnTo>
                  <a:lnTo>
                    <a:pt x="53" y="84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35" y="84"/>
                  </a:lnTo>
                  <a:lnTo>
                    <a:pt x="28" y="82"/>
                  </a:lnTo>
                  <a:lnTo>
                    <a:pt x="20" y="79"/>
                  </a:lnTo>
                  <a:lnTo>
                    <a:pt x="14" y="73"/>
                  </a:lnTo>
                  <a:lnTo>
                    <a:pt x="9" y="66"/>
                  </a:lnTo>
                  <a:lnTo>
                    <a:pt x="4" y="60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3"/>
                  </a:lnTo>
                  <a:lnTo>
                    <a:pt x="4" y="27"/>
                  </a:lnTo>
                  <a:lnTo>
                    <a:pt x="9" y="18"/>
                  </a:lnTo>
                  <a:lnTo>
                    <a:pt x="14" y="13"/>
                  </a:lnTo>
                  <a:lnTo>
                    <a:pt x="20" y="7"/>
                  </a:lnTo>
                  <a:lnTo>
                    <a:pt x="28" y="3"/>
                  </a:lnTo>
                  <a:lnTo>
                    <a:pt x="35" y="0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79"/>
            <p:cNvSpPr>
              <a:spLocks/>
            </p:cNvSpPr>
            <p:nvPr userDrawn="1"/>
          </p:nvSpPr>
          <p:spPr bwMode="auto">
            <a:xfrm>
              <a:off x="4044" y="1173"/>
              <a:ext cx="44" cy="43"/>
            </a:xfrm>
            <a:custGeom>
              <a:avLst/>
              <a:gdLst>
                <a:gd name="T0" fmla="*/ 44 w 87"/>
                <a:gd name="T1" fmla="*/ 0 h 87"/>
                <a:gd name="T2" fmla="*/ 44 w 87"/>
                <a:gd name="T3" fmla="*/ 0 h 87"/>
                <a:gd name="T4" fmla="*/ 53 w 87"/>
                <a:gd name="T5" fmla="*/ 2 h 87"/>
                <a:gd name="T6" fmla="*/ 61 w 87"/>
                <a:gd name="T7" fmla="*/ 5 h 87"/>
                <a:gd name="T8" fmla="*/ 68 w 87"/>
                <a:gd name="T9" fmla="*/ 9 h 87"/>
                <a:gd name="T10" fmla="*/ 75 w 87"/>
                <a:gd name="T11" fmla="*/ 14 h 87"/>
                <a:gd name="T12" fmla="*/ 80 w 87"/>
                <a:gd name="T13" fmla="*/ 20 h 87"/>
                <a:gd name="T14" fmla="*/ 83 w 87"/>
                <a:gd name="T15" fmla="*/ 27 h 87"/>
                <a:gd name="T16" fmla="*/ 86 w 87"/>
                <a:gd name="T17" fmla="*/ 35 h 87"/>
                <a:gd name="T18" fmla="*/ 87 w 87"/>
                <a:gd name="T19" fmla="*/ 44 h 87"/>
                <a:gd name="T20" fmla="*/ 87 w 87"/>
                <a:gd name="T21" fmla="*/ 44 h 87"/>
                <a:gd name="T22" fmla="*/ 86 w 87"/>
                <a:gd name="T23" fmla="*/ 53 h 87"/>
                <a:gd name="T24" fmla="*/ 83 w 87"/>
                <a:gd name="T25" fmla="*/ 61 h 87"/>
                <a:gd name="T26" fmla="*/ 80 w 87"/>
                <a:gd name="T27" fmla="*/ 68 h 87"/>
                <a:gd name="T28" fmla="*/ 75 w 87"/>
                <a:gd name="T29" fmla="*/ 75 h 87"/>
                <a:gd name="T30" fmla="*/ 68 w 87"/>
                <a:gd name="T31" fmla="*/ 79 h 87"/>
                <a:gd name="T32" fmla="*/ 61 w 87"/>
                <a:gd name="T33" fmla="*/ 83 h 87"/>
                <a:gd name="T34" fmla="*/ 53 w 87"/>
                <a:gd name="T35" fmla="*/ 86 h 87"/>
                <a:gd name="T36" fmla="*/ 44 w 87"/>
                <a:gd name="T37" fmla="*/ 87 h 87"/>
                <a:gd name="T38" fmla="*/ 44 w 87"/>
                <a:gd name="T39" fmla="*/ 87 h 87"/>
                <a:gd name="T40" fmla="*/ 35 w 87"/>
                <a:gd name="T41" fmla="*/ 86 h 87"/>
                <a:gd name="T42" fmla="*/ 28 w 87"/>
                <a:gd name="T43" fmla="*/ 83 h 87"/>
                <a:gd name="T44" fmla="*/ 20 w 87"/>
                <a:gd name="T45" fmla="*/ 79 h 87"/>
                <a:gd name="T46" fmla="*/ 14 w 87"/>
                <a:gd name="T47" fmla="*/ 75 h 87"/>
                <a:gd name="T48" fmla="*/ 9 w 87"/>
                <a:gd name="T49" fmla="*/ 68 h 87"/>
                <a:gd name="T50" fmla="*/ 4 w 87"/>
                <a:gd name="T51" fmla="*/ 61 h 87"/>
                <a:gd name="T52" fmla="*/ 2 w 87"/>
                <a:gd name="T53" fmla="*/ 53 h 87"/>
                <a:gd name="T54" fmla="*/ 0 w 87"/>
                <a:gd name="T55" fmla="*/ 44 h 87"/>
                <a:gd name="T56" fmla="*/ 0 w 87"/>
                <a:gd name="T57" fmla="*/ 44 h 87"/>
                <a:gd name="T58" fmla="*/ 2 w 87"/>
                <a:gd name="T59" fmla="*/ 35 h 87"/>
                <a:gd name="T60" fmla="*/ 4 w 87"/>
                <a:gd name="T61" fmla="*/ 27 h 87"/>
                <a:gd name="T62" fmla="*/ 9 w 87"/>
                <a:gd name="T63" fmla="*/ 20 h 87"/>
                <a:gd name="T64" fmla="*/ 14 w 87"/>
                <a:gd name="T65" fmla="*/ 14 h 87"/>
                <a:gd name="T66" fmla="*/ 20 w 87"/>
                <a:gd name="T67" fmla="*/ 9 h 87"/>
                <a:gd name="T68" fmla="*/ 28 w 87"/>
                <a:gd name="T69" fmla="*/ 5 h 87"/>
                <a:gd name="T70" fmla="*/ 35 w 87"/>
                <a:gd name="T71" fmla="*/ 2 h 87"/>
                <a:gd name="T72" fmla="*/ 44 w 87"/>
                <a:gd name="T73" fmla="*/ 0 h 87"/>
                <a:gd name="T74" fmla="*/ 44 w 87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53" y="2"/>
                  </a:lnTo>
                  <a:lnTo>
                    <a:pt x="61" y="5"/>
                  </a:lnTo>
                  <a:lnTo>
                    <a:pt x="68" y="9"/>
                  </a:lnTo>
                  <a:lnTo>
                    <a:pt x="75" y="14"/>
                  </a:lnTo>
                  <a:lnTo>
                    <a:pt x="80" y="20"/>
                  </a:lnTo>
                  <a:lnTo>
                    <a:pt x="83" y="27"/>
                  </a:lnTo>
                  <a:lnTo>
                    <a:pt x="86" y="35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53"/>
                  </a:lnTo>
                  <a:lnTo>
                    <a:pt x="83" y="61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8" y="79"/>
                  </a:lnTo>
                  <a:lnTo>
                    <a:pt x="61" y="83"/>
                  </a:lnTo>
                  <a:lnTo>
                    <a:pt x="53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6"/>
                  </a:lnTo>
                  <a:lnTo>
                    <a:pt x="28" y="83"/>
                  </a:lnTo>
                  <a:lnTo>
                    <a:pt x="20" y="79"/>
                  </a:lnTo>
                  <a:lnTo>
                    <a:pt x="14" y="75"/>
                  </a:lnTo>
                  <a:lnTo>
                    <a:pt x="9" y="68"/>
                  </a:lnTo>
                  <a:lnTo>
                    <a:pt x="4" y="61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35"/>
                  </a:lnTo>
                  <a:lnTo>
                    <a:pt x="4" y="27"/>
                  </a:lnTo>
                  <a:lnTo>
                    <a:pt x="9" y="20"/>
                  </a:lnTo>
                  <a:lnTo>
                    <a:pt x="14" y="14"/>
                  </a:lnTo>
                  <a:lnTo>
                    <a:pt x="20" y="9"/>
                  </a:lnTo>
                  <a:lnTo>
                    <a:pt x="28" y="5"/>
                  </a:lnTo>
                  <a:lnTo>
                    <a:pt x="35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80"/>
            <p:cNvSpPr>
              <a:spLocks/>
            </p:cNvSpPr>
            <p:nvPr userDrawn="1"/>
          </p:nvSpPr>
          <p:spPr bwMode="auto">
            <a:xfrm>
              <a:off x="4044" y="1116"/>
              <a:ext cx="44" cy="44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53 w 87"/>
                <a:gd name="T5" fmla="*/ 1 h 86"/>
                <a:gd name="T6" fmla="*/ 61 w 87"/>
                <a:gd name="T7" fmla="*/ 4 h 86"/>
                <a:gd name="T8" fmla="*/ 68 w 87"/>
                <a:gd name="T9" fmla="*/ 8 h 86"/>
                <a:gd name="T10" fmla="*/ 75 w 87"/>
                <a:gd name="T11" fmla="*/ 12 h 86"/>
                <a:gd name="T12" fmla="*/ 80 w 87"/>
                <a:gd name="T13" fmla="*/ 19 h 86"/>
                <a:gd name="T14" fmla="*/ 83 w 87"/>
                <a:gd name="T15" fmla="*/ 26 h 86"/>
                <a:gd name="T16" fmla="*/ 86 w 87"/>
                <a:gd name="T17" fmla="*/ 34 h 86"/>
                <a:gd name="T18" fmla="*/ 87 w 87"/>
                <a:gd name="T19" fmla="*/ 44 h 86"/>
                <a:gd name="T20" fmla="*/ 87 w 87"/>
                <a:gd name="T21" fmla="*/ 44 h 86"/>
                <a:gd name="T22" fmla="*/ 86 w 87"/>
                <a:gd name="T23" fmla="*/ 52 h 86"/>
                <a:gd name="T24" fmla="*/ 83 w 87"/>
                <a:gd name="T25" fmla="*/ 60 h 86"/>
                <a:gd name="T26" fmla="*/ 80 w 87"/>
                <a:gd name="T27" fmla="*/ 67 h 86"/>
                <a:gd name="T28" fmla="*/ 75 w 87"/>
                <a:gd name="T29" fmla="*/ 74 h 86"/>
                <a:gd name="T30" fmla="*/ 68 w 87"/>
                <a:gd name="T31" fmla="*/ 78 h 86"/>
                <a:gd name="T32" fmla="*/ 61 w 87"/>
                <a:gd name="T33" fmla="*/ 82 h 86"/>
                <a:gd name="T34" fmla="*/ 53 w 87"/>
                <a:gd name="T35" fmla="*/ 85 h 86"/>
                <a:gd name="T36" fmla="*/ 44 w 87"/>
                <a:gd name="T37" fmla="*/ 86 h 86"/>
                <a:gd name="T38" fmla="*/ 44 w 87"/>
                <a:gd name="T39" fmla="*/ 86 h 86"/>
                <a:gd name="T40" fmla="*/ 35 w 87"/>
                <a:gd name="T41" fmla="*/ 85 h 86"/>
                <a:gd name="T42" fmla="*/ 28 w 87"/>
                <a:gd name="T43" fmla="*/ 82 h 86"/>
                <a:gd name="T44" fmla="*/ 20 w 87"/>
                <a:gd name="T45" fmla="*/ 78 h 86"/>
                <a:gd name="T46" fmla="*/ 14 w 87"/>
                <a:gd name="T47" fmla="*/ 74 h 86"/>
                <a:gd name="T48" fmla="*/ 9 w 87"/>
                <a:gd name="T49" fmla="*/ 67 h 86"/>
                <a:gd name="T50" fmla="*/ 4 w 87"/>
                <a:gd name="T51" fmla="*/ 60 h 86"/>
                <a:gd name="T52" fmla="*/ 2 w 87"/>
                <a:gd name="T53" fmla="*/ 52 h 86"/>
                <a:gd name="T54" fmla="*/ 0 w 87"/>
                <a:gd name="T55" fmla="*/ 44 h 86"/>
                <a:gd name="T56" fmla="*/ 0 w 87"/>
                <a:gd name="T57" fmla="*/ 44 h 86"/>
                <a:gd name="T58" fmla="*/ 2 w 87"/>
                <a:gd name="T59" fmla="*/ 34 h 86"/>
                <a:gd name="T60" fmla="*/ 4 w 87"/>
                <a:gd name="T61" fmla="*/ 26 h 86"/>
                <a:gd name="T62" fmla="*/ 9 w 87"/>
                <a:gd name="T63" fmla="*/ 19 h 86"/>
                <a:gd name="T64" fmla="*/ 14 w 87"/>
                <a:gd name="T65" fmla="*/ 12 h 86"/>
                <a:gd name="T66" fmla="*/ 20 w 87"/>
                <a:gd name="T67" fmla="*/ 8 h 86"/>
                <a:gd name="T68" fmla="*/ 28 w 87"/>
                <a:gd name="T69" fmla="*/ 4 h 86"/>
                <a:gd name="T70" fmla="*/ 35 w 87"/>
                <a:gd name="T71" fmla="*/ 1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5" y="12"/>
                  </a:lnTo>
                  <a:lnTo>
                    <a:pt x="80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52"/>
                  </a:lnTo>
                  <a:lnTo>
                    <a:pt x="83" y="60"/>
                  </a:lnTo>
                  <a:lnTo>
                    <a:pt x="80" y="67"/>
                  </a:lnTo>
                  <a:lnTo>
                    <a:pt x="75" y="74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35" y="85"/>
                  </a:lnTo>
                  <a:lnTo>
                    <a:pt x="28" y="82"/>
                  </a:lnTo>
                  <a:lnTo>
                    <a:pt x="20" y="78"/>
                  </a:lnTo>
                  <a:lnTo>
                    <a:pt x="14" y="74"/>
                  </a:lnTo>
                  <a:lnTo>
                    <a:pt x="9" y="67"/>
                  </a:lnTo>
                  <a:lnTo>
                    <a:pt x="4" y="60"/>
                  </a:lnTo>
                  <a:lnTo>
                    <a:pt x="2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34"/>
                  </a:lnTo>
                  <a:lnTo>
                    <a:pt x="4" y="26"/>
                  </a:lnTo>
                  <a:lnTo>
                    <a:pt x="9" y="19"/>
                  </a:lnTo>
                  <a:lnTo>
                    <a:pt x="14" y="12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81"/>
            <p:cNvSpPr>
              <a:spLocks/>
            </p:cNvSpPr>
            <p:nvPr userDrawn="1"/>
          </p:nvSpPr>
          <p:spPr bwMode="auto">
            <a:xfrm>
              <a:off x="4044" y="1060"/>
              <a:ext cx="44" cy="43"/>
            </a:xfrm>
            <a:custGeom>
              <a:avLst/>
              <a:gdLst>
                <a:gd name="T0" fmla="*/ 44 w 87"/>
                <a:gd name="T1" fmla="*/ 0 h 87"/>
                <a:gd name="T2" fmla="*/ 44 w 87"/>
                <a:gd name="T3" fmla="*/ 0 h 87"/>
                <a:gd name="T4" fmla="*/ 53 w 87"/>
                <a:gd name="T5" fmla="*/ 1 h 87"/>
                <a:gd name="T6" fmla="*/ 61 w 87"/>
                <a:gd name="T7" fmla="*/ 4 h 87"/>
                <a:gd name="T8" fmla="*/ 68 w 87"/>
                <a:gd name="T9" fmla="*/ 8 h 87"/>
                <a:gd name="T10" fmla="*/ 75 w 87"/>
                <a:gd name="T11" fmla="*/ 12 h 87"/>
                <a:gd name="T12" fmla="*/ 80 w 87"/>
                <a:gd name="T13" fmla="*/ 19 h 87"/>
                <a:gd name="T14" fmla="*/ 83 w 87"/>
                <a:gd name="T15" fmla="*/ 26 h 87"/>
                <a:gd name="T16" fmla="*/ 86 w 87"/>
                <a:gd name="T17" fmla="*/ 34 h 87"/>
                <a:gd name="T18" fmla="*/ 87 w 87"/>
                <a:gd name="T19" fmla="*/ 43 h 87"/>
                <a:gd name="T20" fmla="*/ 87 w 87"/>
                <a:gd name="T21" fmla="*/ 43 h 87"/>
                <a:gd name="T22" fmla="*/ 86 w 87"/>
                <a:gd name="T23" fmla="*/ 52 h 87"/>
                <a:gd name="T24" fmla="*/ 83 w 87"/>
                <a:gd name="T25" fmla="*/ 61 h 87"/>
                <a:gd name="T26" fmla="*/ 80 w 87"/>
                <a:gd name="T27" fmla="*/ 67 h 87"/>
                <a:gd name="T28" fmla="*/ 75 w 87"/>
                <a:gd name="T29" fmla="*/ 73 h 87"/>
                <a:gd name="T30" fmla="*/ 68 w 87"/>
                <a:gd name="T31" fmla="*/ 78 h 87"/>
                <a:gd name="T32" fmla="*/ 61 w 87"/>
                <a:gd name="T33" fmla="*/ 83 h 87"/>
                <a:gd name="T34" fmla="*/ 53 w 87"/>
                <a:gd name="T35" fmla="*/ 85 h 87"/>
                <a:gd name="T36" fmla="*/ 44 w 87"/>
                <a:gd name="T37" fmla="*/ 87 h 87"/>
                <a:gd name="T38" fmla="*/ 44 w 87"/>
                <a:gd name="T39" fmla="*/ 87 h 87"/>
                <a:gd name="T40" fmla="*/ 35 w 87"/>
                <a:gd name="T41" fmla="*/ 85 h 87"/>
                <a:gd name="T42" fmla="*/ 28 w 87"/>
                <a:gd name="T43" fmla="*/ 83 h 87"/>
                <a:gd name="T44" fmla="*/ 20 w 87"/>
                <a:gd name="T45" fmla="*/ 78 h 87"/>
                <a:gd name="T46" fmla="*/ 14 w 87"/>
                <a:gd name="T47" fmla="*/ 73 h 87"/>
                <a:gd name="T48" fmla="*/ 9 w 87"/>
                <a:gd name="T49" fmla="*/ 67 h 87"/>
                <a:gd name="T50" fmla="*/ 4 w 87"/>
                <a:gd name="T51" fmla="*/ 61 h 87"/>
                <a:gd name="T52" fmla="*/ 2 w 87"/>
                <a:gd name="T53" fmla="*/ 52 h 87"/>
                <a:gd name="T54" fmla="*/ 0 w 87"/>
                <a:gd name="T55" fmla="*/ 43 h 87"/>
                <a:gd name="T56" fmla="*/ 0 w 87"/>
                <a:gd name="T57" fmla="*/ 43 h 87"/>
                <a:gd name="T58" fmla="*/ 2 w 87"/>
                <a:gd name="T59" fmla="*/ 34 h 87"/>
                <a:gd name="T60" fmla="*/ 4 w 87"/>
                <a:gd name="T61" fmla="*/ 26 h 87"/>
                <a:gd name="T62" fmla="*/ 9 w 87"/>
                <a:gd name="T63" fmla="*/ 19 h 87"/>
                <a:gd name="T64" fmla="*/ 14 w 87"/>
                <a:gd name="T65" fmla="*/ 12 h 87"/>
                <a:gd name="T66" fmla="*/ 20 w 87"/>
                <a:gd name="T67" fmla="*/ 8 h 87"/>
                <a:gd name="T68" fmla="*/ 28 w 87"/>
                <a:gd name="T69" fmla="*/ 4 h 87"/>
                <a:gd name="T70" fmla="*/ 35 w 87"/>
                <a:gd name="T71" fmla="*/ 1 h 87"/>
                <a:gd name="T72" fmla="*/ 44 w 87"/>
                <a:gd name="T73" fmla="*/ 0 h 87"/>
                <a:gd name="T74" fmla="*/ 44 w 87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5" y="12"/>
                  </a:lnTo>
                  <a:lnTo>
                    <a:pt x="80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2"/>
                  </a:lnTo>
                  <a:lnTo>
                    <a:pt x="83" y="61"/>
                  </a:lnTo>
                  <a:lnTo>
                    <a:pt x="80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5"/>
                  </a:lnTo>
                  <a:lnTo>
                    <a:pt x="28" y="83"/>
                  </a:lnTo>
                  <a:lnTo>
                    <a:pt x="20" y="78"/>
                  </a:lnTo>
                  <a:lnTo>
                    <a:pt x="14" y="73"/>
                  </a:lnTo>
                  <a:lnTo>
                    <a:pt x="9" y="67"/>
                  </a:lnTo>
                  <a:lnTo>
                    <a:pt x="4" y="61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4" y="26"/>
                  </a:lnTo>
                  <a:lnTo>
                    <a:pt x="9" y="19"/>
                  </a:lnTo>
                  <a:lnTo>
                    <a:pt x="14" y="12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82"/>
            <p:cNvSpPr>
              <a:spLocks/>
            </p:cNvSpPr>
            <p:nvPr userDrawn="1"/>
          </p:nvSpPr>
          <p:spPr bwMode="auto">
            <a:xfrm>
              <a:off x="4044" y="1004"/>
              <a:ext cx="44" cy="42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53 w 87"/>
                <a:gd name="T5" fmla="*/ 2 h 86"/>
                <a:gd name="T6" fmla="*/ 61 w 87"/>
                <a:gd name="T7" fmla="*/ 5 h 86"/>
                <a:gd name="T8" fmla="*/ 68 w 87"/>
                <a:gd name="T9" fmla="*/ 7 h 86"/>
                <a:gd name="T10" fmla="*/ 75 w 87"/>
                <a:gd name="T11" fmla="*/ 13 h 86"/>
                <a:gd name="T12" fmla="*/ 80 w 87"/>
                <a:gd name="T13" fmla="*/ 20 h 86"/>
                <a:gd name="T14" fmla="*/ 83 w 87"/>
                <a:gd name="T15" fmla="*/ 27 h 86"/>
                <a:gd name="T16" fmla="*/ 86 w 87"/>
                <a:gd name="T17" fmla="*/ 35 h 86"/>
                <a:gd name="T18" fmla="*/ 87 w 87"/>
                <a:gd name="T19" fmla="*/ 43 h 86"/>
                <a:gd name="T20" fmla="*/ 87 w 87"/>
                <a:gd name="T21" fmla="*/ 43 h 86"/>
                <a:gd name="T22" fmla="*/ 86 w 87"/>
                <a:gd name="T23" fmla="*/ 53 h 86"/>
                <a:gd name="T24" fmla="*/ 83 w 87"/>
                <a:gd name="T25" fmla="*/ 59 h 86"/>
                <a:gd name="T26" fmla="*/ 80 w 87"/>
                <a:gd name="T27" fmla="*/ 68 h 86"/>
                <a:gd name="T28" fmla="*/ 75 w 87"/>
                <a:gd name="T29" fmla="*/ 73 h 86"/>
                <a:gd name="T30" fmla="*/ 68 w 87"/>
                <a:gd name="T31" fmla="*/ 79 h 86"/>
                <a:gd name="T32" fmla="*/ 61 w 87"/>
                <a:gd name="T33" fmla="*/ 83 h 86"/>
                <a:gd name="T34" fmla="*/ 53 w 87"/>
                <a:gd name="T35" fmla="*/ 86 h 86"/>
                <a:gd name="T36" fmla="*/ 44 w 87"/>
                <a:gd name="T37" fmla="*/ 86 h 86"/>
                <a:gd name="T38" fmla="*/ 44 w 87"/>
                <a:gd name="T39" fmla="*/ 86 h 86"/>
                <a:gd name="T40" fmla="*/ 35 w 87"/>
                <a:gd name="T41" fmla="*/ 86 h 86"/>
                <a:gd name="T42" fmla="*/ 28 w 87"/>
                <a:gd name="T43" fmla="*/ 83 h 86"/>
                <a:gd name="T44" fmla="*/ 20 w 87"/>
                <a:gd name="T45" fmla="*/ 79 h 86"/>
                <a:gd name="T46" fmla="*/ 14 w 87"/>
                <a:gd name="T47" fmla="*/ 73 h 86"/>
                <a:gd name="T48" fmla="*/ 9 w 87"/>
                <a:gd name="T49" fmla="*/ 68 h 86"/>
                <a:gd name="T50" fmla="*/ 4 w 87"/>
                <a:gd name="T51" fmla="*/ 59 h 86"/>
                <a:gd name="T52" fmla="*/ 2 w 87"/>
                <a:gd name="T53" fmla="*/ 53 h 86"/>
                <a:gd name="T54" fmla="*/ 0 w 87"/>
                <a:gd name="T55" fmla="*/ 43 h 86"/>
                <a:gd name="T56" fmla="*/ 0 w 87"/>
                <a:gd name="T57" fmla="*/ 43 h 86"/>
                <a:gd name="T58" fmla="*/ 2 w 87"/>
                <a:gd name="T59" fmla="*/ 35 h 86"/>
                <a:gd name="T60" fmla="*/ 4 w 87"/>
                <a:gd name="T61" fmla="*/ 27 h 86"/>
                <a:gd name="T62" fmla="*/ 9 w 87"/>
                <a:gd name="T63" fmla="*/ 20 h 86"/>
                <a:gd name="T64" fmla="*/ 14 w 87"/>
                <a:gd name="T65" fmla="*/ 13 h 86"/>
                <a:gd name="T66" fmla="*/ 20 w 87"/>
                <a:gd name="T67" fmla="*/ 7 h 86"/>
                <a:gd name="T68" fmla="*/ 28 w 87"/>
                <a:gd name="T69" fmla="*/ 5 h 86"/>
                <a:gd name="T70" fmla="*/ 35 w 87"/>
                <a:gd name="T71" fmla="*/ 2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53" y="2"/>
                  </a:lnTo>
                  <a:lnTo>
                    <a:pt x="61" y="5"/>
                  </a:lnTo>
                  <a:lnTo>
                    <a:pt x="68" y="7"/>
                  </a:lnTo>
                  <a:lnTo>
                    <a:pt x="75" y="13"/>
                  </a:lnTo>
                  <a:lnTo>
                    <a:pt x="80" y="20"/>
                  </a:lnTo>
                  <a:lnTo>
                    <a:pt x="83" y="27"/>
                  </a:lnTo>
                  <a:lnTo>
                    <a:pt x="86" y="35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3"/>
                  </a:lnTo>
                  <a:lnTo>
                    <a:pt x="83" y="59"/>
                  </a:lnTo>
                  <a:lnTo>
                    <a:pt x="80" y="68"/>
                  </a:lnTo>
                  <a:lnTo>
                    <a:pt x="75" y="73"/>
                  </a:lnTo>
                  <a:lnTo>
                    <a:pt x="68" y="79"/>
                  </a:lnTo>
                  <a:lnTo>
                    <a:pt x="61" y="83"/>
                  </a:lnTo>
                  <a:lnTo>
                    <a:pt x="53" y="86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35" y="86"/>
                  </a:lnTo>
                  <a:lnTo>
                    <a:pt x="28" y="83"/>
                  </a:lnTo>
                  <a:lnTo>
                    <a:pt x="20" y="79"/>
                  </a:lnTo>
                  <a:lnTo>
                    <a:pt x="14" y="73"/>
                  </a:lnTo>
                  <a:lnTo>
                    <a:pt x="9" y="68"/>
                  </a:lnTo>
                  <a:lnTo>
                    <a:pt x="4" y="59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4" y="27"/>
                  </a:lnTo>
                  <a:lnTo>
                    <a:pt x="9" y="20"/>
                  </a:lnTo>
                  <a:lnTo>
                    <a:pt x="14" y="13"/>
                  </a:lnTo>
                  <a:lnTo>
                    <a:pt x="20" y="7"/>
                  </a:lnTo>
                  <a:lnTo>
                    <a:pt x="28" y="5"/>
                  </a:lnTo>
                  <a:lnTo>
                    <a:pt x="35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83"/>
            <p:cNvSpPr>
              <a:spLocks/>
            </p:cNvSpPr>
            <p:nvPr userDrawn="1"/>
          </p:nvSpPr>
          <p:spPr bwMode="auto">
            <a:xfrm>
              <a:off x="4044" y="947"/>
              <a:ext cx="44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1 h 85"/>
                <a:gd name="T6" fmla="*/ 61 w 87"/>
                <a:gd name="T7" fmla="*/ 2 h 85"/>
                <a:gd name="T8" fmla="*/ 68 w 87"/>
                <a:gd name="T9" fmla="*/ 7 h 85"/>
                <a:gd name="T10" fmla="*/ 75 w 87"/>
                <a:gd name="T11" fmla="*/ 12 h 85"/>
                <a:gd name="T12" fmla="*/ 80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2 h 85"/>
                <a:gd name="T20" fmla="*/ 87 w 87"/>
                <a:gd name="T21" fmla="*/ 42 h 85"/>
                <a:gd name="T22" fmla="*/ 86 w 87"/>
                <a:gd name="T23" fmla="*/ 51 h 85"/>
                <a:gd name="T24" fmla="*/ 83 w 87"/>
                <a:gd name="T25" fmla="*/ 59 h 85"/>
                <a:gd name="T26" fmla="*/ 80 w 87"/>
                <a:gd name="T27" fmla="*/ 67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2 h 85"/>
                <a:gd name="T34" fmla="*/ 53 w 87"/>
                <a:gd name="T35" fmla="*/ 85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5 h 85"/>
                <a:gd name="T42" fmla="*/ 28 w 87"/>
                <a:gd name="T43" fmla="*/ 82 h 85"/>
                <a:gd name="T44" fmla="*/ 20 w 87"/>
                <a:gd name="T45" fmla="*/ 78 h 85"/>
                <a:gd name="T46" fmla="*/ 14 w 87"/>
                <a:gd name="T47" fmla="*/ 73 h 85"/>
                <a:gd name="T48" fmla="*/ 9 w 87"/>
                <a:gd name="T49" fmla="*/ 67 h 85"/>
                <a:gd name="T50" fmla="*/ 4 w 87"/>
                <a:gd name="T51" fmla="*/ 59 h 85"/>
                <a:gd name="T52" fmla="*/ 2 w 87"/>
                <a:gd name="T53" fmla="*/ 51 h 85"/>
                <a:gd name="T54" fmla="*/ 0 w 87"/>
                <a:gd name="T55" fmla="*/ 42 h 85"/>
                <a:gd name="T56" fmla="*/ 0 w 87"/>
                <a:gd name="T57" fmla="*/ 42 h 85"/>
                <a:gd name="T58" fmla="*/ 2 w 87"/>
                <a:gd name="T59" fmla="*/ 34 h 85"/>
                <a:gd name="T60" fmla="*/ 4 w 87"/>
                <a:gd name="T61" fmla="*/ 26 h 85"/>
                <a:gd name="T62" fmla="*/ 9 w 87"/>
                <a:gd name="T63" fmla="*/ 19 h 85"/>
                <a:gd name="T64" fmla="*/ 14 w 87"/>
                <a:gd name="T65" fmla="*/ 12 h 85"/>
                <a:gd name="T66" fmla="*/ 20 w 87"/>
                <a:gd name="T67" fmla="*/ 7 h 85"/>
                <a:gd name="T68" fmla="*/ 28 w 87"/>
                <a:gd name="T69" fmla="*/ 2 h 85"/>
                <a:gd name="T70" fmla="*/ 35 w 87"/>
                <a:gd name="T71" fmla="*/ 1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2"/>
                  </a:lnTo>
                  <a:lnTo>
                    <a:pt x="68" y="7"/>
                  </a:lnTo>
                  <a:lnTo>
                    <a:pt x="75" y="12"/>
                  </a:lnTo>
                  <a:lnTo>
                    <a:pt x="80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80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5"/>
                  </a:lnTo>
                  <a:lnTo>
                    <a:pt x="28" y="82"/>
                  </a:lnTo>
                  <a:lnTo>
                    <a:pt x="20" y="78"/>
                  </a:lnTo>
                  <a:lnTo>
                    <a:pt x="14" y="73"/>
                  </a:lnTo>
                  <a:lnTo>
                    <a:pt x="9" y="67"/>
                  </a:lnTo>
                  <a:lnTo>
                    <a:pt x="4" y="59"/>
                  </a:lnTo>
                  <a:lnTo>
                    <a:pt x="2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4"/>
                  </a:lnTo>
                  <a:lnTo>
                    <a:pt x="4" y="26"/>
                  </a:lnTo>
                  <a:lnTo>
                    <a:pt x="9" y="19"/>
                  </a:lnTo>
                  <a:lnTo>
                    <a:pt x="14" y="12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84"/>
            <p:cNvSpPr>
              <a:spLocks/>
            </p:cNvSpPr>
            <p:nvPr userDrawn="1"/>
          </p:nvSpPr>
          <p:spPr bwMode="auto">
            <a:xfrm>
              <a:off x="4044" y="891"/>
              <a:ext cx="44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1 h 85"/>
                <a:gd name="T6" fmla="*/ 61 w 87"/>
                <a:gd name="T7" fmla="*/ 3 h 85"/>
                <a:gd name="T8" fmla="*/ 68 w 87"/>
                <a:gd name="T9" fmla="*/ 7 h 85"/>
                <a:gd name="T10" fmla="*/ 75 w 87"/>
                <a:gd name="T11" fmla="*/ 12 h 85"/>
                <a:gd name="T12" fmla="*/ 80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80 w 87"/>
                <a:gd name="T27" fmla="*/ 67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5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5 h 85"/>
                <a:gd name="T42" fmla="*/ 28 w 87"/>
                <a:gd name="T43" fmla="*/ 83 h 85"/>
                <a:gd name="T44" fmla="*/ 20 w 87"/>
                <a:gd name="T45" fmla="*/ 78 h 85"/>
                <a:gd name="T46" fmla="*/ 14 w 87"/>
                <a:gd name="T47" fmla="*/ 73 h 85"/>
                <a:gd name="T48" fmla="*/ 9 w 87"/>
                <a:gd name="T49" fmla="*/ 67 h 85"/>
                <a:gd name="T50" fmla="*/ 4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4 w 87"/>
                <a:gd name="T61" fmla="*/ 26 h 85"/>
                <a:gd name="T62" fmla="*/ 9 w 87"/>
                <a:gd name="T63" fmla="*/ 19 h 85"/>
                <a:gd name="T64" fmla="*/ 14 w 87"/>
                <a:gd name="T65" fmla="*/ 12 h 85"/>
                <a:gd name="T66" fmla="*/ 20 w 87"/>
                <a:gd name="T67" fmla="*/ 7 h 85"/>
                <a:gd name="T68" fmla="*/ 28 w 87"/>
                <a:gd name="T69" fmla="*/ 3 h 85"/>
                <a:gd name="T70" fmla="*/ 35 w 87"/>
                <a:gd name="T71" fmla="*/ 1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5" y="12"/>
                  </a:lnTo>
                  <a:lnTo>
                    <a:pt x="80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80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5"/>
                  </a:lnTo>
                  <a:lnTo>
                    <a:pt x="28" y="83"/>
                  </a:lnTo>
                  <a:lnTo>
                    <a:pt x="20" y="78"/>
                  </a:lnTo>
                  <a:lnTo>
                    <a:pt x="14" y="73"/>
                  </a:lnTo>
                  <a:lnTo>
                    <a:pt x="9" y="67"/>
                  </a:lnTo>
                  <a:lnTo>
                    <a:pt x="4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4" y="26"/>
                  </a:lnTo>
                  <a:lnTo>
                    <a:pt x="9" y="19"/>
                  </a:lnTo>
                  <a:lnTo>
                    <a:pt x="14" y="12"/>
                  </a:lnTo>
                  <a:lnTo>
                    <a:pt x="20" y="7"/>
                  </a:lnTo>
                  <a:lnTo>
                    <a:pt x="28" y="3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85"/>
            <p:cNvSpPr>
              <a:spLocks/>
            </p:cNvSpPr>
            <p:nvPr userDrawn="1"/>
          </p:nvSpPr>
          <p:spPr bwMode="auto">
            <a:xfrm>
              <a:off x="3875" y="1342"/>
              <a:ext cx="43" cy="43"/>
            </a:xfrm>
            <a:custGeom>
              <a:avLst/>
              <a:gdLst>
                <a:gd name="T0" fmla="*/ 42 w 86"/>
                <a:gd name="T1" fmla="*/ 0 h 85"/>
                <a:gd name="T2" fmla="*/ 42 w 86"/>
                <a:gd name="T3" fmla="*/ 0 h 85"/>
                <a:gd name="T4" fmla="*/ 52 w 86"/>
                <a:gd name="T5" fmla="*/ 0 h 85"/>
                <a:gd name="T6" fmla="*/ 59 w 86"/>
                <a:gd name="T7" fmla="*/ 3 h 85"/>
                <a:gd name="T8" fmla="*/ 67 w 86"/>
                <a:gd name="T9" fmla="*/ 7 h 85"/>
                <a:gd name="T10" fmla="*/ 73 w 86"/>
                <a:gd name="T11" fmla="*/ 12 h 85"/>
                <a:gd name="T12" fmla="*/ 78 w 86"/>
                <a:gd name="T13" fmla="*/ 18 h 85"/>
                <a:gd name="T14" fmla="*/ 82 w 86"/>
                <a:gd name="T15" fmla="*/ 26 h 85"/>
                <a:gd name="T16" fmla="*/ 85 w 86"/>
                <a:gd name="T17" fmla="*/ 34 h 85"/>
                <a:gd name="T18" fmla="*/ 86 w 86"/>
                <a:gd name="T19" fmla="*/ 42 h 85"/>
                <a:gd name="T20" fmla="*/ 86 w 86"/>
                <a:gd name="T21" fmla="*/ 42 h 85"/>
                <a:gd name="T22" fmla="*/ 85 w 86"/>
                <a:gd name="T23" fmla="*/ 51 h 85"/>
                <a:gd name="T24" fmla="*/ 82 w 86"/>
                <a:gd name="T25" fmla="*/ 59 h 85"/>
                <a:gd name="T26" fmla="*/ 78 w 86"/>
                <a:gd name="T27" fmla="*/ 66 h 85"/>
                <a:gd name="T28" fmla="*/ 73 w 86"/>
                <a:gd name="T29" fmla="*/ 73 h 85"/>
                <a:gd name="T30" fmla="*/ 67 w 86"/>
                <a:gd name="T31" fmla="*/ 78 h 85"/>
                <a:gd name="T32" fmla="*/ 59 w 86"/>
                <a:gd name="T33" fmla="*/ 82 h 85"/>
                <a:gd name="T34" fmla="*/ 52 w 86"/>
                <a:gd name="T35" fmla="*/ 84 h 85"/>
                <a:gd name="T36" fmla="*/ 42 w 86"/>
                <a:gd name="T37" fmla="*/ 85 h 85"/>
                <a:gd name="T38" fmla="*/ 42 w 86"/>
                <a:gd name="T39" fmla="*/ 85 h 85"/>
                <a:gd name="T40" fmla="*/ 34 w 86"/>
                <a:gd name="T41" fmla="*/ 84 h 85"/>
                <a:gd name="T42" fmla="*/ 26 w 86"/>
                <a:gd name="T43" fmla="*/ 82 h 85"/>
                <a:gd name="T44" fmla="*/ 19 w 86"/>
                <a:gd name="T45" fmla="*/ 78 h 85"/>
                <a:gd name="T46" fmla="*/ 12 w 86"/>
                <a:gd name="T47" fmla="*/ 73 h 85"/>
                <a:gd name="T48" fmla="*/ 6 w 86"/>
                <a:gd name="T49" fmla="*/ 66 h 85"/>
                <a:gd name="T50" fmla="*/ 4 w 86"/>
                <a:gd name="T51" fmla="*/ 59 h 85"/>
                <a:gd name="T52" fmla="*/ 1 w 86"/>
                <a:gd name="T53" fmla="*/ 51 h 85"/>
                <a:gd name="T54" fmla="*/ 0 w 86"/>
                <a:gd name="T55" fmla="*/ 42 h 85"/>
                <a:gd name="T56" fmla="*/ 0 w 86"/>
                <a:gd name="T57" fmla="*/ 42 h 85"/>
                <a:gd name="T58" fmla="*/ 1 w 86"/>
                <a:gd name="T59" fmla="*/ 34 h 85"/>
                <a:gd name="T60" fmla="*/ 4 w 86"/>
                <a:gd name="T61" fmla="*/ 26 h 85"/>
                <a:gd name="T62" fmla="*/ 6 w 86"/>
                <a:gd name="T63" fmla="*/ 18 h 85"/>
                <a:gd name="T64" fmla="*/ 12 w 86"/>
                <a:gd name="T65" fmla="*/ 12 h 85"/>
                <a:gd name="T66" fmla="*/ 19 w 86"/>
                <a:gd name="T67" fmla="*/ 7 h 85"/>
                <a:gd name="T68" fmla="*/ 26 w 86"/>
                <a:gd name="T69" fmla="*/ 3 h 85"/>
                <a:gd name="T70" fmla="*/ 34 w 86"/>
                <a:gd name="T71" fmla="*/ 0 h 85"/>
                <a:gd name="T72" fmla="*/ 42 w 86"/>
                <a:gd name="T73" fmla="*/ 0 h 85"/>
                <a:gd name="T74" fmla="*/ 42 w 86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6" h="85">
                  <a:moveTo>
                    <a:pt x="42" y="0"/>
                  </a:moveTo>
                  <a:lnTo>
                    <a:pt x="42" y="0"/>
                  </a:lnTo>
                  <a:lnTo>
                    <a:pt x="52" y="0"/>
                  </a:lnTo>
                  <a:lnTo>
                    <a:pt x="59" y="3"/>
                  </a:lnTo>
                  <a:lnTo>
                    <a:pt x="67" y="7"/>
                  </a:lnTo>
                  <a:lnTo>
                    <a:pt x="73" y="12"/>
                  </a:lnTo>
                  <a:lnTo>
                    <a:pt x="78" y="18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2"/>
                  </a:lnTo>
                  <a:lnTo>
                    <a:pt x="52" y="84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34" y="84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6" y="66"/>
                  </a:lnTo>
                  <a:lnTo>
                    <a:pt x="4" y="59"/>
                  </a:lnTo>
                  <a:lnTo>
                    <a:pt x="1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6" y="18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8ED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86"/>
            <p:cNvSpPr>
              <a:spLocks/>
            </p:cNvSpPr>
            <p:nvPr userDrawn="1"/>
          </p:nvSpPr>
          <p:spPr bwMode="auto">
            <a:xfrm>
              <a:off x="3875" y="1060"/>
              <a:ext cx="43" cy="43"/>
            </a:xfrm>
            <a:custGeom>
              <a:avLst/>
              <a:gdLst>
                <a:gd name="T0" fmla="*/ 42 w 86"/>
                <a:gd name="T1" fmla="*/ 0 h 87"/>
                <a:gd name="T2" fmla="*/ 42 w 86"/>
                <a:gd name="T3" fmla="*/ 0 h 87"/>
                <a:gd name="T4" fmla="*/ 52 w 86"/>
                <a:gd name="T5" fmla="*/ 1 h 87"/>
                <a:gd name="T6" fmla="*/ 59 w 86"/>
                <a:gd name="T7" fmla="*/ 4 h 87"/>
                <a:gd name="T8" fmla="*/ 67 w 86"/>
                <a:gd name="T9" fmla="*/ 8 h 87"/>
                <a:gd name="T10" fmla="*/ 73 w 86"/>
                <a:gd name="T11" fmla="*/ 12 h 87"/>
                <a:gd name="T12" fmla="*/ 78 w 86"/>
                <a:gd name="T13" fmla="*/ 19 h 87"/>
                <a:gd name="T14" fmla="*/ 82 w 86"/>
                <a:gd name="T15" fmla="*/ 26 h 87"/>
                <a:gd name="T16" fmla="*/ 85 w 86"/>
                <a:gd name="T17" fmla="*/ 34 h 87"/>
                <a:gd name="T18" fmla="*/ 86 w 86"/>
                <a:gd name="T19" fmla="*/ 43 h 87"/>
                <a:gd name="T20" fmla="*/ 86 w 86"/>
                <a:gd name="T21" fmla="*/ 43 h 87"/>
                <a:gd name="T22" fmla="*/ 85 w 86"/>
                <a:gd name="T23" fmla="*/ 52 h 87"/>
                <a:gd name="T24" fmla="*/ 82 w 86"/>
                <a:gd name="T25" fmla="*/ 61 h 87"/>
                <a:gd name="T26" fmla="*/ 78 w 86"/>
                <a:gd name="T27" fmla="*/ 67 h 87"/>
                <a:gd name="T28" fmla="*/ 73 w 86"/>
                <a:gd name="T29" fmla="*/ 73 h 87"/>
                <a:gd name="T30" fmla="*/ 67 w 86"/>
                <a:gd name="T31" fmla="*/ 78 h 87"/>
                <a:gd name="T32" fmla="*/ 59 w 86"/>
                <a:gd name="T33" fmla="*/ 83 h 87"/>
                <a:gd name="T34" fmla="*/ 52 w 86"/>
                <a:gd name="T35" fmla="*/ 85 h 87"/>
                <a:gd name="T36" fmla="*/ 42 w 86"/>
                <a:gd name="T37" fmla="*/ 87 h 87"/>
                <a:gd name="T38" fmla="*/ 42 w 86"/>
                <a:gd name="T39" fmla="*/ 87 h 87"/>
                <a:gd name="T40" fmla="*/ 34 w 86"/>
                <a:gd name="T41" fmla="*/ 85 h 87"/>
                <a:gd name="T42" fmla="*/ 26 w 86"/>
                <a:gd name="T43" fmla="*/ 83 h 87"/>
                <a:gd name="T44" fmla="*/ 19 w 86"/>
                <a:gd name="T45" fmla="*/ 78 h 87"/>
                <a:gd name="T46" fmla="*/ 12 w 86"/>
                <a:gd name="T47" fmla="*/ 73 h 87"/>
                <a:gd name="T48" fmla="*/ 6 w 86"/>
                <a:gd name="T49" fmla="*/ 67 h 87"/>
                <a:gd name="T50" fmla="*/ 4 w 86"/>
                <a:gd name="T51" fmla="*/ 61 h 87"/>
                <a:gd name="T52" fmla="*/ 1 w 86"/>
                <a:gd name="T53" fmla="*/ 52 h 87"/>
                <a:gd name="T54" fmla="*/ 0 w 86"/>
                <a:gd name="T55" fmla="*/ 43 h 87"/>
                <a:gd name="T56" fmla="*/ 0 w 86"/>
                <a:gd name="T57" fmla="*/ 43 h 87"/>
                <a:gd name="T58" fmla="*/ 1 w 86"/>
                <a:gd name="T59" fmla="*/ 34 h 87"/>
                <a:gd name="T60" fmla="*/ 4 w 86"/>
                <a:gd name="T61" fmla="*/ 26 h 87"/>
                <a:gd name="T62" fmla="*/ 6 w 86"/>
                <a:gd name="T63" fmla="*/ 19 h 87"/>
                <a:gd name="T64" fmla="*/ 12 w 86"/>
                <a:gd name="T65" fmla="*/ 12 h 87"/>
                <a:gd name="T66" fmla="*/ 19 w 86"/>
                <a:gd name="T67" fmla="*/ 8 h 87"/>
                <a:gd name="T68" fmla="*/ 26 w 86"/>
                <a:gd name="T69" fmla="*/ 4 h 87"/>
                <a:gd name="T70" fmla="*/ 34 w 86"/>
                <a:gd name="T71" fmla="*/ 1 h 87"/>
                <a:gd name="T72" fmla="*/ 42 w 86"/>
                <a:gd name="T73" fmla="*/ 0 h 87"/>
                <a:gd name="T74" fmla="*/ 42 w 86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6" h="87">
                  <a:moveTo>
                    <a:pt x="42" y="0"/>
                  </a:moveTo>
                  <a:lnTo>
                    <a:pt x="42" y="0"/>
                  </a:lnTo>
                  <a:lnTo>
                    <a:pt x="52" y="1"/>
                  </a:lnTo>
                  <a:lnTo>
                    <a:pt x="59" y="4"/>
                  </a:lnTo>
                  <a:lnTo>
                    <a:pt x="67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5" y="52"/>
                  </a:lnTo>
                  <a:lnTo>
                    <a:pt x="82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3"/>
                  </a:lnTo>
                  <a:lnTo>
                    <a:pt x="52" y="85"/>
                  </a:lnTo>
                  <a:lnTo>
                    <a:pt x="42" y="87"/>
                  </a:lnTo>
                  <a:lnTo>
                    <a:pt x="42" y="87"/>
                  </a:lnTo>
                  <a:lnTo>
                    <a:pt x="34" y="85"/>
                  </a:lnTo>
                  <a:lnTo>
                    <a:pt x="26" y="83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6" y="67"/>
                  </a:lnTo>
                  <a:lnTo>
                    <a:pt x="4" y="61"/>
                  </a:lnTo>
                  <a:lnTo>
                    <a:pt x="1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6" y="19"/>
                  </a:lnTo>
                  <a:lnTo>
                    <a:pt x="12" y="12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87"/>
            <p:cNvSpPr>
              <a:spLocks/>
            </p:cNvSpPr>
            <p:nvPr userDrawn="1"/>
          </p:nvSpPr>
          <p:spPr bwMode="auto">
            <a:xfrm>
              <a:off x="3875" y="1004"/>
              <a:ext cx="43" cy="42"/>
            </a:xfrm>
            <a:custGeom>
              <a:avLst/>
              <a:gdLst>
                <a:gd name="T0" fmla="*/ 42 w 86"/>
                <a:gd name="T1" fmla="*/ 0 h 86"/>
                <a:gd name="T2" fmla="*/ 42 w 86"/>
                <a:gd name="T3" fmla="*/ 0 h 86"/>
                <a:gd name="T4" fmla="*/ 52 w 86"/>
                <a:gd name="T5" fmla="*/ 2 h 86"/>
                <a:gd name="T6" fmla="*/ 59 w 86"/>
                <a:gd name="T7" fmla="*/ 5 h 86"/>
                <a:gd name="T8" fmla="*/ 67 w 86"/>
                <a:gd name="T9" fmla="*/ 7 h 86"/>
                <a:gd name="T10" fmla="*/ 73 w 86"/>
                <a:gd name="T11" fmla="*/ 13 h 86"/>
                <a:gd name="T12" fmla="*/ 78 w 86"/>
                <a:gd name="T13" fmla="*/ 20 h 86"/>
                <a:gd name="T14" fmla="*/ 82 w 86"/>
                <a:gd name="T15" fmla="*/ 27 h 86"/>
                <a:gd name="T16" fmla="*/ 85 w 86"/>
                <a:gd name="T17" fmla="*/ 35 h 86"/>
                <a:gd name="T18" fmla="*/ 86 w 86"/>
                <a:gd name="T19" fmla="*/ 43 h 86"/>
                <a:gd name="T20" fmla="*/ 86 w 86"/>
                <a:gd name="T21" fmla="*/ 43 h 86"/>
                <a:gd name="T22" fmla="*/ 85 w 86"/>
                <a:gd name="T23" fmla="*/ 53 h 86"/>
                <a:gd name="T24" fmla="*/ 82 w 86"/>
                <a:gd name="T25" fmla="*/ 59 h 86"/>
                <a:gd name="T26" fmla="*/ 78 w 86"/>
                <a:gd name="T27" fmla="*/ 68 h 86"/>
                <a:gd name="T28" fmla="*/ 73 w 86"/>
                <a:gd name="T29" fmla="*/ 73 h 86"/>
                <a:gd name="T30" fmla="*/ 67 w 86"/>
                <a:gd name="T31" fmla="*/ 79 h 86"/>
                <a:gd name="T32" fmla="*/ 59 w 86"/>
                <a:gd name="T33" fmla="*/ 83 h 86"/>
                <a:gd name="T34" fmla="*/ 52 w 86"/>
                <a:gd name="T35" fmla="*/ 86 h 86"/>
                <a:gd name="T36" fmla="*/ 42 w 86"/>
                <a:gd name="T37" fmla="*/ 86 h 86"/>
                <a:gd name="T38" fmla="*/ 42 w 86"/>
                <a:gd name="T39" fmla="*/ 86 h 86"/>
                <a:gd name="T40" fmla="*/ 34 w 86"/>
                <a:gd name="T41" fmla="*/ 86 h 86"/>
                <a:gd name="T42" fmla="*/ 26 w 86"/>
                <a:gd name="T43" fmla="*/ 83 h 86"/>
                <a:gd name="T44" fmla="*/ 19 w 86"/>
                <a:gd name="T45" fmla="*/ 79 h 86"/>
                <a:gd name="T46" fmla="*/ 12 w 86"/>
                <a:gd name="T47" fmla="*/ 73 h 86"/>
                <a:gd name="T48" fmla="*/ 6 w 86"/>
                <a:gd name="T49" fmla="*/ 68 h 86"/>
                <a:gd name="T50" fmla="*/ 4 w 86"/>
                <a:gd name="T51" fmla="*/ 59 h 86"/>
                <a:gd name="T52" fmla="*/ 1 w 86"/>
                <a:gd name="T53" fmla="*/ 53 h 86"/>
                <a:gd name="T54" fmla="*/ 0 w 86"/>
                <a:gd name="T55" fmla="*/ 43 h 86"/>
                <a:gd name="T56" fmla="*/ 0 w 86"/>
                <a:gd name="T57" fmla="*/ 43 h 86"/>
                <a:gd name="T58" fmla="*/ 1 w 86"/>
                <a:gd name="T59" fmla="*/ 35 h 86"/>
                <a:gd name="T60" fmla="*/ 4 w 86"/>
                <a:gd name="T61" fmla="*/ 27 h 86"/>
                <a:gd name="T62" fmla="*/ 6 w 86"/>
                <a:gd name="T63" fmla="*/ 20 h 86"/>
                <a:gd name="T64" fmla="*/ 12 w 86"/>
                <a:gd name="T65" fmla="*/ 13 h 86"/>
                <a:gd name="T66" fmla="*/ 19 w 86"/>
                <a:gd name="T67" fmla="*/ 7 h 86"/>
                <a:gd name="T68" fmla="*/ 26 w 86"/>
                <a:gd name="T69" fmla="*/ 5 h 86"/>
                <a:gd name="T70" fmla="*/ 34 w 86"/>
                <a:gd name="T71" fmla="*/ 2 h 86"/>
                <a:gd name="T72" fmla="*/ 42 w 86"/>
                <a:gd name="T73" fmla="*/ 0 h 86"/>
                <a:gd name="T74" fmla="*/ 42 w 86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6" h="86">
                  <a:moveTo>
                    <a:pt x="42" y="0"/>
                  </a:moveTo>
                  <a:lnTo>
                    <a:pt x="42" y="0"/>
                  </a:lnTo>
                  <a:lnTo>
                    <a:pt x="52" y="2"/>
                  </a:lnTo>
                  <a:lnTo>
                    <a:pt x="59" y="5"/>
                  </a:lnTo>
                  <a:lnTo>
                    <a:pt x="67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2" y="27"/>
                  </a:lnTo>
                  <a:lnTo>
                    <a:pt x="85" y="35"/>
                  </a:lnTo>
                  <a:lnTo>
                    <a:pt x="86" y="43"/>
                  </a:lnTo>
                  <a:lnTo>
                    <a:pt x="86" y="43"/>
                  </a:lnTo>
                  <a:lnTo>
                    <a:pt x="85" y="53"/>
                  </a:lnTo>
                  <a:lnTo>
                    <a:pt x="82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7" y="79"/>
                  </a:lnTo>
                  <a:lnTo>
                    <a:pt x="59" y="83"/>
                  </a:lnTo>
                  <a:lnTo>
                    <a:pt x="52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34" y="86"/>
                  </a:lnTo>
                  <a:lnTo>
                    <a:pt x="26" y="83"/>
                  </a:lnTo>
                  <a:lnTo>
                    <a:pt x="19" y="79"/>
                  </a:lnTo>
                  <a:lnTo>
                    <a:pt x="12" y="73"/>
                  </a:lnTo>
                  <a:lnTo>
                    <a:pt x="6" y="68"/>
                  </a:lnTo>
                  <a:lnTo>
                    <a:pt x="4" y="59"/>
                  </a:lnTo>
                  <a:lnTo>
                    <a:pt x="1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35"/>
                  </a:lnTo>
                  <a:lnTo>
                    <a:pt x="4" y="27"/>
                  </a:lnTo>
                  <a:lnTo>
                    <a:pt x="6" y="20"/>
                  </a:lnTo>
                  <a:lnTo>
                    <a:pt x="12" y="13"/>
                  </a:lnTo>
                  <a:lnTo>
                    <a:pt x="19" y="7"/>
                  </a:lnTo>
                  <a:lnTo>
                    <a:pt x="26" y="5"/>
                  </a:lnTo>
                  <a:lnTo>
                    <a:pt x="34" y="2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88"/>
            <p:cNvSpPr>
              <a:spLocks/>
            </p:cNvSpPr>
            <p:nvPr userDrawn="1"/>
          </p:nvSpPr>
          <p:spPr bwMode="auto">
            <a:xfrm>
              <a:off x="3875" y="947"/>
              <a:ext cx="43" cy="43"/>
            </a:xfrm>
            <a:custGeom>
              <a:avLst/>
              <a:gdLst>
                <a:gd name="T0" fmla="*/ 42 w 86"/>
                <a:gd name="T1" fmla="*/ 0 h 85"/>
                <a:gd name="T2" fmla="*/ 42 w 86"/>
                <a:gd name="T3" fmla="*/ 0 h 85"/>
                <a:gd name="T4" fmla="*/ 52 w 86"/>
                <a:gd name="T5" fmla="*/ 1 h 85"/>
                <a:gd name="T6" fmla="*/ 59 w 86"/>
                <a:gd name="T7" fmla="*/ 2 h 85"/>
                <a:gd name="T8" fmla="*/ 67 w 86"/>
                <a:gd name="T9" fmla="*/ 7 h 85"/>
                <a:gd name="T10" fmla="*/ 73 w 86"/>
                <a:gd name="T11" fmla="*/ 12 h 85"/>
                <a:gd name="T12" fmla="*/ 78 w 86"/>
                <a:gd name="T13" fmla="*/ 19 h 85"/>
                <a:gd name="T14" fmla="*/ 82 w 86"/>
                <a:gd name="T15" fmla="*/ 26 h 85"/>
                <a:gd name="T16" fmla="*/ 85 w 86"/>
                <a:gd name="T17" fmla="*/ 34 h 85"/>
                <a:gd name="T18" fmla="*/ 86 w 86"/>
                <a:gd name="T19" fmla="*/ 42 h 85"/>
                <a:gd name="T20" fmla="*/ 86 w 86"/>
                <a:gd name="T21" fmla="*/ 42 h 85"/>
                <a:gd name="T22" fmla="*/ 85 w 86"/>
                <a:gd name="T23" fmla="*/ 51 h 85"/>
                <a:gd name="T24" fmla="*/ 82 w 86"/>
                <a:gd name="T25" fmla="*/ 59 h 85"/>
                <a:gd name="T26" fmla="*/ 78 w 86"/>
                <a:gd name="T27" fmla="*/ 67 h 85"/>
                <a:gd name="T28" fmla="*/ 73 w 86"/>
                <a:gd name="T29" fmla="*/ 73 h 85"/>
                <a:gd name="T30" fmla="*/ 67 w 86"/>
                <a:gd name="T31" fmla="*/ 78 h 85"/>
                <a:gd name="T32" fmla="*/ 59 w 86"/>
                <a:gd name="T33" fmla="*/ 82 h 85"/>
                <a:gd name="T34" fmla="*/ 52 w 86"/>
                <a:gd name="T35" fmla="*/ 85 h 85"/>
                <a:gd name="T36" fmla="*/ 42 w 86"/>
                <a:gd name="T37" fmla="*/ 85 h 85"/>
                <a:gd name="T38" fmla="*/ 42 w 86"/>
                <a:gd name="T39" fmla="*/ 85 h 85"/>
                <a:gd name="T40" fmla="*/ 34 w 86"/>
                <a:gd name="T41" fmla="*/ 85 h 85"/>
                <a:gd name="T42" fmla="*/ 26 w 86"/>
                <a:gd name="T43" fmla="*/ 82 h 85"/>
                <a:gd name="T44" fmla="*/ 19 w 86"/>
                <a:gd name="T45" fmla="*/ 78 h 85"/>
                <a:gd name="T46" fmla="*/ 12 w 86"/>
                <a:gd name="T47" fmla="*/ 73 h 85"/>
                <a:gd name="T48" fmla="*/ 6 w 86"/>
                <a:gd name="T49" fmla="*/ 67 h 85"/>
                <a:gd name="T50" fmla="*/ 4 w 86"/>
                <a:gd name="T51" fmla="*/ 59 h 85"/>
                <a:gd name="T52" fmla="*/ 1 w 86"/>
                <a:gd name="T53" fmla="*/ 51 h 85"/>
                <a:gd name="T54" fmla="*/ 0 w 86"/>
                <a:gd name="T55" fmla="*/ 42 h 85"/>
                <a:gd name="T56" fmla="*/ 0 w 86"/>
                <a:gd name="T57" fmla="*/ 42 h 85"/>
                <a:gd name="T58" fmla="*/ 1 w 86"/>
                <a:gd name="T59" fmla="*/ 34 h 85"/>
                <a:gd name="T60" fmla="*/ 4 w 86"/>
                <a:gd name="T61" fmla="*/ 26 h 85"/>
                <a:gd name="T62" fmla="*/ 6 w 86"/>
                <a:gd name="T63" fmla="*/ 19 h 85"/>
                <a:gd name="T64" fmla="*/ 12 w 86"/>
                <a:gd name="T65" fmla="*/ 12 h 85"/>
                <a:gd name="T66" fmla="*/ 19 w 86"/>
                <a:gd name="T67" fmla="*/ 7 h 85"/>
                <a:gd name="T68" fmla="*/ 26 w 86"/>
                <a:gd name="T69" fmla="*/ 2 h 85"/>
                <a:gd name="T70" fmla="*/ 34 w 86"/>
                <a:gd name="T71" fmla="*/ 1 h 85"/>
                <a:gd name="T72" fmla="*/ 42 w 86"/>
                <a:gd name="T73" fmla="*/ 0 h 85"/>
                <a:gd name="T74" fmla="*/ 42 w 86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6" h="85">
                  <a:moveTo>
                    <a:pt x="42" y="0"/>
                  </a:moveTo>
                  <a:lnTo>
                    <a:pt x="42" y="0"/>
                  </a:lnTo>
                  <a:lnTo>
                    <a:pt x="52" y="1"/>
                  </a:lnTo>
                  <a:lnTo>
                    <a:pt x="59" y="2"/>
                  </a:lnTo>
                  <a:lnTo>
                    <a:pt x="67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2" y="26"/>
                  </a:lnTo>
                  <a:lnTo>
                    <a:pt x="85" y="34"/>
                  </a:lnTo>
                  <a:lnTo>
                    <a:pt x="86" y="42"/>
                  </a:lnTo>
                  <a:lnTo>
                    <a:pt x="86" y="42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7" y="78"/>
                  </a:lnTo>
                  <a:lnTo>
                    <a:pt x="59" y="82"/>
                  </a:lnTo>
                  <a:lnTo>
                    <a:pt x="52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6" y="67"/>
                  </a:lnTo>
                  <a:lnTo>
                    <a:pt x="4" y="59"/>
                  </a:lnTo>
                  <a:lnTo>
                    <a:pt x="1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1" y="34"/>
                  </a:lnTo>
                  <a:lnTo>
                    <a:pt x="4" y="26"/>
                  </a:lnTo>
                  <a:lnTo>
                    <a:pt x="6" y="19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2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89"/>
            <p:cNvSpPr>
              <a:spLocks/>
            </p:cNvSpPr>
            <p:nvPr userDrawn="1"/>
          </p:nvSpPr>
          <p:spPr bwMode="auto">
            <a:xfrm>
              <a:off x="3931" y="1342"/>
              <a:ext cx="44" cy="43"/>
            </a:xfrm>
            <a:custGeom>
              <a:avLst/>
              <a:gdLst>
                <a:gd name="T0" fmla="*/ 43 w 87"/>
                <a:gd name="T1" fmla="*/ 0 h 85"/>
                <a:gd name="T2" fmla="*/ 43 w 87"/>
                <a:gd name="T3" fmla="*/ 0 h 85"/>
                <a:gd name="T4" fmla="*/ 53 w 87"/>
                <a:gd name="T5" fmla="*/ 0 h 85"/>
                <a:gd name="T6" fmla="*/ 61 w 87"/>
                <a:gd name="T7" fmla="*/ 3 h 85"/>
                <a:gd name="T8" fmla="*/ 68 w 87"/>
                <a:gd name="T9" fmla="*/ 7 h 85"/>
                <a:gd name="T10" fmla="*/ 73 w 87"/>
                <a:gd name="T11" fmla="*/ 12 h 85"/>
                <a:gd name="T12" fmla="*/ 79 w 87"/>
                <a:gd name="T13" fmla="*/ 18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2 h 85"/>
                <a:gd name="T20" fmla="*/ 87 w 87"/>
                <a:gd name="T21" fmla="*/ 42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6 h 85"/>
                <a:gd name="T28" fmla="*/ 73 w 87"/>
                <a:gd name="T29" fmla="*/ 73 h 85"/>
                <a:gd name="T30" fmla="*/ 68 w 87"/>
                <a:gd name="T31" fmla="*/ 78 h 85"/>
                <a:gd name="T32" fmla="*/ 61 w 87"/>
                <a:gd name="T33" fmla="*/ 82 h 85"/>
                <a:gd name="T34" fmla="*/ 53 w 87"/>
                <a:gd name="T35" fmla="*/ 84 h 85"/>
                <a:gd name="T36" fmla="*/ 43 w 87"/>
                <a:gd name="T37" fmla="*/ 85 h 85"/>
                <a:gd name="T38" fmla="*/ 43 w 87"/>
                <a:gd name="T39" fmla="*/ 85 h 85"/>
                <a:gd name="T40" fmla="*/ 35 w 87"/>
                <a:gd name="T41" fmla="*/ 84 h 85"/>
                <a:gd name="T42" fmla="*/ 27 w 87"/>
                <a:gd name="T43" fmla="*/ 82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6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2 h 85"/>
                <a:gd name="T56" fmla="*/ 0 w 87"/>
                <a:gd name="T57" fmla="*/ 42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8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0 h 85"/>
                <a:gd name="T72" fmla="*/ 43 w 87"/>
                <a:gd name="T73" fmla="*/ 0 h 85"/>
                <a:gd name="T74" fmla="*/ 43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3" y="0"/>
                  </a:moveTo>
                  <a:lnTo>
                    <a:pt x="43" y="0"/>
                  </a:lnTo>
                  <a:lnTo>
                    <a:pt x="53" y="0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3" y="12"/>
                  </a:lnTo>
                  <a:lnTo>
                    <a:pt x="79" y="18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6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4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35" y="84"/>
                  </a:lnTo>
                  <a:lnTo>
                    <a:pt x="27" y="82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6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8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90"/>
            <p:cNvSpPr>
              <a:spLocks/>
            </p:cNvSpPr>
            <p:nvPr userDrawn="1"/>
          </p:nvSpPr>
          <p:spPr bwMode="auto">
            <a:xfrm>
              <a:off x="3931" y="1286"/>
              <a:ext cx="44" cy="43"/>
            </a:xfrm>
            <a:custGeom>
              <a:avLst/>
              <a:gdLst>
                <a:gd name="T0" fmla="*/ 43 w 87"/>
                <a:gd name="T1" fmla="*/ 0 h 85"/>
                <a:gd name="T2" fmla="*/ 43 w 87"/>
                <a:gd name="T3" fmla="*/ 0 h 85"/>
                <a:gd name="T4" fmla="*/ 53 w 87"/>
                <a:gd name="T5" fmla="*/ 0 h 85"/>
                <a:gd name="T6" fmla="*/ 61 w 87"/>
                <a:gd name="T7" fmla="*/ 3 h 85"/>
                <a:gd name="T8" fmla="*/ 68 w 87"/>
                <a:gd name="T9" fmla="*/ 7 h 85"/>
                <a:gd name="T10" fmla="*/ 73 w 87"/>
                <a:gd name="T11" fmla="*/ 13 h 85"/>
                <a:gd name="T12" fmla="*/ 79 w 87"/>
                <a:gd name="T13" fmla="*/ 18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6 h 85"/>
                <a:gd name="T28" fmla="*/ 73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4 h 85"/>
                <a:gd name="T36" fmla="*/ 43 w 87"/>
                <a:gd name="T37" fmla="*/ 85 h 85"/>
                <a:gd name="T38" fmla="*/ 43 w 87"/>
                <a:gd name="T39" fmla="*/ 85 h 85"/>
                <a:gd name="T40" fmla="*/ 35 w 87"/>
                <a:gd name="T41" fmla="*/ 84 h 85"/>
                <a:gd name="T42" fmla="*/ 27 w 87"/>
                <a:gd name="T43" fmla="*/ 83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6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8 h 85"/>
                <a:gd name="T64" fmla="*/ 13 w 87"/>
                <a:gd name="T65" fmla="*/ 13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0 h 85"/>
                <a:gd name="T72" fmla="*/ 43 w 87"/>
                <a:gd name="T73" fmla="*/ 0 h 85"/>
                <a:gd name="T74" fmla="*/ 43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3" y="0"/>
                  </a:moveTo>
                  <a:lnTo>
                    <a:pt x="43" y="0"/>
                  </a:lnTo>
                  <a:lnTo>
                    <a:pt x="53" y="0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3" y="13"/>
                  </a:lnTo>
                  <a:lnTo>
                    <a:pt x="79" y="18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6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4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35" y="84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6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8"/>
                  </a:lnTo>
                  <a:lnTo>
                    <a:pt x="13" y="13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8ED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91"/>
            <p:cNvSpPr>
              <a:spLocks/>
            </p:cNvSpPr>
            <p:nvPr userDrawn="1"/>
          </p:nvSpPr>
          <p:spPr bwMode="auto">
            <a:xfrm>
              <a:off x="3931" y="1060"/>
              <a:ext cx="44" cy="43"/>
            </a:xfrm>
            <a:custGeom>
              <a:avLst/>
              <a:gdLst>
                <a:gd name="T0" fmla="*/ 43 w 87"/>
                <a:gd name="T1" fmla="*/ 0 h 87"/>
                <a:gd name="T2" fmla="*/ 43 w 87"/>
                <a:gd name="T3" fmla="*/ 0 h 87"/>
                <a:gd name="T4" fmla="*/ 53 w 87"/>
                <a:gd name="T5" fmla="*/ 1 h 87"/>
                <a:gd name="T6" fmla="*/ 61 w 87"/>
                <a:gd name="T7" fmla="*/ 4 h 87"/>
                <a:gd name="T8" fmla="*/ 68 w 87"/>
                <a:gd name="T9" fmla="*/ 8 h 87"/>
                <a:gd name="T10" fmla="*/ 73 w 87"/>
                <a:gd name="T11" fmla="*/ 12 h 87"/>
                <a:gd name="T12" fmla="*/ 79 w 87"/>
                <a:gd name="T13" fmla="*/ 19 h 87"/>
                <a:gd name="T14" fmla="*/ 83 w 87"/>
                <a:gd name="T15" fmla="*/ 26 h 87"/>
                <a:gd name="T16" fmla="*/ 86 w 87"/>
                <a:gd name="T17" fmla="*/ 34 h 87"/>
                <a:gd name="T18" fmla="*/ 87 w 87"/>
                <a:gd name="T19" fmla="*/ 43 h 87"/>
                <a:gd name="T20" fmla="*/ 87 w 87"/>
                <a:gd name="T21" fmla="*/ 43 h 87"/>
                <a:gd name="T22" fmla="*/ 86 w 87"/>
                <a:gd name="T23" fmla="*/ 52 h 87"/>
                <a:gd name="T24" fmla="*/ 83 w 87"/>
                <a:gd name="T25" fmla="*/ 61 h 87"/>
                <a:gd name="T26" fmla="*/ 79 w 87"/>
                <a:gd name="T27" fmla="*/ 67 h 87"/>
                <a:gd name="T28" fmla="*/ 73 w 87"/>
                <a:gd name="T29" fmla="*/ 73 h 87"/>
                <a:gd name="T30" fmla="*/ 68 w 87"/>
                <a:gd name="T31" fmla="*/ 78 h 87"/>
                <a:gd name="T32" fmla="*/ 61 w 87"/>
                <a:gd name="T33" fmla="*/ 83 h 87"/>
                <a:gd name="T34" fmla="*/ 53 w 87"/>
                <a:gd name="T35" fmla="*/ 85 h 87"/>
                <a:gd name="T36" fmla="*/ 43 w 87"/>
                <a:gd name="T37" fmla="*/ 87 h 87"/>
                <a:gd name="T38" fmla="*/ 43 w 87"/>
                <a:gd name="T39" fmla="*/ 87 h 87"/>
                <a:gd name="T40" fmla="*/ 35 w 87"/>
                <a:gd name="T41" fmla="*/ 85 h 87"/>
                <a:gd name="T42" fmla="*/ 27 w 87"/>
                <a:gd name="T43" fmla="*/ 83 h 87"/>
                <a:gd name="T44" fmla="*/ 20 w 87"/>
                <a:gd name="T45" fmla="*/ 78 h 87"/>
                <a:gd name="T46" fmla="*/ 13 w 87"/>
                <a:gd name="T47" fmla="*/ 73 h 87"/>
                <a:gd name="T48" fmla="*/ 9 w 87"/>
                <a:gd name="T49" fmla="*/ 67 h 87"/>
                <a:gd name="T50" fmla="*/ 5 w 87"/>
                <a:gd name="T51" fmla="*/ 61 h 87"/>
                <a:gd name="T52" fmla="*/ 2 w 87"/>
                <a:gd name="T53" fmla="*/ 52 h 87"/>
                <a:gd name="T54" fmla="*/ 0 w 87"/>
                <a:gd name="T55" fmla="*/ 43 h 87"/>
                <a:gd name="T56" fmla="*/ 0 w 87"/>
                <a:gd name="T57" fmla="*/ 43 h 87"/>
                <a:gd name="T58" fmla="*/ 2 w 87"/>
                <a:gd name="T59" fmla="*/ 34 h 87"/>
                <a:gd name="T60" fmla="*/ 5 w 87"/>
                <a:gd name="T61" fmla="*/ 26 h 87"/>
                <a:gd name="T62" fmla="*/ 9 w 87"/>
                <a:gd name="T63" fmla="*/ 19 h 87"/>
                <a:gd name="T64" fmla="*/ 13 w 87"/>
                <a:gd name="T65" fmla="*/ 12 h 87"/>
                <a:gd name="T66" fmla="*/ 20 w 87"/>
                <a:gd name="T67" fmla="*/ 8 h 87"/>
                <a:gd name="T68" fmla="*/ 27 w 87"/>
                <a:gd name="T69" fmla="*/ 4 h 87"/>
                <a:gd name="T70" fmla="*/ 35 w 87"/>
                <a:gd name="T71" fmla="*/ 1 h 87"/>
                <a:gd name="T72" fmla="*/ 43 w 87"/>
                <a:gd name="T73" fmla="*/ 0 h 87"/>
                <a:gd name="T74" fmla="*/ 43 w 87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3" y="0"/>
                  </a:moveTo>
                  <a:lnTo>
                    <a:pt x="43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3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2"/>
                  </a:lnTo>
                  <a:lnTo>
                    <a:pt x="83" y="61"/>
                  </a:lnTo>
                  <a:lnTo>
                    <a:pt x="79" y="67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3" y="87"/>
                  </a:lnTo>
                  <a:lnTo>
                    <a:pt x="43" y="87"/>
                  </a:lnTo>
                  <a:lnTo>
                    <a:pt x="35" y="85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61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8"/>
                  </a:lnTo>
                  <a:lnTo>
                    <a:pt x="27" y="4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92"/>
            <p:cNvSpPr>
              <a:spLocks/>
            </p:cNvSpPr>
            <p:nvPr userDrawn="1"/>
          </p:nvSpPr>
          <p:spPr bwMode="auto">
            <a:xfrm>
              <a:off x="3931" y="1004"/>
              <a:ext cx="44" cy="42"/>
            </a:xfrm>
            <a:custGeom>
              <a:avLst/>
              <a:gdLst>
                <a:gd name="T0" fmla="*/ 43 w 87"/>
                <a:gd name="T1" fmla="*/ 0 h 86"/>
                <a:gd name="T2" fmla="*/ 43 w 87"/>
                <a:gd name="T3" fmla="*/ 0 h 86"/>
                <a:gd name="T4" fmla="*/ 53 w 87"/>
                <a:gd name="T5" fmla="*/ 2 h 86"/>
                <a:gd name="T6" fmla="*/ 61 w 87"/>
                <a:gd name="T7" fmla="*/ 5 h 86"/>
                <a:gd name="T8" fmla="*/ 68 w 87"/>
                <a:gd name="T9" fmla="*/ 7 h 86"/>
                <a:gd name="T10" fmla="*/ 73 w 87"/>
                <a:gd name="T11" fmla="*/ 13 h 86"/>
                <a:gd name="T12" fmla="*/ 79 w 87"/>
                <a:gd name="T13" fmla="*/ 20 h 86"/>
                <a:gd name="T14" fmla="*/ 83 w 87"/>
                <a:gd name="T15" fmla="*/ 27 h 86"/>
                <a:gd name="T16" fmla="*/ 86 w 87"/>
                <a:gd name="T17" fmla="*/ 35 h 86"/>
                <a:gd name="T18" fmla="*/ 87 w 87"/>
                <a:gd name="T19" fmla="*/ 43 h 86"/>
                <a:gd name="T20" fmla="*/ 87 w 87"/>
                <a:gd name="T21" fmla="*/ 43 h 86"/>
                <a:gd name="T22" fmla="*/ 86 w 87"/>
                <a:gd name="T23" fmla="*/ 53 h 86"/>
                <a:gd name="T24" fmla="*/ 83 w 87"/>
                <a:gd name="T25" fmla="*/ 59 h 86"/>
                <a:gd name="T26" fmla="*/ 79 w 87"/>
                <a:gd name="T27" fmla="*/ 68 h 86"/>
                <a:gd name="T28" fmla="*/ 73 w 87"/>
                <a:gd name="T29" fmla="*/ 73 h 86"/>
                <a:gd name="T30" fmla="*/ 68 w 87"/>
                <a:gd name="T31" fmla="*/ 79 h 86"/>
                <a:gd name="T32" fmla="*/ 61 w 87"/>
                <a:gd name="T33" fmla="*/ 83 h 86"/>
                <a:gd name="T34" fmla="*/ 53 w 87"/>
                <a:gd name="T35" fmla="*/ 86 h 86"/>
                <a:gd name="T36" fmla="*/ 43 w 87"/>
                <a:gd name="T37" fmla="*/ 86 h 86"/>
                <a:gd name="T38" fmla="*/ 43 w 87"/>
                <a:gd name="T39" fmla="*/ 86 h 86"/>
                <a:gd name="T40" fmla="*/ 35 w 87"/>
                <a:gd name="T41" fmla="*/ 86 h 86"/>
                <a:gd name="T42" fmla="*/ 27 w 87"/>
                <a:gd name="T43" fmla="*/ 83 h 86"/>
                <a:gd name="T44" fmla="*/ 20 w 87"/>
                <a:gd name="T45" fmla="*/ 79 h 86"/>
                <a:gd name="T46" fmla="*/ 13 w 87"/>
                <a:gd name="T47" fmla="*/ 73 h 86"/>
                <a:gd name="T48" fmla="*/ 9 w 87"/>
                <a:gd name="T49" fmla="*/ 68 h 86"/>
                <a:gd name="T50" fmla="*/ 5 w 87"/>
                <a:gd name="T51" fmla="*/ 59 h 86"/>
                <a:gd name="T52" fmla="*/ 2 w 87"/>
                <a:gd name="T53" fmla="*/ 53 h 86"/>
                <a:gd name="T54" fmla="*/ 0 w 87"/>
                <a:gd name="T55" fmla="*/ 43 h 86"/>
                <a:gd name="T56" fmla="*/ 0 w 87"/>
                <a:gd name="T57" fmla="*/ 43 h 86"/>
                <a:gd name="T58" fmla="*/ 2 w 87"/>
                <a:gd name="T59" fmla="*/ 35 h 86"/>
                <a:gd name="T60" fmla="*/ 5 w 87"/>
                <a:gd name="T61" fmla="*/ 27 h 86"/>
                <a:gd name="T62" fmla="*/ 9 w 87"/>
                <a:gd name="T63" fmla="*/ 20 h 86"/>
                <a:gd name="T64" fmla="*/ 13 w 87"/>
                <a:gd name="T65" fmla="*/ 13 h 86"/>
                <a:gd name="T66" fmla="*/ 20 w 87"/>
                <a:gd name="T67" fmla="*/ 7 h 86"/>
                <a:gd name="T68" fmla="*/ 27 w 87"/>
                <a:gd name="T69" fmla="*/ 5 h 86"/>
                <a:gd name="T70" fmla="*/ 35 w 87"/>
                <a:gd name="T71" fmla="*/ 2 h 86"/>
                <a:gd name="T72" fmla="*/ 43 w 87"/>
                <a:gd name="T73" fmla="*/ 0 h 86"/>
                <a:gd name="T74" fmla="*/ 43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3" y="0"/>
                  </a:moveTo>
                  <a:lnTo>
                    <a:pt x="43" y="0"/>
                  </a:lnTo>
                  <a:lnTo>
                    <a:pt x="53" y="2"/>
                  </a:lnTo>
                  <a:lnTo>
                    <a:pt x="61" y="5"/>
                  </a:lnTo>
                  <a:lnTo>
                    <a:pt x="68" y="7"/>
                  </a:lnTo>
                  <a:lnTo>
                    <a:pt x="73" y="13"/>
                  </a:lnTo>
                  <a:lnTo>
                    <a:pt x="79" y="20"/>
                  </a:lnTo>
                  <a:lnTo>
                    <a:pt x="83" y="27"/>
                  </a:lnTo>
                  <a:lnTo>
                    <a:pt x="86" y="35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3"/>
                  </a:lnTo>
                  <a:lnTo>
                    <a:pt x="83" y="59"/>
                  </a:lnTo>
                  <a:lnTo>
                    <a:pt x="79" y="68"/>
                  </a:lnTo>
                  <a:lnTo>
                    <a:pt x="73" y="73"/>
                  </a:lnTo>
                  <a:lnTo>
                    <a:pt x="68" y="79"/>
                  </a:lnTo>
                  <a:lnTo>
                    <a:pt x="61" y="83"/>
                  </a:lnTo>
                  <a:lnTo>
                    <a:pt x="53" y="86"/>
                  </a:lnTo>
                  <a:lnTo>
                    <a:pt x="43" y="86"/>
                  </a:lnTo>
                  <a:lnTo>
                    <a:pt x="43" y="86"/>
                  </a:lnTo>
                  <a:lnTo>
                    <a:pt x="35" y="86"/>
                  </a:lnTo>
                  <a:lnTo>
                    <a:pt x="27" y="83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9" y="68"/>
                  </a:lnTo>
                  <a:lnTo>
                    <a:pt x="5" y="59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5" y="27"/>
                  </a:lnTo>
                  <a:lnTo>
                    <a:pt x="9" y="20"/>
                  </a:lnTo>
                  <a:lnTo>
                    <a:pt x="13" y="13"/>
                  </a:lnTo>
                  <a:lnTo>
                    <a:pt x="20" y="7"/>
                  </a:lnTo>
                  <a:lnTo>
                    <a:pt x="27" y="5"/>
                  </a:lnTo>
                  <a:lnTo>
                    <a:pt x="35" y="2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93"/>
            <p:cNvSpPr>
              <a:spLocks/>
            </p:cNvSpPr>
            <p:nvPr userDrawn="1"/>
          </p:nvSpPr>
          <p:spPr bwMode="auto">
            <a:xfrm>
              <a:off x="3931" y="947"/>
              <a:ext cx="44" cy="43"/>
            </a:xfrm>
            <a:custGeom>
              <a:avLst/>
              <a:gdLst>
                <a:gd name="T0" fmla="*/ 43 w 87"/>
                <a:gd name="T1" fmla="*/ 0 h 85"/>
                <a:gd name="T2" fmla="*/ 43 w 87"/>
                <a:gd name="T3" fmla="*/ 0 h 85"/>
                <a:gd name="T4" fmla="*/ 53 w 87"/>
                <a:gd name="T5" fmla="*/ 1 h 85"/>
                <a:gd name="T6" fmla="*/ 61 w 87"/>
                <a:gd name="T7" fmla="*/ 2 h 85"/>
                <a:gd name="T8" fmla="*/ 68 w 87"/>
                <a:gd name="T9" fmla="*/ 7 h 85"/>
                <a:gd name="T10" fmla="*/ 73 w 87"/>
                <a:gd name="T11" fmla="*/ 12 h 85"/>
                <a:gd name="T12" fmla="*/ 79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2 h 85"/>
                <a:gd name="T20" fmla="*/ 87 w 87"/>
                <a:gd name="T21" fmla="*/ 42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7 h 85"/>
                <a:gd name="T28" fmla="*/ 73 w 87"/>
                <a:gd name="T29" fmla="*/ 73 h 85"/>
                <a:gd name="T30" fmla="*/ 68 w 87"/>
                <a:gd name="T31" fmla="*/ 78 h 85"/>
                <a:gd name="T32" fmla="*/ 61 w 87"/>
                <a:gd name="T33" fmla="*/ 82 h 85"/>
                <a:gd name="T34" fmla="*/ 53 w 87"/>
                <a:gd name="T35" fmla="*/ 85 h 85"/>
                <a:gd name="T36" fmla="*/ 43 w 87"/>
                <a:gd name="T37" fmla="*/ 85 h 85"/>
                <a:gd name="T38" fmla="*/ 43 w 87"/>
                <a:gd name="T39" fmla="*/ 85 h 85"/>
                <a:gd name="T40" fmla="*/ 35 w 87"/>
                <a:gd name="T41" fmla="*/ 85 h 85"/>
                <a:gd name="T42" fmla="*/ 27 w 87"/>
                <a:gd name="T43" fmla="*/ 82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7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2 h 85"/>
                <a:gd name="T56" fmla="*/ 0 w 87"/>
                <a:gd name="T57" fmla="*/ 42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9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2 h 85"/>
                <a:gd name="T70" fmla="*/ 35 w 87"/>
                <a:gd name="T71" fmla="*/ 1 h 85"/>
                <a:gd name="T72" fmla="*/ 43 w 87"/>
                <a:gd name="T73" fmla="*/ 0 h 85"/>
                <a:gd name="T74" fmla="*/ 43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3" y="0"/>
                  </a:moveTo>
                  <a:lnTo>
                    <a:pt x="43" y="0"/>
                  </a:lnTo>
                  <a:lnTo>
                    <a:pt x="53" y="1"/>
                  </a:lnTo>
                  <a:lnTo>
                    <a:pt x="61" y="2"/>
                  </a:lnTo>
                  <a:lnTo>
                    <a:pt x="68" y="7"/>
                  </a:lnTo>
                  <a:lnTo>
                    <a:pt x="73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7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35" y="85"/>
                  </a:lnTo>
                  <a:lnTo>
                    <a:pt x="27" y="82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2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94"/>
            <p:cNvSpPr>
              <a:spLocks/>
            </p:cNvSpPr>
            <p:nvPr userDrawn="1"/>
          </p:nvSpPr>
          <p:spPr bwMode="auto">
            <a:xfrm>
              <a:off x="3931" y="891"/>
              <a:ext cx="44" cy="43"/>
            </a:xfrm>
            <a:custGeom>
              <a:avLst/>
              <a:gdLst>
                <a:gd name="T0" fmla="*/ 43 w 87"/>
                <a:gd name="T1" fmla="*/ 0 h 85"/>
                <a:gd name="T2" fmla="*/ 43 w 87"/>
                <a:gd name="T3" fmla="*/ 0 h 85"/>
                <a:gd name="T4" fmla="*/ 53 w 87"/>
                <a:gd name="T5" fmla="*/ 1 h 85"/>
                <a:gd name="T6" fmla="*/ 61 w 87"/>
                <a:gd name="T7" fmla="*/ 3 h 85"/>
                <a:gd name="T8" fmla="*/ 68 w 87"/>
                <a:gd name="T9" fmla="*/ 7 h 85"/>
                <a:gd name="T10" fmla="*/ 73 w 87"/>
                <a:gd name="T11" fmla="*/ 12 h 85"/>
                <a:gd name="T12" fmla="*/ 79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7 h 85"/>
                <a:gd name="T28" fmla="*/ 73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5 h 85"/>
                <a:gd name="T36" fmla="*/ 43 w 87"/>
                <a:gd name="T37" fmla="*/ 85 h 85"/>
                <a:gd name="T38" fmla="*/ 43 w 87"/>
                <a:gd name="T39" fmla="*/ 85 h 85"/>
                <a:gd name="T40" fmla="*/ 35 w 87"/>
                <a:gd name="T41" fmla="*/ 85 h 85"/>
                <a:gd name="T42" fmla="*/ 27 w 87"/>
                <a:gd name="T43" fmla="*/ 83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7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9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1 h 85"/>
                <a:gd name="T72" fmla="*/ 43 w 87"/>
                <a:gd name="T73" fmla="*/ 0 h 85"/>
                <a:gd name="T74" fmla="*/ 43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3" y="0"/>
                  </a:moveTo>
                  <a:lnTo>
                    <a:pt x="43" y="0"/>
                  </a:lnTo>
                  <a:lnTo>
                    <a:pt x="53" y="1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3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7"/>
                  </a:lnTo>
                  <a:lnTo>
                    <a:pt x="73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3" y="85"/>
                  </a:lnTo>
                  <a:lnTo>
                    <a:pt x="43" y="85"/>
                  </a:lnTo>
                  <a:lnTo>
                    <a:pt x="35" y="85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95"/>
            <p:cNvSpPr>
              <a:spLocks/>
            </p:cNvSpPr>
            <p:nvPr userDrawn="1"/>
          </p:nvSpPr>
          <p:spPr bwMode="auto">
            <a:xfrm>
              <a:off x="3988" y="1286"/>
              <a:ext cx="43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0 h 85"/>
                <a:gd name="T6" fmla="*/ 61 w 87"/>
                <a:gd name="T7" fmla="*/ 3 h 85"/>
                <a:gd name="T8" fmla="*/ 68 w 87"/>
                <a:gd name="T9" fmla="*/ 7 h 85"/>
                <a:gd name="T10" fmla="*/ 75 w 87"/>
                <a:gd name="T11" fmla="*/ 13 h 85"/>
                <a:gd name="T12" fmla="*/ 79 w 87"/>
                <a:gd name="T13" fmla="*/ 18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6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4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4 h 85"/>
                <a:gd name="T42" fmla="*/ 27 w 87"/>
                <a:gd name="T43" fmla="*/ 83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6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8 h 85"/>
                <a:gd name="T64" fmla="*/ 13 w 87"/>
                <a:gd name="T65" fmla="*/ 13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0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0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5" y="13"/>
                  </a:lnTo>
                  <a:lnTo>
                    <a:pt x="79" y="18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6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4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4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6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8"/>
                  </a:lnTo>
                  <a:lnTo>
                    <a:pt x="13" y="13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0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96"/>
            <p:cNvSpPr>
              <a:spLocks/>
            </p:cNvSpPr>
            <p:nvPr userDrawn="1"/>
          </p:nvSpPr>
          <p:spPr bwMode="auto">
            <a:xfrm>
              <a:off x="3988" y="1060"/>
              <a:ext cx="43" cy="43"/>
            </a:xfrm>
            <a:custGeom>
              <a:avLst/>
              <a:gdLst>
                <a:gd name="T0" fmla="*/ 44 w 87"/>
                <a:gd name="T1" fmla="*/ 0 h 87"/>
                <a:gd name="T2" fmla="*/ 44 w 87"/>
                <a:gd name="T3" fmla="*/ 0 h 87"/>
                <a:gd name="T4" fmla="*/ 53 w 87"/>
                <a:gd name="T5" fmla="*/ 1 h 87"/>
                <a:gd name="T6" fmla="*/ 61 w 87"/>
                <a:gd name="T7" fmla="*/ 4 h 87"/>
                <a:gd name="T8" fmla="*/ 68 w 87"/>
                <a:gd name="T9" fmla="*/ 8 h 87"/>
                <a:gd name="T10" fmla="*/ 75 w 87"/>
                <a:gd name="T11" fmla="*/ 12 h 87"/>
                <a:gd name="T12" fmla="*/ 79 w 87"/>
                <a:gd name="T13" fmla="*/ 19 h 87"/>
                <a:gd name="T14" fmla="*/ 83 w 87"/>
                <a:gd name="T15" fmla="*/ 26 h 87"/>
                <a:gd name="T16" fmla="*/ 86 w 87"/>
                <a:gd name="T17" fmla="*/ 34 h 87"/>
                <a:gd name="T18" fmla="*/ 87 w 87"/>
                <a:gd name="T19" fmla="*/ 43 h 87"/>
                <a:gd name="T20" fmla="*/ 87 w 87"/>
                <a:gd name="T21" fmla="*/ 43 h 87"/>
                <a:gd name="T22" fmla="*/ 86 w 87"/>
                <a:gd name="T23" fmla="*/ 52 h 87"/>
                <a:gd name="T24" fmla="*/ 83 w 87"/>
                <a:gd name="T25" fmla="*/ 61 h 87"/>
                <a:gd name="T26" fmla="*/ 79 w 87"/>
                <a:gd name="T27" fmla="*/ 67 h 87"/>
                <a:gd name="T28" fmla="*/ 75 w 87"/>
                <a:gd name="T29" fmla="*/ 73 h 87"/>
                <a:gd name="T30" fmla="*/ 68 w 87"/>
                <a:gd name="T31" fmla="*/ 78 h 87"/>
                <a:gd name="T32" fmla="*/ 61 w 87"/>
                <a:gd name="T33" fmla="*/ 83 h 87"/>
                <a:gd name="T34" fmla="*/ 53 w 87"/>
                <a:gd name="T35" fmla="*/ 85 h 87"/>
                <a:gd name="T36" fmla="*/ 44 w 87"/>
                <a:gd name="T37" fmla="*/ 87 h 87"/>
                <a:gd name="T38" fmla="*/ 44 w 87"/>
                <a:gd name="T39" fmla="*/ 87 h 87"/>
                <a:gd name="T40" fmla="*/ 35 w 87"/>
                <a:gd name="T41" fmla="*/ 85 h 87"/>
                <a:gd name="T42" fmla="*/ 27 w 87"/>
                <a:gd name="T43" fmla="*/ 83 h 87"/>
                <a:gd name="T44" fmla="*/ 20 w 87"/>
                <a:gd name="T45" fmla="*/ 78 h 87"/>
                <a:gd name="T46" fmla="*/ 13 w 87"/>
                <a:gd name="T47" fmla="*/ 73 h 87"/>
                <a:gd name="T48" fmla="*/ 9 w 87"/>
                <a:gd name="T49" fmla="*/ 67 h 87"/>
                <a:gd name="T50" fmla="*/ 5 w 87"/>
                <a:gd name="T51" fmla="*/ 61 h 87"/>
                <a:gd name="T52" fmla="*/ 2 w 87"/>
                <a:gd name="T53" fmla="*/ 52 h 87"/>
                <a:gd name="T54" fmla="*/ 0 w 87"/>
                <a:gd name="T55" fmla="*/ 43 h 87"/>
                <a:gd name="T56" fmla="*/ 0 w 87"/>
                <a:gd name="T57" fmla="*/ 43 h 87"/>
                <a:gd name="T58" fmla="*/ 2 w 87"/>
                <a:gd name="T59" fmla="*/ 34 h 87"/>
                <a:gd name="T60" fmla="*/ 5 w 87"/>
                <a:gd name="T61" fmla="*/ 26 h 87"/>
                <a:gd name="T62" fmla="*/ 9 w 87"/>
                <a:gd name="T63" fmla="*/ 19 h 87"/>
                <a:gd name="T64" fmla="*/ 13 w 87"/>
                <a:gd name="T65" fmla="*/ 12 h 87"/>
                <a:gd name="T66" fmla="*/ 20 w 87"/>
                <a:gd name="T67" fmla="*/ 8 h 87"/>
                <a:gd name="T68" fmla="*/ 27 w 87"/>
                <a:gd name="T69" fmla="*/ 4 h 87"/>
                <a:gd name="T70" fmla="*/ 35 w 87"/>
                <a:gd name="T71" fmla="*/ 1 h 87"/>
                <a:gd name="T72" fmla="*/ 44 w 87"/>
                <a:gd name="T73" fmla="*/ 0 h 87"/>
                <a:gd name="T74" fmla="*/ 44 w 87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5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2"/>
                  </a:lnTo>
                  <a:lnTo>
                    <a:pt x="83" y="61"/>
                  </a:lnTo>
                  <a:lnTo>
                    <a:pt x="79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5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61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8"/>
                  </a:lnTo>
                  <a:lnTo>
                    <a:pt x="27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97"/>
            <p:cNvSpPr>
              <a:spLocks/>
            </p:cNvSpPr>
            <p:nvPr userDrawn="1"/>
          </p:nvSpPr>
          <p:spPr bwMode="auto">
            <a:xfrm>
              <a:off x="3988" y="1004"/>
              <a:ext cx="43" cy="42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53 w 87"/>
                <a:gd name="T5" fmla="*/ 2 h 86"/>
                <a:gd name="T6" fmla="*/ 61 w 87"/>
                <a:gd name="T7" fmla="*/ 5 h 86"/>
                <a:gd name="T8" fmla="*/ 68 w 87"/>
                <a:gd name="T9" fmla="*/ 7 h 86"/>
                <a:gd name="T10" fmla="*/ 75 w 87"/>
                <a:gd name="T11" fmla="*/ 13 h 86"/>
                <a:gd name="T12" fmla="*/ 79 w 87"/>
                <a:gd name="T13" fmla="*/ 20 h 86"/>
                <a:gd name="T14" fmla="*/ 83 w 87"/>
                <a:gd name="T15" fmla="*/ 27 h 86"/>
                <a:gd name="T16" fmla="*/ 86 w 87"/>
                <a:gd name="T17" fmla="*/ 35 h 86"/>
                <a:gd name="T18" fmla="*/ 87 w 87"/>
                <a:gd name="T19" fmla="*/ 43 h 86"/>
                <a:gd name="T20" fmla="*/ 87 w 87"/>
                <a:gd name="T21" fmla="*/ 43 h 86"/>
                <a:gd name="T22" fmla="*/ 86 w 87"/>
                <a:gd name="T23" fmla="*/ 53 h 86"/>
                <a:gd name="T24" fmla="*/ 83 w 87"/>
                <a:gd name="T25" fmla="*/ 59 h 86"/>
                <a:gd name="T26" fmla="*/ 79 w 87"/>
                <a:gd name="T27" fmla="*/ 68 h 86"/>
                <a:gd name="T28" fmla="*/ 75 w 87"/>
                <a:gd name="T29" fmla="*/ 73 h 86"/>
                <a:gd name="T30" fmla="*/ 68 w 87"/>
                <a:gd name="T31" fmla="*/ 79 h 86"/>
                <a:gd name="T32" fmla="*/ 61 w 87"/>
                <a:gd name="T33" fmla="*/ 83 h 86"/>
                <a:gd name="T34" fmla="*/ 53 w 87"/>
                <a:gd name="T35" fmla="*/ 86 h 86"/>
                <a:gd name="T36" fmla="*/ 44 w 87"/>
                <a:gd name="T37" fmla="*/ 86 h 86"/>
                <a:gd name="T38" fmla="*/ 44 w 87"/>
                <a:gd name="T39" fmla="*/ 86 h 86"/>
                <a:gd name="T40" fmla="*/ 35 w 87"/>
                <a:gd name="T41" fmla="*/ 86 h 86"/>
                <a:gd name="T42" fmla="*/ 27 w 87"/>
                <a:gd name="T43" fmla="*/ 83 h 86"/>
                <a:gd name="T44" fmla="*/ 20 w 87"/>
                <a:gd name="T45" fmla="*/ 79 h 86"/>
                <a:gd name="T46" fmla="*/ 13 w 87"/>
                <a:gd name="T47" fmla="*/ 73 h 86"/>
                <a:gd name="T48" fmla="*/ 9 w 87"/>
                <a:gd name="T49" fmla="*/ 68 h 86"/>
                <a:gd name="T50" fmla="*/ 5 w 87"/>
                <a:gd name="T51" fmla="*/ 59 h 86"/>
                <a:gd name="T52" fmla="*/ 2 w 87"/>
                <a:gd name="T53" fmla="*/ 53 h 86"/>
                <a:gd name="T54" fmla="*/ 0 w 87"/>
                <a:gd name="T55" fmla="*/ 43 h 86"/>
                <a:gd name="T56" fmla="*/ 0 w 87"/>
                <a:gd name="T57" fmla="*/ 43 h 86"/>
                <a:gd name="T58" fmla="*/ 2 w 87"/>
                <a:gd name="T59" fmla="*/ 35 h 86"/>
                <a:gd name="T60" fmla="*/ 5 w 87"/>
                <a:gd name="T61" fmla="*/ 27 h 86"/>
                <a:gd name="T62" fmla="*/ 9 w 87"/>
                <a:gd name="T63" fmla="*/ 20 h 86"/>
                <a:gd name="T64" fmla="*/ 13 w 87"/>
                <a:gd name="T65" fmla="*/ 13 h 86"/>
                <a:gd name="T66" fmla="*/ 20 w 87"/>
                <a:gd name="T67" fmla="*/ 7 h 86"/>
                <a:gd name="T68" fmla="*/ 27 w 87"/>
                <a:gd name="T69" fmla="*/ 5 h 86"/>
                <a:gd name="T70" fmla="*/ 35 w 87"/>
                <a:gd name="T71" fmla="*/ 2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53" y="2"/>
                  </a:lnTo>
                  <a:lnTo>
                    <a:pt x="61" y="5"/>
                  </a:lnTo>
                  <a:lnTo>
                    <a:pt x="68" y="7"/>
                  </a:lnTo>
                  <a:lnTo>
                    <a:pt x="75" y="13"/>
                  </a:lnTo>
                  <a:lnTo>
                    <a:pt x="79" y="20"/>
                  </a:lnTo>
                  <a:lnTo>
                    <a:pt x="83" y="27"/>
                  </a:lnTo>
                  <a:lnTo>
                    <a:pt x="86" y="35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3"/>
                  </a:lnTo>
                  <a:lnTo>
                    <a:pt x="83" y="59"/>
                  </a:lnTo>
                  <a:lnTo>
                    <a:pt x="79" y="68"/>
                  </a:lnTo>
                  <a:lnTo>
                    <a:pt x="75" y="73"/>
                  </a:lnTo>
                  <a:lnTo>
                    <a:pt x="68" y="79"/>
                  </a:lnTo>
                  <a:lnTo>
                    <a:pt x="61" y="83"/>
                  </a:lnTo>
                  <a:lnTo>
                    <a:pt x="53" y="86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35" y="86"/>
                  </a:lnTo>
                  <a:lnTo>
                    <a:pt x="27" y="83"/>
                  </a:lnTo>
                  <a:lnTo>
                    <a:pt x="20" y="79"/>
                  </a:lnTo>
                  <a:lnTo>
                    <a:pt x="13" y="73"/>
                  </a:lnTo>
                  <a:lnTo>
                    <a:pt x="9" y="68"/>
                  </a:lnTo>
                  <a:lnTo>
                    <a:pt x="5" y="59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5" y="27"/>
                  </a:lnTo>
                  <a:lnTo>
                    <a:pt x="9" y="20"/>
                  </a:lnTo>
                  <a:lnTo>
                    <a:pt x="13" y="13"/>
                  </a:lnTo>
                  <a:lnTo>
                    <a:pt x="20" y="7"/>
                  </a:lnTo>
                  <a:lnTo>
                    <a:pt x="27" y="5"/>
                  </a:lnTo>
                  <a:lnTo>
                    <a:pt x="35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98"/>
            <p:cNvSpPr>
              <a:spLocks/>
            </p:cNvSpPr>
            <p:nvPr userDrawn="1"/>
          </p:nvSpPr>
          <p:spPr bwMode="auto">
            <a:xfrm>
              <a:off x="3988" y="947"/>
              <a:ext cx="43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1 h 85"/>
                <a:gd name="T6" fmla="*/ 61 w 87"/>
                <a:gd name="T7" fmla="*/ 2 h 85"/>
                <a:gd name="T8" fmla="*/ 68 w 87"/>
                <a:gd name="T9" fmla="*/ 7 h 85"/>
                <a:gd name="T10" fmla="*/ 75 w 87"/>
                <a:gd name="T11" fmla="*/ 12 h 85"/>
                <a:gd name="T12" fmla="*/ 79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2 h 85"/>
                <a:gd name="T20" fmla="*/ 87 w 87"/>
                <a:gd name="T21" fmla="*/ 42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7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2 h 85"/>
                <a:gd name="T34" fmla="*/ 53 w 87"/>
                <a:gd name="T35" fmla="*/ 85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5 h 85"/>
                <a:gd name="T42" fmla="*/ 27 w 87"/>
                <a:gd name="T43" fmla="*/ 82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7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2 h 85"/>
                <a:gd name="T56" fmla="*/ 0 w 87"/>
                <a:gd name="T57" fmla="*/ 42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9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2 h 85"/>
                <a:gd name="T70" fmla="*/ 35 w 87"/>
                <a:gd name="T71" fmla="*/ 1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2"/>
                  </a:lnTo>
                  <a:lnTo>
                    <a:pt x="68" y="7"/>
                  </a:lnTo>
                  <a:lnTo>
                    <a:pt x="75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5"/>
                  </a:lnTo>
                  <a:lnTo>
                    <a:pt x="27" y="82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2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99"/>
            <p:cNvSpPr>
              <a:spLocks/>
            </p:cNvSpPr>
            <p:nvPr userDrawn="1"/>
          </p:nvSpPr>
          <p:spPr bwMode="auto">
            <a:xfrm>
              <a:off x="3988" y="891"/>
              <a:ext cx="43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1 h 85"/>
                <a:gd name="T6" fmla="*/ 61 w 87"/>
                <a:gd name="T7" fmla="*/ 3 h 85"/>
                <a:gd name="T8" fmla="*/ 68 w 87"/>
                <a:gd name="T9" fmla="*/ 7 h 85"/>
                <a:gd name="T10" fmla="*/ 75 w 87"/>
                <a:gd name="T11" fmla="*/ 12 h 85"/>
                <a:gd name="T12" fmla="*/ 79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79 w 87"/>
                <a:gd name="T27" fmla="*/ 67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5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5 h 85"/>
                <a:gd name="T42" fmla="*/ 27 w 87"/>
                <a:gd name="T43" fmla="*/ 83 h 85"/>
                <a:gd name="T44" fmla="*/ 20 w 87"/>
                <a:gd name="T45" fmla="*/ 78 h 85"/>
                <a:gd name="T46" fmla="*/ 13 w 87"/>
                <a:gd name="T47" fmla="*/ 73 h 85"/>
                <a:gd name="T48" fmla="*/ 9 w 87"/>
                <a:gd name="T49" fmla="*/ 67 h 85"/>
                <a:gd name="T50" fmla="*/ 5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5 w 87"/>
                <a:gd name="T61" fmla="*/ 26 h 85"/>
                <a:gd name="T62" fmla="*/ 9 w 87"/>
                <a:gd name="T63" fmla="*/ 19 h 85"/>
                <a:gd name="T64" fmla="*/ 13 w 87"/>
                <a:gd name="T65" fmla="*/ 12 h 85"/>
                <a:gd name="T66" fmla="*/ 20 w 87"/>
                <a:gd name="T67" fmla="*/ 7 h 85"/>
                <a:gd name="T68" fmla="*/ 27 w 87"/>
                <a:gd name="T69" fmla="*/ 3 h 85"/>
                <a:gd name="T70" fmla="*/ 35 w 87"/>
                <a:gd name="T71" fmla="*/ 1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5" y="12"/>
                  </a:lnTo>
                  <a:lnTo>
                    <a:pt x="79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79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5"/>
                  </a:lnTo>
                  <a:lnTo>
                    <a:pt x="27" y="83"/>
                  </a:lnTo>
                  <a:lnTo>
                    <a:pt x="20" y="78"/>
                  </a:lnTo>
                  <a:lnTo>
                    <a:pt x="13" y="73"/>
                  </a:lnTo>
                  <a:lnTo>
                    <a:pt x="9" y="67"/>
                  </a:lnTo>
                  <a:lnTo>
                    <a:pt x="5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5" y="26"/>
                  </a:lnTo>
                  <a:lnTo>
                    <a:pt x="9" y="19"/>
                  </a:lnTo>
                  <a:lnTo>
                    <a:pt x="13" y="12"/>
                  </a:lnTo>
                  <a:lnTo>
                    <a:pt x="20" y="7"/>
                  </a:lnTo>
                  <a:lnTo>
                    <a:pt x="27" y="3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00"/>
            <p:cNvSpPr>
              <a:spLocks/>
            </p:cNvSpPr>
            <p:nvPr userDrawn="1"/>
          </p:nvSpPr>
          <p:spPr bwMode="auto">
            <a:xfrm>
              <a:off x="4044" y="1230"/>
              <a:ext cx="44" cy="42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53 w 87"/>
                <a:gd name="T5" fmla="*/ 0 h 86"/>
                <a:gd name="T6" fmla="*/ 61 w 87"/>
                <a:gd name="T7" fmla="*/ 3 h 86"/>
                <a:gd name="T8" fmla="*/ 68 w 87"/>
                <a:gd name="T9" fmla="*/ 7 h 86"/>
                <a:gd name="T10" fmla="*/ 75 w 87"/>
                <a:gd name="T11" fmla="*/ 13 h 86"/>
                <a:gd name="T12" fmla="*/ 80 w 87"/>
                <a:gd name="T13" fmla="*/ 18 h 86"/>
                <a:gd name="T14" fmla="*/ 83 w 87"/>
                <a:gd name="T15" fmla="*/ 27 h 86"/>
                <a:gd name="T16" fmla="*/ 86 w 87"/>
                <a:gd name="T17" fmla="*/ 33 h 86"/>
                <a:gd name="T18" fmla="*/ 87 w 87"/>
                <a:gd name="T19" fmla="*/ 43 h 86"/>
                <a:gd name="T20" fmla="*/ 87 w 87"/>
                <a:gd name="T21" fmla="*/ 43 h 86"/>
                <a:gd name="T22" fmla="*/ 86 w 87"/>
                <a:gd name="T23" fmla="*/ 51 h 86"/>
                <a:gd name="T24" fmla="*/ 83 w 87"/>
                <a:gd name="T25" fmla="*/ 60 h 86"/>
                <a:gd name="T26" fmla="*/ 80 w 87"/>
                <a:gd name="T27" fmla="*/ 66 h 86"/>
                <a:gd name="T28" fmla="*/ 75 w 87"/>
                <a:gd name="T29" fmla="*/ 73 h 86"/>
                <a:gd name="T30" fmla="*/ 68 w 87"/>
                <a:gd name="T31" fmla="*/ 79 h 86"/>
                <a:gd name="T32" fmla="*/ 61 w 87"/>
                <a:gd name="T33" fmla="*/ 82 h 86"/>
                <a:gd name="T34" fmla="*/ 53 w 87"/>
                <a:gd name="T35" fmla="*/ 84 h 86"/>
                <a:gd name="T36" fmla="*/ 44 w 87"/>
                <a:gd name="T37" fmla="*/ 86 h 86"/>
                <a:gd name="T38" fmla="*/ 44 w 87"/>
                <a:gd name="T39" fmla="*/ 86 h 86"/>
                <a:gd name="T40" fmla="*/ 35 w 87"/>
                <a:gd name="T41" fmla="*/ 84 h 86"/>
                <a:gd name="T42" fmla="*/ 28 w 87"/>
                <a:gd name="T43" fmla="*/ 82 h 86"/>
                <a:gd name="T44" fmla="*/ 20 w 87"/>
                <a:gd name="T45" fmla="*/ 79 h 86"/>
                <a:gd name="T46" fmla="*/ 14 w 87"/>
                <a:gd name="T47" fmla="*/ 73 h 86"/>
                <a:gd name="T48" fmla="*/ 9 w 87"/>
                <a:gd name="T49" fmla="*/ 66 h 86"/>
                <a:gd name="T50" fmla="*/ 4 w 87"/>
                <a:gd name="T51" fmla="*/ 60 h 86"/>
                <a:gd name="T52" fmla="*/ 2 w 87"/>
                <a:gd name="T53" fmla="*/ 51 h 86"/>
                <a:gd name="T54" fmla="*/ 0 w 87"/>
                <a:gd name="T55" fmla="*/ 43 h 86"/>
                <a:gd name="T56" fmla="*/ 0 w 87"/>
                <a:gd name="T57" fmla="*/ 43 h 86"/>
                <a:gd name="T58" fmla="*/ 2 w 87"/>
                <a:gd name="T59" fmla="*/ 33 h 86"/>
                <a:gd name="T60" fmla="*/ 4 w 87"/>
                <a:gd name="T61" fmla="*/ 27 h 86"/>
                <a:gd name="T62" fmla="*/ 9 w 87"/>
                <a:gd name="T63" fmla="*/ 18 h 86"/>
                <a:gd name="T64" fmla="*/ 14 w 87"/>
                <a:gd name="T65" fmla="*/ 13 h 86"/>
                <a:gd name="T66" fmla="*/ 20 w 87"/>
                <a:gd name="T67" fmla="*/ 7 h 86"/>
                <a:gd name="T68" fmla="*/ 28 w 87"/>
                <a:gd name="T69" fmla="*/ 3 h 86"/>
                <a:gd name="T70" fmla="*/ 35 w 87"/>
                <a:gd name="T71" fmla="*/ 0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53" y="0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5" y="13"/>
                  </a:lnTo>
                  <a:lnTo>
                    <a:pt x="80" y="18"/>
                  </a:lnTo>
                  <a:lnTo>
                    <a:pt x="83" y="27"/>
                  </a:lnTo>
                  <a:lnTo>
                    <a:pt x="86" y="33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60"/>
                  </a:lnTo>
                  <a:lnTo>
                    <a:pt x="80" y="66"/>
                  </a:lnTo>
                  <a:lnTo>
                    <a:pt x="75" y="73"/>
                  </a:lnTo>
                  <a:lnTo>
                    <a:pt x="68" y="79"/>
                  </a:lnTo>
                  <a:lnTo>
                    <a:pt x="61" y="82"/>
                  </a:lnTo>
                  <a:lnTo>
                    <a:pt x="53" y="84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35" y="84"/>
                  </a:lnTo>
                  <a:lnTo>
                    <a:pt x="28" y="82"/>
                  </a:lnTo>
                  <a:lnTo>
                    <a:pt x="20" y="79"/>
                  </a:lnTo>
                  <a:lnTo>
                    <a:pt x="14" y="73"/>
                  </a:lnTo>
                  <a:lnTo>
                    <a:pt x="9" y="66"/>
                  </a:lnTo>
                  <a:lnTo>
                    <a:pt x="4" y="60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3"/>
                  </a:lnTo>
                  <a:lnTo>
                    <a:pt x="4" y="27"/>
                  </a:lnTo>
                  <a:lnTo>
                    <a:pt x="9" y="18"/>
                  </a:lnTo>
                  <a:lnTo>
                    <a:pt x="14" y="13"/>
                  </a:lnTo>
                  <a:lnTo>
                    <a:pt x="20" y="7"/>
                  </a:lnTo>
                  <a:lnTo>
                    <a:pt x="28" y="3"/>
                  </a:lnTo>
                  <a:lnTo>
                    <a:pt x="35" y="0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01"/>
            <p:cNvSpPr>
              <a:spLocks/>
            </p:cNvSpPr>
            <p:nvPr userDrawn="1"/>
          </p:nvSpPr>
          <p:spPr bwMode="auto">
            <a:xfrm>
              <a:off x="4044" y="1173"/>
              <a:ext cx="44" cy="43"/>
            </a:xfrm>
            <a:custGeom>
              <a:avLst/>
              <a:gdLst>
                <a:gd name="T0" fmla="*/ 44 w 87"/>
                <a:gd name="T1" fmla="*/ 0 h 87"/>
                <a:gd name="T2" fmla="*/ 44 w 87"/>
                <a:gd name="T3" fmla="*/ 0 h 87"/>
                <a:gd name="T4" fmla="*/ 53 w 87"/>
                <a:gd name="T5" fmla="*/ 2 h 87"/>
                <a:gd name="T6" fmla="*/ 61 w 87"/>
                <a:gd name="T7" fmla="*/ 5 h 87"/>
                <a:gd name="T8" fmla="*/ 68 w 87"/>
                <a:gd name="T9" fmla="*/ 9 h 87"/>
                <a:gd name="T10" fmla="*/ 75 w 87"/>
                <a:gd name="T11" fmla="*/ 14 h 87"/>
                <a:gd name="T12" fmla="*/ 80 w 87"/>
                <a:gd name="T13" fmla="*/ 20 h 87"/>
                <a:gd name="T14" fmla="*/ 83 w 87"/>
                <a:gd name="T15" fmla="*/ 27 h 87"/>
                <a:gd name="T16" fmla="*/ 86 w 87"/>
                <a:gd name="T17" fmla="*/ 35 h 87"/>
                <a:gd name="T18" fmla="*/ 87 w 87"/>
                <a:gd name="T19" fmla="*/ 44 h 87"/>
                <a:gd name="T20" fmla="*/ 87 w 87"/>
                <a:gd name="T21" fmla="*/ 44 h 87"/>
                <a:gd name="T22" fmla="*/ 86 w 87"/>
                <a:gd name="T23" fmla="*/ 53 h 87"/>
                <a:gd name="T24" fmla="*/ 83 w 87"/>
                <a:gd name="T25" fmla="*/ 61 h 87"/>
                <a:gd name="T26" fmla="*/ 80 w 87"/>
                <a:gd name="T27" fmla="*/ 68 h 87"/>
                <a:gd name="T28" fmla="*/ 75 w 87"/>
                <a:gd name="T29" fmla="*/ 75 h 87"/>
                <a:gd name="T30" fmla="*/ 68 w 87"/>
                <a:gd name="T31" fmla="*/ 79 h 87"/>
                <a:gd name="T32" fmla="*/ 61 w 87"/>
                <a:gd name="T33" fmla="*/ 83 h 87"/>
                <a:gd name="T34" fmla="*/ 53 w 87"/>
                <a:gd name="T35" fmla="*/ 86 h 87"/>
                <a:gd name="T36" fmla="*/ 44 w 87"/>
                <a:gd name="T37" fmla="*/ 87 h 87"/>
                <a:gd name="T38" fmla="*/ 44 w 87"/>
                <a:gd name="T39" fmla="*/ 87 h 87"/>
                <a:gd name="T40" fmla="*/ 35 w 87"/>
                <a:gd name="T41" fmla="*/ 86 h 87"/>
                <a:gd name="T42" fmla="*/ 28 w 87"/>
                <a:gd name="T43" fmla="*/ 83 h 87"/>
                <a:gd name="T44" fmla="*/ 20 w 87"/>
                <a:gd name="T45" fmla="*/ 79 h 87"/>
                <a:gd name="T46" fmla="*/ 14 w 87"/>
                <a:gd name="T47" fmla="*/ 75 h 87"/>
                <a:gd name="T48" fmla="*/ 9 w 87"/>
                <a:gd name="T49" fmla="*/ 68 h 87"/>
                <a:gd name="T50" fmla="*/ 4 w 87"/>
                <a:gd name="T51" fmla="*/ 61 h 87"/>
                <a:gd name="T52" fmla="*/ 2 w 87"/>
                <a:gd name="T53" fmla="*/ 53 h 87"/>
                <a:gd name="T54" fmla="*/ 0 w 87"/>
                <a:gd name="T55" fmla="*/ 44 h 87"/>
                <a:gd name="T56" fmla="*/ 0 w 87"/>
                <a:gd name="T57" fmla="*/ 44 h 87"/>
                <a:gd name="T58" fmla="*/ 2 w 87"/>
                <a:gd name="T59" fmla="*/ 35 h 87"/>
                <a:gd name="T60" fmla="*/ 4 w 87"/>
                <a:gd name="T61" fmla="*/ 27 h 87"/>
                <a:gd name="T62" fmla="*/ 9 w 87"/>
                <a:gd name="T63" fmla="*/ 20 h 87"/>
                <a:gd name="T64" fmla="*/ 14 w 87"/>
                <a:gd name="T65" fmla="*/ 14 h 87"/>
                <a:gd name="T66" fmla="*/ 20 w 87"/>
                <a:gd name="T67" fmla="*/ 9 h 87"/>
                <a:gd name="T68" fmla="*/ 28 w 87"/>
                <a:gd name="T69" fmla="*/ 5 h 87"/>
                <a:gd name="T70" fmla="*/ 35 w 87"/>
                <a:gd name="T71" fmla="*/ 2 h 87"/>
                <a:gd name="T72" fmla="*/ 44 w 87"/>
                <a:gd name="T73" fmla="*/ 0 h 87"/>
                <a:gd name="T74" fmla="*/ 44 w 87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53" y="2"/>
                  </a:lnTo>
                  <a:lnTo>
                    <a:pt x="61" y="5"/>
                  </a:lnTo>
                  <a:lnTo>
                    <a:pt x="68" y="9"/>
                  </a:lnTo>
                  <a:lnTo>
                    <a:pt x="75" y="14"/>
                  </a:lnTo>
                  <a:lnTo>
                    <a:pt x="80" y="20"/>
                  </a:lnTo>
                  <a:lnTo>
                    <a:pt x="83" y="27"/>
                  </a:lnTo>
                  <a:lnTo>
                    <a:pt x="86" y="35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53"/>
                  </a:lnTo>
                  <a:lnTo>
                    <a:pt x="83" y="61"/>
                  </a:lnTo>
                  <a:lnTo>
                    <a:pt x="80" y="68"/>
                  </a:lnTo>
                  <a:lnTo>
                    <a:pt x="75" y="75"/>
                  </a:lnTo>
                  <a:lnTo>
                    <a:pt x="68" y="79"/>
                  </a:lnTo>
                  <a:lnTo>
                    <a:pt x="61" y="83"/>
                  </a:lnTo>
                  <a:lnTo>
                    <a:pt x="53" y="86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6"/>
                  </a:lnTo>
                  <a:lnTo>
                    <a:pt x="28" y="83"/>
                  </a:lnTo>
                  <a:lnTo>
                    <a:pt x="20" y="79"/>
                  </a:lnTo>
                  <a:lnTo>
                    <a:pt x="14" y="75"/>
                  </a:lnTo>
                  <a:lnTo>
                    <a:pt x="9" y="68"/>
                  </a:lnTo>
                  <a:lnTo>
                    <a:pt x="4" y="61"/>
                  </a:lnTo>
                  <a:lnTo>
                    <a:pt x="2" y="53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35"/>
                  </a:lnTo>
                  <a:lnTo>
                    <a:pt x="4" y="27"/>
                  </a:lnTo>
                  <a:lnTo>
                    <a:pt x="9" y="20"/>
                  </a:lnTo>
                  <a:lnTo>
                    <a:pt x="14" y="14"/>
                  </a:lnTo>
                  <a:lnTo>
                    <a:pt x="20" y="9"/>
                  </a:lnTo>
                  <a:lnTo>
                    <a:pt x="28" y="5"/>
                  </a:lnTo>
                  <a:lnTo>
                    <a:pt x="35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02"/>
            <p:cNvSpPr>
              <a:spLocks/>
            </p:cNvSpPr>
            <p:nvPr userDrawn="1"/>
          </p:nvSpPr>
          <p:spPr bwMode="auto">
            <a:xfrm>
              <a:off x="4044" y="1116"/>
              <a:ext cx="44" cy="44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53 w 87"/>
                <a:gd name="T5" fmla="*/ 1 h 86"/>
                <a:gd name="T6" fmla="*/ 61 w 87"/>
                <a:gd name="T7" fmla="*/ 4 h 86"/>
                <a:gd name="T8" fmla="*/ 68 w 87"/>
                <a:gd name="T9" fmla="*/ 8 h 86"/>
                <a:gd name="T10" fmla="*/ 75 w 87"/>
                <a:gd name="T11" fmla="*/ 12 h 86"/>
                <a:gd name="T12" fmla="*/ 80 w 87"/>
                <a:gd name="T13" fmla="*/ 19 h 86"/>
                <a:gd name="T14" fmla="*/ 83 w 87"/>
                <a:gd name="T15" fmla="*/ 26 h 86"/>
                <a:gd name="T16" fmla="*/ 86 w 87"/>
                <a:gd name="T17" fmla="*/ 34 h 86"/>
                <a:gd name="T18" fmla="*/ 87 w 87"/>
                <a:gd name="T19" fmla="*/ 44 h 86"/>
                <a:gd name="T20" fmla="*/ 87 w 87"/>
                <a:gd name="T21" fmla="*/ 44 h 86"/>
                <a:gd name="T22" fmla="*/ 86 w 87"/>
                <a:gd name="T23" fmla="*/ 52 h 86"/>
                <a:gd name="T24" fmla="*/ 83 w 87"/>
                <a:gd name="T25" fmla="*/ 60 h 86"/>
                <a:gd name="T26" fmla="*/ 80 w 87"/>
                <a:gd name="T27" fmla="*/ 67 h 86"/>
                <a:gd name="T28" fmla="*/ 75 w 87"/>
                <a:gd name="T29" fmla="*/ 74 h 86"/>
                <a:gd name="T30" fmla="*/ 68 w 87"/>
                <a:gd name="T31" fmla="*/ 78 h 86"/>
                <a:gd name="T32" fmla="*/ 61 w 87"/>
                <a:gd name="T33" fmla="*/ 82 h 86"/>
                <a:gd name="T34" fmla="*/ 53 w 87"/>
                <a:gd name="T35" fmla="*/ 85 h 86"/>
                <a:gd name="T36" fmla="*/ 44 w 87"/>
                <a:gd name="T37" fmla="*/ 86 h 86"/>
                <a:gd name="T38" fmla="*/ 44 w 87"/>
                <a:gd name="T39" fmla="*/ 86 h 86"/>
                <a:gd name="T40" fmla="*/ 35 w 87"/>
                <a:gd name="T41" fmla="*/ 85 h 86"/>
                <a:gd name="T42" fmla="*/ 28 w 87"/>
                <a:gd name="T43" fmla="*/ 82 h 86"/>
                <a:gd name="T44" fmla="*/ 20 w 87"/>
                <a:gd name="T45" fmla="*/ 78 h 86"/>
                <a:gd name="T46" fmla="*/ 14 w 87"/>
                <a:gd name="T47" fmla="*/ 74 h 86"/>
                <a:gd name="T48" fmla="*/ 9 w 87"/>
                <a:gd name="T49" fmla="*/ 67 h 86"/>
                <a:gd name="T50" fmla="*/ 4 w 87"/>
                <a:gd name="T51" fmla="*/ 60 h 86"/>
                <a:gd name="T52" fmla="*/ 2 w 87"/>
                <a:gd name="T53" fmla="*/ 52 h 86"/>
                <a:gd name="T54" fmla="*/ 0 w 87"/>
                <a:gd name="T55" fmla="*/ 44 h 86"/>
                <a:gd name="T56" fmla="*/ 0 w 87"/>
                <a:gd name="T57" fmla="*/ 44 h 86"/>
                <a:gd name="T58" fmla="*/ 2 w 87"/>
                <a:gd name="T59" fmla="*/ 34 h 86"/>
                <a:gd name="T60" fmla="*/ 4 w 87"/>
                <a:gd name="T61" fmla="*/ 26 h 86"/>
                <a:gd name="T62" fmla="*/ 9 w 87"/>
                <a:gd name="T63" fmla="*/ 19 h 86"/>
                <a:gd name="T64" fmla="*/ 14 w 87"/>
                <a:gd name="T65" fmla="*/ 12 h 86"/>
                <a:gd name="T66" fmla="*/ 20 w 87"/>
                <a:gd name="T67" fmla="*/ 8 h 86"/>
                <a:gd name="T68" fmla="*/ 28 w 87"/>
                <a:gd name="T69" fmla="*/ 4 h 86"/>
                <a:gd name="T70" fmla="*/ 35 w 87"/>
                <a:gd name="T71" fmla="*/ 1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5" y="12"/>
                  </a:lnTo>
                  <a:lnTo>
                    <a:pt x="80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4"/>
                  </a:lnTo>
                  <a:lnTo>
                    <a:pt x="87" y="44"/>
                  </a:lnTo>
                  <a:lnTo>
                    <a:pt x="86" y="52"/>
                  </a:lnTo>
                  <a:lnTo>
                    <a:pt x="83" y="60"/>
                  </a:lnTo>
                  <a:lnTo>
                    <a:pt x="80" y="67"/>
                  </a:lnTo>
                  <a:lnTo>
                    <a:pt x="75" y="74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35" y="85"/>
                  </a:lnTo>
                  <a:lnTo>
                    <a:pt x="28" y="82"/>
                  </a:lnTo>
                  <a:lnTo>
                    <a:pt x="20" y="78"/>
                  </a:lnTo>
                  <a:lnTo>
                    <a:pt x="14" y="74"/>
                  </a:lnTo>
                  <a:lnTo>
                    <a:pt x="9" y="67"/>
                  </a:lnTo>
                  <a:lnTo>
                    <a:pt x="4" y="60"/>
                  </a:lnTo>
                  <a:lnTo>
                    <a:pt x="2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2" y="34"/>
                  </a:lnTo>
                  <a:lnTo>
                    <a:pt x="4" y="26"/>
                  </a:lnTo>
                  <a:lnTo>
                    <a:pt x="9" y="19"/>
                  </a:lnTo>
                  <a:lnTo>
                    <a:pt x="14" y="12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03"/>
            <p:cNvSpPr>
              <a:spLocks/>
            </p:cNvSpPr>
            <p:nvPr userDrawn="1"/>
          </p:nvSpPr>
          <p:spPr bwMode="auto">
            <a:xfrm>
              <a:off x="4044" y="1060"/>
              <a:ext cx="44" cy="43"/>
            </a:xfrm>
            <a:custGeom>
              <a:avLst/>
              <a:gdLst>
                <a:gd name="T0" fmla="*/ 44 w 87"/>
                <a:gd name="T1" fmla="*/ 0 h 87"/>
                <a:gd name="T2" fmla="*/ 44 w 87"/>
                <a:gd name="T3" fmla="*/ 0 h 87"/>
                <a:gd name="T4" fmla="*/ 53 w 87"/>
                <a:gd name="T5" fmla="*/ 1 h 87"/>
                <a:gd name="T6" fmla="*/ 61 w 87"/>
                <a:gd name="T7" fmla="*/ 4 h 87"/>
                <a:gd name="T8" fmla="*/ 68 w 87"/>
                <a:gd name="T9" fmla="*/ 8 h 87"/>
                <a:gd name="T10" fmla="*/ 75 w 87"/>
                <a:gd name="T11" fmla="*/ 12 h 87"/>
                <a:gd name="T12" fmla="*/ 80 w 87"/>
                <a:gd name="T13" fmla="*/ 19 h 87"/>
                <a:gd name="T14" fmla="*/ 83 w 87"/>
                <a:gd name="T15" fmla="*/ 26 h 87"/>
                <a:gd name="T16" fmla="*/ 86 w 87"/>
                <a:gd name="T17" fmla="*/ 34 h 87"/>
                <a:gd name="T18" fmla="*/ 87 w 87"/>
                <a:gd name="T19" fmla="*/ 43 h 87"/>
                <a:gd name="T20" fmla="*/ 87 w 87"/>
                <a:gd name="T21" fmla="*/ 43 h 87"/>
                <a:gd name="T22" fmla="*/ 86 w 87"/>
                <a:gd name="T23" fmla="*/ 52 h 87"/>
                <a:gd name="T24" fmla="*/ 83 w 87"/>
                <a:gd name="T25" fmla="*/ 61 h 87"/>
                <a:gd name="T26" fmla="*/ 80 w 87"/>
                <a:gd name="T27" fmla="*/ 67 h 87"/>
                <a:gd name="T28" fmla="*/ 75 w 87"/>
                <a:gd name="T29" fmla="*/ 73 h 87"/>
                <a:gd name="T30" fmla="*/ 68 w 87"/>
                <a:gd name="T31" fmla="*/ 78 h 87"/>
                <a:gd name="T32" fmla="*/ 61 w 87"/>
                <a:gd name="T33" fmla="*/ 83 h 87"/>
                <a:gd name="T34" fmla="*/ 53 w 87"/>
                <a:gd name="T35" fmla="*/ 85 h 87"/>
                <a:gd name="T36" fmla="*/ 44 w 87"/>
                <a:gd name="T37" fmla="*/ 87 h 87"/>
                <a:gd name="T38" fmla="*/ 44 w 87"/>
                <a:gd name="T39" fmla="*/ 87 h 87"/>
                <a:gd name="T40" fmla="*/ 35 w 87"/>
                <a:gd name="T41" fmla="*/ 85 h 87"/>
                <a:gd name="T42" fmla="*/ 28 w 87"/>
                <a:gd name="T43" fmla="*/ 83 h 87"/>
                <a:gd name="T44" fmla="*/ 20 w 87"/>
                <a:gd name="T45" fmla="*/ 78 h 87"/>
                <a:gd name="T46" fmla="*/ 14 w 87"/>
                <a:gd name="T47" fmla="*/ 73 h 87"/>
                <a:gd name="T48" fmla="*/ 9 w 87"/>
                <a:gd name="T49" fmla="*/ 67 h 87"/>
                <a:gd name="T50" fmla="*/ 4 w 87"/>
                <a:gd name="T51" fmla="*/ 61 h 87"/>
                <a:gd name="T52" fmla="*/ 2 w 87"/>
                <a:gd name="T53" fmla="*/ 52 h 87"/>
                <a:gd name="T54" fmla="*/ 0 w 87"/>
                <a:gd name="T55" fmla="*/ 43 h 87"/>
                <a:gd name="T56" fmla="*/ 0 w 87"/>
                <a:gd name="T57" fmla="*/ 43 h 87"/>
                <a:gd name="T58" fmla="*/ 2 w 87"/>
                <a:gd name="T59" fmla="*/ 34 h 87"/>
                <a:gd name="T60" fmla="*/ 4 w 87"/>
                <a:gd name="T61" fmla="*/ 26 h 87"/>
                <a:gd name="T62" fmla="*/ 9 w 87"/>
                <a:gd name="T63" fmla="*/ 19 h 87"/>
                <a:gd name="T64" fmla="*/ 14 w 87"/>
                <a:gd name="T65" fmla="*/ 12 h 87"/>
                <a:gd name="T66" fmla="*/ 20 w 87"/>
                <a:gd name="T67" fmla="*/ 8 h 87"/>
                <a:gd name="T68" fmla="*/ 28 w 87"/>
                <a:gd name="T69" fmla="*/ 4 h 87"/>
                <a:gd name="T70" fmla="*/ 35 w 87"/>
                <a:gd name="T71" fmla="*/ 1 h 87"/>
                <a:gd name="T72" fmla="*/ 44 w 87"/>
                <a:gd name="T73" fmla="*/ 0 h 87"/>
                <a:gd name="T74" fmla="*/ 44 w 87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7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4"/>
                  </a:lnTo>
                  <a:lnTo>
                    <a:pt x="68" y="8"/>
                  </a:lnTo>
                  <a:lnTo>
                    <a:pt x="75" y="12"/>
                  </a:lnTo>
                  <a:lnTo>
                    <a:pt x="80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2"/>
                  </a:lnTo>
                  <a:lnTo>
                    <a:pt x="83" y="61"/>
                  </a:lnTo>
                  <a:lnTo>
                    <a:pt x="80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35" y="85"/>
                  </a:lnTo>
                  <a:lnTo>
                    <a:pt x="28" y="83"/>
                  </a:lnTo>
                  <a:lnTo>
                    <a:pt x="20" y="78"/>
                  </a:lnTo>
                  <a:lnTo>
                    <a:pt x="14" y="73"/>
                  </a:lnTo>
                  <a:lnTo>
                    <a:pt x="9" y="67"/>
                  </a:lnTo>
                  <a:lnTo>
                    <a:pt x="4" y="61"/>
                  </a:lnTo>
                  <a:lnTo>
                    <a:pt x="2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4" y="26"/>
                  </a:lnTo>
                  <a:lnTo>
                    <a:pt x="9" y="19"/>
                  </a:lnTo>
                  <a:lnTo>
                    <a:pt x="14" y="12"/>
                  </a:lnTo>
                  <a:lnTo>
                    <a:pt x="20" y="8"/>
                  </a:lnTo>
                  <a:lnTo>
                    <a:pt x="28" y="4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04"/>
            <p:cNvSpPr>
              <a:spLocks/>
            </p:cNvSpPr>
            <p:nvPr userDrawn="1"/>
          </p:nvSpPr>
          <p:spPr bwMode="auto">
            <a:xfrm>
              <a:off x="4044" y="1004"/>
              <a:ext cx="44" cy="42"/>
            </a:xfrm>
            <a:custGeom>
              <a:avLst/>
              <a:gdLst>
                <a:gd name="T0" fmla="*/ 44 w 87"/>
                <a:gd name="T1" fmla="*/ 0 h 86"/>
                <a:gd name="T2" fmla="*/ 44 w 87"/>
                <a:gd name="T3" fmla="*/ 0 h 86"/>
                <a:gd name="T4" fmla="*/ 53 w 87"/>
                <a:gd name="T5" fmla="*/ 2 h 86"/>
                <a:gd name="T6" fmla="*/ 61 w 87"/>
                <a:gd name="T7" fmla="*/ 5 h 86"/>
                <a:gd name="T8" fmla="*/ 68 w 87"/>
                <a:gd name="T9" fmla="*/ 7 h 86"/>
                <a:gd name="T10" fmla="*/ 75 w 87"/>
                <a:gd name="T11" fmla="*/ 13 h 86"/>
                <a:gd name="T12" fmla="*/ 80 w 87"/>
                <a:gd name="T13" fmla="*/ 20 h 86"/>
                <a:gd name="T14" fmla="*/ 83 w 87"/>
                <a:gd name="T15" fmla="*/ 27 h 86"/>
                <a:gd name="T16" fmla="*/ 86 w 87"/>
                <a:gd name="T17" fmla="*/ 35 h 86"/>
                <a:gd name="T18" fmla="*/ 87 w 87"/>
                <a:gd name="T19" fmla="*/ 43 h 86"/>
                <a:gd name="T20" fmla="*/ 87 w 87"/>
                <a:gd name="T21" fmla="*/ 43 h 86"/>
                <a:gd name="T22" fmla="*/ 86 w 87"/>
                <a:gd name="T23" fmla="*/ 53 h 86"/>
                <a:gd name="T24" fmla="*/ 83 w 87"/>
                <a:gd name="T25" fmla="*/ 59 h 86"/>
                <a:gd name="T26" fmla="*/ 80 w 87"/>
                <a:gd name="T27" fmla="*/ 68 h 86"/>
                <a:gd name="T28" fmla="*/ 75 w 87"/>
                <a:gd name="T29" fmla="*/ 73 h 86"/>
                <a:gd name="T30" fmla="*/ 68 w 87"/>
                <a:gd name="T31" fmla="*/ 79 h 86"/>
                <a:gd name="T32" fmla="*/ 61 w 87"/>
                <a:gd name="T33" fmla="*/ 83 h 86"/>
                <a:gd name="T34" fmla="*/ 53 w 87"/>
                <a:gd name="T35" fmla="*/ 86 h 86"/>
                <a:gd name="T36" fmla="*/ 44 w 87"/>
                <a:gd name="T37" fmla="*/ 86 h 86"/>
                <a:gd name="T38" fmla="*/ 44 w 87"/>
                <a:gd name="T39" fmla="*/ 86 h 86"/>
                <a:gd name="T40" fmla="*/ 35 w 87"/>
                <a:gd name="T41" fmla="*/ 86 h 86"/>
                <a:gd name="T42" fmla="*/ 28 w 87"/>
                <a:gd name="T43" fmla="*/ 83 h 86"/>
                <a:gd name="T44" fmla="*/ 20 w 87"/>
                <a:gd name="T45" fmla="*/ 79 h 86"/>
                <a:gd name="T46" fmla="*/ 14 w 87"/>
                <a:gd name="T47" fmla="*/ 73 h 86"/>
                <a:gd name="T48" fmla="*/ 9 w 87"/>
                <a:gd name="T49" fmla="*/ 68 h 86"/>
                <a:gd name="T50" fmla="*/ 4 w 87"/>
                <a:gd name="T51" fmla="*/ 59 h 86"/>
                <a:gd name="T52" fmla="*/ 2 w 87"/>
                <a:gd name="T53" fmla="*/ 53 h 86"/>
                <a:gd name="T54" fmla="*/ 0 w 87"/>
                <a:gd name="T55" fmla="*/ 43 h 86"/>
                <a:gd name="T56" fmla="*/ 0 w 87"/>
                <a:gd name="T57" fmla="*/ 43 h 86"/>
                <a:gd name="T58" fmla="*/ 2 w 87"/>
                <a:gd name="T59" fmla="*/ 35 h 86"/>
                <a:gd name="T60" fmla="*/ 4 w 87"/>
                <a:gd name="T61" fmla="*/ 27 h 86"/>
                <a:gd name="T62" fmla="*/ 9 w 87"/>
                <a:gd name="T63" fmla="*/ 20 h 86"/>
                <a:gd name="T64" fmla="*/ 14 w 87"/>
                <a:gd name="T65" fmla="*/ 13 h 86"/>
                <a:gd name="T66" fmla="*/ 20 w 87"/>
                <a:gd name="T67" fmla="*/ 7 h 86"/>
                <a:gd name="T68" fmla="*/ 28 w 87"/>
                <a:gd name="T69" fmla="*/ 5 h 86"/>
                <a:gd name="T70" fmla="*/ 35 w 87"/>
                <a:gd name="T71" fmla="*/ 2 h 86"/>
                <a:gd name="T72" fmla="*/ 44 w 87"/>
                <a:gd name="T73" fmla="*/ 0 h 86"/>
                <a:gd name="T74" fmla="*/ 44 w 87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6">
                  <a:moveTo>
                    <a:pt x="44" y="0"/>
                  </a:moveTo>
                  <a:lnTo>
                    <a:pt x="44" y="0"/>
                  </a:lnTo>
                  <a:lnTo>
                    <a:pt x="53" y="2"/>
                  </a:lnTo>
                  <a:lnTo>
                    <a:pt x="61" y="5"/>
                  </a:lnTo>
                  <a:lnTo>
                    <a:pt x="68" y="7"/>
                  </a:lnTo>
                  <a:lnTo>
                    <a:pt x="75" y="13"/>
                  </a:lnTo>
                  <a:lnTo>
                    <a:pt x="80" y="20"/>
                  </a:lnTo>
                  <a:lnTo>
                    <a:pt x="83" y="27"/>
                  </a:lnTo>
                  <a:lnTo>
                    <a:pt x="86" y="35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3"/>
                  </a:lnTo>
                  <a:lnTo>
                    <a:pt x="83" y="59"/>
                  </a:lnTo>
                  <a:lnTo>
                    <a:pt x="80" y="68"/>
                  </a:lnTo>
                  <a:lnTo>
                    <a:pt x="75" y="73"/>
                  </a:lnTo>
                  <a:lnTo>
                    <a:pt x="68" y="79"/>
                  </a:lnTo>
                  <a:lnTo>
                    <a:pt x="61" y="83"/>
                  </a:lnTo>
                  <a:lnTo>
                    <a:pt x="53" y="86"/>
                  </a:lnTo>
                  <a:lnTo>
                    <a:pt x="44" y="86"/>
                  </a:lnTo>
                  <a:lnTo>
                    <a:pt x="44" y="86"/>
                  </a:lnTo>
                  <a:lnTo>
                    <a:pt x="35" y="86"/>
                  </a:lnTo>
                  <a:lnTo>
                    <a:pt x="28" y="83"/>
                  </a:lnTo>
                  <a:lnTo>
                    <a:pt x="20" y="79"/>
                  </a:lnTo>
                  <a:lnTo>
                    <a:pt x="14" y="73"/>
                  </a:lnTo>
                  <a:lnTo>
                    <a:pt x="9" y="68"/>
                  </a:lnTo>
                  <a:lnTo>
                    <a:pt x="4" y="59"/>
                  </a:lnTo>
                  <a:lnTo>
                    <a:pt x="2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5"/>
                  </a:lnTo>
                  <a:lnTo>
                    <a:pt x="4" y="27"/>
                  </a:lnTo>
                  <a:lnTo>
                    <a:pt x="9" y="20"/>
                  </a:lnTo>
                  <a:lnTo>
                    <a:pt x="14" y="13"/>
                  </a:lnTo>
                  <a:lnTo>
                    <a:pt x="20" y="7"/>
                  </a:lnTo>
                  <a:lnTo>
                    <a:pt x="28" y="5"/>
                  </a:lnTo>
                  <a:lnTo>
                    <a:pt x="35" y="2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05"/>
            <p:cNvSpPr>
              <a:spLocks/>
            </p:cNvSpPr>
            <p:nvPr userDrawn="1"/>
          </p:nvSpPr>
          <p:spPr bwMode="auto">
            <a:xfrm>
              <a:off x="4044" y="947"/>
              <a:ext cx="44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1 h 85"/>
                <a:gd name="T6" fmla="*/ 61 w 87"/>
                <a:gd name="T7" fmla="*/ 2 h 85"/>
                <a:gd name="T8" fmla="*/ 68 w 87"/>
                <a:gd name="T9" fmla="*/ 7 h 85"/>
                <a:gd name="T10" fmla="*/ 75 w 87"/>
                <a:gd name="T11" fmla="*/ 12 h 85"/>
                <a:gd name="T12" fmla="*/ 80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2 h 85"/>
                <a:gd name="T20" fmla="*/ 87 w 87"/>
                <a:gd name="T21" fmla="*/ 42 h 85"/>
                <a:gd name="T22" fmla="*/ 86 w 87"/>
                <a:gd name="T23" fmla="*/ 51 h 85"/>
                <a:gd name="T24" fmla="*/ 83 w 87"/>
                <a:gd name="T25" fmla="*/ 59 h 85"/>
                <a:gd name="T26" fmla="*/ 80 w 87"/>
                <a:gd name="T27" fmla="*/ 67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2 h 85"/>
                <a:gd name="T34" fmla="*/ 53 w 87"/>
                <a:gd name="T35" fmla="*/ 85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5 h 85"/>
                <a:gd name="T42" fmla="*/ 28 w 87"/>
                <a:gd name="T43" fmla="*/ 82 h 85"/>
                <a:gd name="T44" fmla="*/ 20 w 87"/>
                <a:gd name="T45" fmla="*/ 78 h 85"/>
                <a:gd name="T46" fmla="*/ 14 w 87"/>
                <a:gd name="T47" fmla="*/ 73 h 85"/>
                <a:gd name="T48" fmla="*/ 9 w 87"/>
                <a:gd name="T49" fmla="*/ 67 h 85"/>
                <a:gd name="T50" fmla="*/ 4 w 87"/>
                <a:gd name="T51" fmla="*/ 59 h 85"/>
                <a:gd name="T52" fmla="*/ 2 w 87"/>
                <a:gd name="T53" fmla="*/ 51 h 85"/>
                <a:gd name="T54" fmla="*/ 0 w 87"/>
                <a:gd name="T55" fmla="*/ 42 h 85"/>
                <a:gd name="T56" fmla="*/ 0 w 87"/>
                <a:gd name="T57" fmla="*/ 42 h 85"/>
                <a:gd name="T58" fmla="*/ 2 w 87"/>
                <a:gd name="T59" fmla="*/ 34 h 85"/>
                <a:gd name="T60" fmla="*/ 4 w 87"/>
                <a:gd name="T61" fmla="*/ 26 h 85"/>
                <a:gd name="T62" fmla="*/ 9 w 87"/>
                <a:gd name="T63" fmla="*/ 19 h 85"/>
                <a:gd name="T64" fmla="*/ 14 w 87"/>
                <a:gd name="T65" fmla="*/ 12 h 85"/>
                <a:gd name="T66" fmla="*/ 20 w 87"/>
                <a:gd name="T67" fmla="*/ 7 h 85"/>
                <a:gd name="T68" fmla="*/ 28 w 87"/>
                <a:gd name="T69" fmla="*/ 2 h 85"/>
                <a:gd name="T70" fmla="*/ 35 w 87"/>
                <a:gd name="T71" fmla="*/ 1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2"/>
                  </a:lnTo>
                  <a:lnTo>
                    <a:pt x="68" y="7"/>
                  </a:lnTo>
                  <a:lnTo>
                    <a:pt x="75" y="12"/>
                  </a:lnTo>
                  <a:lnTo>
                    <a:pt x="80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80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2"/>
                  </a:lnTo>
                  <a:lnTo>
                    <a:pt x="53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5"/>
                  </a:lnTo>
                  <a:lnTo>
                    <a:pt x="28" y="82"/>
                  </a:lnTo>
                  <a:lnTo>
                    <a:pt x="20" y="78"/>
                  </a:lnTo>
                  <a:lnTo>
                    <a:pt x="14" y="73"/>
                  </a:lnTo>
                  <a:lnTo>
                    <a:pt x="9" y="67"/>
                  </a:lnTo>
                  <a:lnTo>
                    <a:pt x="4" y="59"/>
                  </a:lnTo>
                  <a:lnTo>
                    <a:pt x="2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2" y="34"/>
                  </a:lnTo>
                  <a:lnTo>
                    <a:pt x="4" y="26"/>
                  </a:lnTo>
                  <a:lnTo>
                    <a:pt x="9" y="19"/>
                  </a:lnTo>
                  <a:lnTo>
                    <a:pt x="14" y="12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06"/>
            <p:cNvSpPr>
              <a:spLocks/>
            </p:cNvSpPr>
            <p:nvPr userDrawn="1"/>
          </p:nvSpPr>
          <p:spPr bwMode="auto">
            <a:xfrm>
              <a:off x="4044" y="891"/>
              <a:ext cx="44" cy="43"/>
            </a:xfrm>
            <a:custGeom>
              <a:avLst/>
              <a:gdLst>
                <a:gd name="T0" fmla="*/ 44 w 87"/>
                <a:gd name="T1" fmla="*/ 0 h 85"/>
                <a:gd name="T2" fmla="*/ 44 w 87"/>
                <a:gd name="T3" fmla="*/ 0 h 85"/>
                <a:gd name="T4" fmla="*/ 53 w 87"/>
                <a:gd name="T5" fmla="*/ 1 h 85"/>
                <a:gd name="T6" fmla="*/ 61 w 87"/>
                <a:gd name="T7" fmla="*/ 3 h 85"/>
                <a:gd name="T8" fmla="*/ 68 w 87"/>
                <a:gd name="T9" fmla="*/ 7 h 85"/>
                <a:gd name="T10" fmla="*/ 75 w 87"/>
                <a:gd name="T11" fmla="*/ 12 h 85"/>
                <a:gd name="T12" fmla="*/ 80 w 87"/>
                <a:gd name="T13" fmla="*/ 19 h 85"/>
                <a:gd name="T14" fmla="*/ 83 w 87"/>
                <a:gd name="T15" fmla="*/ 26 h 85"/>
                <a:gd name="T16" fmla="*/ 86 w 87"/>
                <a:gd name="T17" fmla="*/ 34 h 85"/>
                <a:gd name="T18" fmla="*/ 87 w 87"/>
                <a:gd name="T19" fmla="*/ 43 h 85"/>
                <a:gd name="T20" fmla="*/ 87 w 87"/>
                <a:gd name="T21" fmla="*/ 43 h 85"/>
                <a:gd name="T22" fmla="*/ 86 w 87"/>
                <a:gd name="T23" fmla="*/ 51 h 85"/>
                <a:gd name="T24" fmla="*/ 83 w 87"/>
                <a:gd name="T25" fmla="*/ 59 h 85"/>
                <a:gd name="T26" fmla="*/ 80 w 87"/>
                <a:gd name="T27" fmla="*/ 67 h 85"/>
                <a:gd name="T28" fmla="*/ 75 w 87"/>
                <a:gd name="T29" fmla="*/ 73 h 85"/>
                <a:gd name="T30" fmla="*/ 68 w 87"/>
                <a:gd name="T31" fmla="*/ 78 h 85"/>
                <a:gd name="T32" fmla="*/ 61 w 87"/>
                <a:gd name="T33" fmla="*/ 83 h 85"/>
                <a:gd name="T34" fmla="*/ 53 w 87"/>
                <a:gd name="T35" fmla="*/ 85 h 85"/>
                <a:gd name="T36" fmla="*/ 44 w 87"/>
                <a:gd name="T37" fmla="*/ 85 h 85"/>
                <a:gd name="T38" fmla="*/ 44 w 87"/>
                <a:gd name="T39" fmla="*/ 85 h 85"/>
                <a:gd name="T40" fmla="*/ 35 w 87"/>
                <a:gd name="T41" fmla="*/ 85 h 85"/>
                <a:gd name="T42" fmla="*/ 28 w 87"/>
                <a:gd name="T43" fmla="*/ 83 h 85"/>
                <a:gd name="T44" fmla="*/ 20 w 87"/>
                <a:gd name="T45" fmla="*/ 78 h 85"/>
                <a:gd name="T46" fmla="*/ 14 w 87"/>
                <a:gd name="T47" fmla="*/ 73 h 85"/>
                <a:gd name="T48" fmla="*/ 9 w 87"/>
                <a:gd name="T49" fmla="*/ 67 h 85"/>
                <a:gd name="T50" fmla="*/ 4 w 87"/>
                <a:gd name="T51" fmla="*/ 59 h 85"/>
                <a:gd name="T52" fmla="*/ 2 w 87"/>
                <a:gd name="T53" fmla="*/ 51 h 85"/>
                <a:gd name="T54" fmla="*/ 0 w 87"/>
                <a:gd name="T55" fmla="*/ 43 h 85"/>
                <a:gd name="T56" fmla="*/ 0 w 87"/>
                <a:gd name="T57" fmla="*/ 43 h 85"/>
                <a:gd name="T58" fmla="*/ 2 w 87"/>
                <a:gd name="T59" fmla="*/ 34 h 85"/>
                <a:gd name="T60" fmla="*/ 4 w 87"/>
                <a:gd name="T61" fmla="*/ 26 h 85"/>
                <a:gd name="T62" fmla="*/ 9 w 87"/>
                <a:gd name="T63" fmla="*/ 19 h 85"/>
                <a:gd name="T64" fmla="*/ 14 w 87"/>
                <a:gd name="T65" fmla="*/ 12 h 85"/>
                <a:gd name="T66" fmla="*/ 20 w 87"/>
                <a:gd name="T67" fmla="*/ 7 h 85"/>
                <a:gd name="T68" fmla="*/ 28 w 87"/>
                <a:gd name="T69" fmla="*/ 3 h 85"/>
                <a:gd name="T70" fmla="*/ 35 w 87"/>
                <a:gd name="T71" fmla="*/ 1 h 85"/>
                <a:gd name="T72" fmla="*/ 44 w 87"/>
                <a:gd name="T73" fmla="*/ 0 h 85"/>
                <a:gd name="T74" fmla="*/ 44 w 87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" h="85">
                  <a:moveTo>
                    <a:pt x="44" y="0"/>
                  </a:moveTo>
                  <a:lnTo>
                    <a:pt x="44" y="0"/>
                  </a:lnTo>
                  <a:lnTo>
                    <a:pt x="53" y="1"/>
                  </a:lnTo>
                  <a:lnTo>
                    <a:pt x="61" y="3"/>
                  </a:lnTo>
                  <a:lnTo>
                    <a:pt x="68" y="7"/>
                  </a:lnTo>
                  <a:lnTo>
                    <a:pt x="75" y="12"/>
                  </a:lnTo>
                  <a:lnTo>
                    <a:pt x="80" y="19"/>
                  </a:lnTo>
                  <a:lnTo>
                    <a:pt x="83" y="26"/>
                  </a:lnTo>
                  <a:lnTo>
                    <a:pt x="86" y="34"/>
                  </a:lnTo>
                  <a:lnTo>
                    <a:pt x="87" y="43"/>
                  </a:lnTo>
                  <a:lnTo>
                    <a:pt x="87" y="43"/>
                  </a:lnTo>
                  <a:lnTo>
                    <a:pt x="86" y="51"/>
                  </a:lnTo>
                  <a:lnTo>
                    <a:pt x="83" y="59"/>
                  </a:lnTo>
                  <a:lnTo>
                    <a:pt x="80" y="67"/>
                  </a:lnTo>
                  <a:lnTo>
                    <a:pt x="75" y="73"/>
                  </a:lnTo>
                  <a:lnTo>
                    <a:pt x="68" y="78"/>
                  </a:lnTo>
                  <a:lnTo>
                    <a:pt x="61" y="83"/>
                  </a:lnTo>
                  <a:lnTo>
                    <a:pt x="53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35" y="85"/>
                  </a:lnTo>
                  <a:lnTo>
                    <a:pt x="28" y="83"/>
                  </a:lnTo>
                  <a:lnTo>
                    <a:pt x="20" y="78"/>
                  </a:lnTo>
                  <a:lnTo>
                    <a:pt x="14" y="73"/>
                  </a:lnTo>
                  <a:lnTo>
                    <a:pt x="9" y="67"/>
                  </a:lnTo>
                  <a:lnTo>
                    <a:pt x="4" y="59"/>
                  </a:lnTo>
                  <a:lnTo>
                    <a:pt x="2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2" y="34"/>
                  </a:lnTo>
                  <a:lnTo>
                    <a:pt x="4" y="26"/>
                  </a:lnTo>
                  <a:lnTo>
                    <a:pt x="9" y="19"/>
                  </a:lnTo>
                  <a:lnTo>
                    <a:pt x="14" y="12"/>
                  </a:lnTo>
                  <a:lnTo>
                    <a:pt x="20" y="7"/>
                  </a:lnTo>
                  <a:lnTo>
                    <a:pt x="28" y="3"/>
                  </a:lnTo>
                  <a:lnTo>
                    <a:pt x="35" y="1"/>
                  </a:lnTo>
                  <a:lnTo>
                    <a:pt x="44" y="0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984A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07"/>
            <p:cNvSpPr>
              <a:spLocks/>
            </p:cNvSpPr>
            <p:nvPr userDrawn="1"/>
          </p:nvSpPr>
          <p:spPr bwMode="auto">
            <a:xfrm>
              <a:off x="4101" y="1173"/>
              <a:ext cx="43" cy="43"/>
            </a:xfrm>
            <a:custGeom>
              <a:avLst/>
              <a:gdLst>
                <a:gd name="T0" fmla="*/ 42 w 85"/>
                <a:gd name="T1" fmla="*/ 0 h 87"/>
                <a:gd name="T2" fmla="*/ 42 w 85"/>
                <a:gd name="T3" fmla="*/ 0 h 87"/>
                <a:gd name="T4" fmla="*/ 51 w 85"/>
                <a:gd name="T5" fmla="*/ 2 h 87"/>
                <a:gd name="T6" fmla="*/ 59 w 85"/>
                <a:gd name="T7" fmla="*/ 5 h 87"/>
                <a:gd name="T8" fmla="*/ 66 w 85"/>
                <a:gd name="T9" fmla="*/ 9 h 87"/>
                <a:gd name="T10" fmla="*/ 73 w 85"/>
                <a:gd name="T11" fmla="*/ 14 h 87"/>
                <a:gd name="T12" fmla="*/ 78 w 85"/>
                <a:gd name="T13" fmla="*/ 20 h 87"/>
                <a:gd name="T14" fmla="*/ 81 w 85"/>
                <a:gd name="T15" fmla="*/ 27 h 87"/>
                <a:gd name="T16" fmla="*/ 84 w 85"/>
                <a:gd name="T17" fmla="*/ 35 h 87"/>
                <a:gd name="T18" fmla="*/ 85 w 85"/>
                <a:gd name="T19" fmla="*/ 44 h 87"/>
                <a:gd name="T20" fmla="*/ 85 w 85"/>
                <a:gd name="T21" fmla="*/ 44 h 87"/>
                <a:gd name="T22" fmla="*/ 84 w 85"/>
                <a:gd name="T23" fmla="*/ 53 h 87"/>
                <a:gd name="T24" fmla="*/ 81 w 85"/>
                <a:gd name="T25" fmla="*/ 61 h 87"/>
                <a:gd name="T26" fmla="*/ 78 w 85"/>
                <a:gd name="T27" fmla="*/ 68 h 87"/>
                <a:gd name="T28" fmla="*/ 73 w 85"/>
                <a:gd name="T29" fmla="*/ 75 h 87"/>
                <a:gd name="T30" fmla="*/ 66 w 85"/>
                <a:gd name="T31" fmla="*/ 79 h 87"/>
                <a:gd name="T32" fmla="*/ 59 w 85"/>
                <a:gd name="T33" fmla="*/ 83 h 87"/>
                <a:gd name="T34" fmla="*/ 51 w 85"/>
                <a:gd name="T35" fmla="*/ 86 h 87"/>
                <a:gd name="T36" fmla="*/ 42 w 85"/>
                <a:gd name="T37" fmla="*/ 87 h 87"/>
                <a:gd name="T38" fmla="*/ 42 w 85"/>
                <a:gd name="T39" fmla="*/ 87 h 87"/>
                <a:gd name="T40" fmla="*/ 33 w 85"/>
                <a:gd name="T41" fmla="*/ 86 h 87"/>
                <a:gd name="T42" fmla="*/ 26 w 85"/>
                <a:gd name="T43" fmla="*/ 83 h 87"/>
                <a:gd name="T44" fmla="*/ 18 w 85"/>
                <a:gd name="T45" fmla="*/ 79 h 87"/>
                <a:gd name="T46" fmla="*/ 12 w 85"/>
                <a:gd name="T47" fmla="*/ 75 h 87"/>
                <a:gd name="T48" fmla="*/ 7 w 85"/>
                <a:gd name="T49" fmla="*/ 68 h 87"/>
                <a:gd name="T50" fmla="*/ 2 w 85"/>
                <a:gd name="T51" fmla="*/ 61 h 87"/>
                <a:gd name="T52" fmla="*/ 0 w 85"/>
                <a:gd name="T53" fmla="*/ 53 h 87"/>
                <a:gd name="T54" fmla="*/ 0 w 85"/>
                <a:gd name="T55" fmla="*/ 44 h 87"/>
                <a:gd name="T56" fmla="*/ 0 w 85"/>
                <a:gd name="T57" fmla="*/ 44 h 87"/>
                <a:gd name="T58" fmla="*/ 0 w 85"/>
                <a:gd name="T59" fmla="*/ 35 h 87"/>
                <a:gd name="T60" fmla="*/ 2 w 85"/>
                <a:gd name="T61" fmla="*/ 27 h 87"/>
                <a:gd name="T62" fmla="*/ 7 w 85"/>
                <a:gd name="T63" fmla="*/ 20 h 87"/>
                <a:gd name="T64" fmla="*/ 12 w 85"/>
                <a:gd name="T65" fmla="*/ 14 h 87"/>
                <a:gd name="T66" fmla="*/ 18 w 85"/>
                <a:gd name="T67" fmla="*/ 9 h 87"/>
                <a:gd name="T68" fmla="*/ 26 w 85"/>
                <a:gd name="T69" fmla="*/ 5 h 87"/>
                <a:gd name="T70" fmla="*/ 33 w 85"/>
                <a:gd name="T71" fmla="*/ 2 h 87"/>
                <a:gd name="T72" fmla="*/ 42 w 85"/>
                <a:gd name="T73" fmla="*/ 0 h 87"/>
                <a:gd name="T74" fmla="*/ 42 w 85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2" y="0"/>
                  </a:moveTo>
                  <a:lnTo>
                    <a:pt x="42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9"/>
                  </a:lnTo>
                  <a:lnTo>
                    <a:pt x="73" y="14"/>
                  </a:lnTo>
                  <a:lnTo>
                    <a:pt x="78" y="20"/>
                  </a:lnTo>
                  <a:lnTo>
                    <a:pt x="81" y="27"/>
                  </a:lnTo>
                  <a:lnTo>
                    <a:pt x="84" y="35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4" y="53"/>
                  </a:lnTo>
                  <a:lnTo>
                    <a:pt x="81" y="61"/>
                  </a:lnTo>
                  <a:lnTo>
                    <a:pt x="78" y="68"/>
                  </a:lnTo>
                  <a:lnTo>
                    <a:pt x="73" y="75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2" y="87"/>
                  </a:lnTo>
                  <a:lnTo>
                    <a:pt x="42" y="87"/>
                  </a:lnTo>
                  <a:lnTo>
                    <a:pt x="33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5"/>
                  </a:lnTo>
                  <a:lnTo>
                    <a:pt x="7" y="68"/>
                  </a:lnTo>
                  <a:lnTo>
                    <a:pt x="2" y="61"/>
                  </a:lnTo>
                  <a:lnTo>
                    <a:pt x="0" y="53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5"/>
                  </a:lnTo>
                  <a:lnTo>
                    <a:pt x="2" y="27"/>
                  </a:lnTo>
                  <a:lnTo>
                    <a:pt x="7" y="20"/>
                  </a:lnTo>
                  <a:lnTo>
                    <a:pt x="12" y="14"/>
                  </a:lnTo>
                  <a:lnTo>
                    <a:pt x="18" y="9"/>
                  </a:lnTo>
                  <a:lnTo>
                    <a:pt x="26" y="5"/>
                  </a:lnTo>
                  <a:lnTo>
                    <a:pt x="33" y="2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08"/>
            <p:cNvSpPr>
              <a:spLocks/>
            </p:cNvSpPr>
            <p:nvPr userDrawn="1"/>
          </p:nvSpPr>
          <p:spPr bwMode="auto">
            <a:xfrm>
              <a:off x="4101" y="1116"/>
              <a:ext cx="43" cy="44"/>
            </a:xfrm>
            <a:custGeom>
              <a:avLst/>
              <a:gdLst>
                <a:gd name="T0" fmla="*/ 42 w 85"/>
                <a:gd name="T1" fmla="*/ 0 h 86"/>
                <a:gd name="T2" fmla="*/ 42 w 85"/>
                <a:gd name="T3" fmla="*/ 0 h 86"/>
                <a:gd name="T4" fmla="*/ 51 w 85"/>
                <a:gd name="T5" fmla="*/ 1 h 86"/>
                <a:gd name="T6" fmla="*/ 59 w 85"/>
                <a:gd name="T7" fmla="*/ 4 h 86"/>
                <a:gd name="T8" fmla="*/ 66 w 85"/>
                <a:gd name="T9" fmla="*/ 8 h 86"/>
                <a:gd name="T10" fmla="*/ 73 w 85"/>
                <a:gd name="T11" fmla="*/ 12 h 86"/>
                <a:gd name="T12" fmla="*/ 78 w 85"/>
                <a:gd name="T13" fmla="*/ 19 h 86"/>
                <a:gd name="T14" fmla="*/ 81 w 85"/>
                <a:gd name="T15" fmla="*/ 26 h 86"/>
                <a:gd name="T16" fmla="*/ 84 w 85"/>
                <a:gd name="T17" fmla="*/ 34 h 86"/>
                <a:gd name="T18" fmla="*/ 85 w 85"/>
                <a:gd name="T19" fmla="*/ 44 h 86"/>
                <a:gd name="T20" fmla="*/ 85 w 85"/>
                <a:gd name="T21" fmla="*/ 44 h 86"/>
                <a:gd name="T22" fmla="*/ 84 w 85"/>
                <a:gd name="T23" fmla="*/ 52 h 86"/>
                <a:gd name="T24" fmla="*/ 81 w 85"/>
                <a:gd name="T25" fmla="*/ 60 h 86"/>
                <a:gd name="T26" fmla="*/ 78 w 85"/>
                <a:gd name="T27" fmla="*/ 67 h 86"/>
                <a:gd name="T28" fmla="*/ 73 w 85"/>
                <a:gd name="T29" fmla="*/ 74 h 86"/>
                <a:gd name="T30" fmla="*/ 66 w 85"/>
                <a:gd name="T31" fmla="*/ 78 h 86"/>
                <a:gd name="T32" fmla="*/ 59 w 85"/>
                <a:gd name="T33" fmla="*/ 82 h 86"/>
                <a:gd name="T34" fmla="*/ 51 w 85"/>
                <a:gd name="T35" fmla="*/ 85 h 86"/>
                <a:gd name="T36" fmla="*/ 42 w 85"/>
                <a:gd name="T37" fmla="*/ 86 h 86"/>
                <a:gd name="T38" fmla="*/ 42 w 85"/>
                <a:gd name="T39" fmla="*/ 86 h 86"/>
                <a:gd name="T40" fmla="*/ 33 w 85"/>
                <a:gd name="T41" fmla="*/ 85 h 86"/>
                <a:gd name="T42" fmla="*/ 26 w 85"/>
                <a:gd name="T43" fmla="*/ 82 h 86"/>
                <a:gd name="T44" fmla="*/ 18 w 85"/>
                <a:gd name="T45" fmla="*/ 78 h 86"/>
                <a:gd name="T46" fmla="*/ 12 w 85"/>
                <a:gd name="T47" fmla="*/ 74 h 86"/>
                <a:gd name="T48" fmla="*/ 7 w 85"/>
                <a:gd name="T49" fmla="*/ 67 h 86"/>
                <a:gd name="T50" fmla="*/ 2 w 85"/>
                <a:gd name="T51" fmla="*/ 60 h 86"/>
                <a:gd name="T52" fmla="*/ 0 w 85"/>
                <a:gd name="T53" fmla="*/ 52 h 86"/>
                <a:gd name="T54" fmla="*/ 0 w 85"/>
                <a:gd name="T55" fmla="*/ 44 h 86"/>
                <a:gd name="T56" fmla="*/ 0 w 85"/>
                <a:gd name="T57" fmla="*/ 44 h 86"/>
                <a:gd name="T58" fmla="*/ 0 w 85"/>
                <a:gd name="T59" fmla="*/ 34 h 86"/>
                <a:gd name="T60" fmla="*/ 2 w 85"/>
                <a:gd name="T61" fmla="*/ 26 h 86"/>
                <a:gd name="T62" fmla="*/ 7 w 85"/>
                <a:gd name="T63" fmla="*/ 19 h 86"/>
                <a:gd name="T64" fmla="*/ 12 w 85"/>
                <a:gd name="T65" fmla="*/ 12 h 86"/>
                <a:gd name="T66" fmla="*/ 18 w 85"/>
                <a:gd name="T67" fmla="*/ 8 h 86"/>
                <a:gd name="T68" fmla="*/ 26 w 85"/>
                <a:gd name="T69" fmla="*/ 4 h 86"/>
                <a:gd name="T70" fmla="*/ 33 w 85"/>
                <a:gd name="T71" fmla="*/ 1 h 86"/>
                <a:gd name="T72" fmla="*/ 42 w 85"/>
                <a:gd name="T73" fmla="*/ 0 h 86"/>
                <a:gd name="T74" fmla="*/ 42 w 85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2" y="0"/>
                  </a:move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4" y="52"/>
                  </a:lnTo>
                  <a:lnTo>
                    <a:pt x="81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33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2" y="60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09"/>
            <p:cNvSpPr>
              <a:spLocks/>
            </p:cNvSpPr>
            <p:nvPr userDrawn="1"/>
          </p:nvSpPr>
          <p:spPr bwMode="auto">
            <a:xfrm>
              <a:off x="4101" y="1060"/>
              <a:ext cx="43" cy="43"/>
            </a:xfrm>
            <a:custGeom>
              <a:avLst/>
              <a:gdLst>
                <a:gd name="T0" fmla="*/ 42 w 85"/>
                <a:gd name="T1" fmla="*/ 0 h 87"/>
                <a:gd name="T2" fmla="*/ 42 w 85"/>
                <a:gd name="T3" fmla="*/ 0 h 87"/>
                <a:gd name="T4" fmla="*/ 51 w 85"/>
                <a:gd name="T5" fmla="*/ 1 h 87"/>
                <a:gd name="T6" fmla="*/ 59 w 85"/>
                <a:gd name="T7" fmla="*/ 4 h 87"/>
                <a:gd name="T8" fmla="*/ 66 w 85"/>
                <a:gd name="T9" fmla="*/ 8 h 87"/>
                <a:gd name="T10" fmla="*/ 73 w 85"/>
                <a:gd name="T11" fmla="*/ 12 h 87"/>
                <a:gd name="T12" fmla="*/ 78 w 85"/>
                <a:gd name="T13" fmla="*/ 19 h 87"/>
                <a:gd name="T14" fmla="*/ 81 w 85"/>
                <a:gd name="T15" fmla="*/ 26 h 87"/>
                <a:gd name="T16" fmla="*/ 84 w 85"/>
                <a:gd name="T17" fmla="*/ 34 h 87"/>
                <a:gd name="T18" fmla="*/ 85 w 85"/>
                <a:gd name="T19" fmla="*/ 43 h 87"/>
                <a:gd name="T20" fmla="*/ 85 w 85"/>
                <a:gd name="T21" fmla="*/ 43 h 87"/>
                <a:gd name="T22" fmla="*/ 84 w 85"/>
                <a:gd name="T23" fmla="*/ 52 h 87"/>
                <a:gd name="T24" fmla="*/ 81 w 85"/>
                <a:gd name="T25" fmla="*/ 61 h 87"/>
                <a:gd name="T26" fmla="*/ 78 w 85"/>
                <a:gd name="T27" fmla="*/ 67 h 87"/>
                <a:gd name="T28" fmla="*/ 73 w 85"/>
                <a:gd name="T29" fmla="*/ 73 h 87"/>
                <a:gd name="T30" fmla="*/ 66 w 85"/>
                <a:gd name="T31" fmla="*/ 78 h 87"/>
                <a:gd name="T32" fmla="*/ 59 w 85"/>
                <a:gd name="T33" fmla="*/ 83 h 87"/>
                <a:gd name="T34" fmla="*/ 51 w 85"/>
                <a:gd name="T35" fmla="*/ 85 h 87"/>
                <a:gd name="T36" fmla="*/ 42 w 85"/>
                <a:gd name="T37" fmla="*/ 87 h 87"/>
                <a:gd name="T38" fmla="*/ 42 w 85"/>
                <a:gd name="T39" fmla="*/ 87 h 87"/>
                <a:gd name="T40" fmla="*/ 33 w 85"/>
                <a:gd name="T41" fmla="*/ 85 h 87"/>
                <a:gd name="T42" fmla="*/ 26 w 85"/>
                <a:gd name="T43" fmla="*/ 83 h 87"/>
                <a:gd name="T44" fmla="*/ 18 w 85"/>
                <a:gd name="T45" fmla="*/ 78 h 87"/>
                <a:gd name="T46" fmla="*/ 12 w 85"/>
                <a:gd name="T47" fmla="*/ 73 h 87"/>
                <a:gd name="T48" fmla="*/ 7 w 85"/>
                <a:gd name="T49" fmla="*/ 67 h 87"/>
                <a:gd name="T50" fmla="*/ 2 w 85"/>
                <a:gd name="T51" fmla="*/ 61 h 87"/>
                <a:gd name="T52" fmla="*/ 0 w 85"/>
                <a:gd name="T53" fmla="*/ 52 h 87"/>
                <a:gd name="T54" fmla="*/ 0 w 85"/>
                <a:gd name="T55" fmla="*/ 43 h 87"/>
                <a:gd name="T56" fmla="*/ 0 w 85"/>
                <a:gd name="T57" fmla="*/ 43 h 87"/>
                <a:gd name="T58" fmla="*/ 0 w 85"/>
                <a:gd name="T59" fmla="*/ 34 h 87"/>
                <a:gd name="T60" fmla="*/ 2 w 85"/>
                <a:gd name="T61" fmla="*/ 26 h 87"/>
                <a:gd name="T62" fmla="*/ 7 w 85"/>
                <a:gd name="T63" fmla="*/ 19 h 87"/>
                <a:gd name="T64" fmla="*/ 12 w 85"/>
                <a:gd name="T65" fmla="*/ 12 h 87"/>
                <a:gd name="T66" fmla="*/ 18 w 85"/>
                <a:gd name="T67" fmla="*/ 8 h 87"/>
                <a:gd name="T68" fmla="*/ 26 w 85"/>
                <a:gd name="T69" fmla="*/ 4 h 87"/>
                <a:gd name="T70" fmla="*/ 33 w 85"/>
                <a:gd name="T71" fmla="*/ 1 h 87"/>
                <a:gd name="T72" fmla="*/ 42 w 85"/>
                <a:gd name="T73" fmla="*/ 0 h 87"/>
                <a:gd name="T74" fmla="*/ 42 w 85"/>
                <a:gd name="T75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2" y="0"/>
                  </a:move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6" y="8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2"/>
                  </a:lnTo>
                  <a:lnTo>
                    <a:pt x="81" y="61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2" y="87"/>
                  </a:lnTo>
                  <a:lnTo>
                    <a:pt x="42" y="87"/>
                  </a:lnTo>
                  <a:lnTo>
                    <a:pt x="33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2" y="61"/>
                  </a:lnTo>
                  <a:lnTo>
                    <a:pt x="0" y="52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8"/>
                  </a:lnTo>
                  <a:lnTo>
                    <a:pt x="26" y="4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10"/>
            <p:cNvSpPr>
              <a:spLocks/>
            </p:cNvSpPr>
            <p:nvPr userDrawn="1"/>
          </p:nvSpPr>
          <p:spPr bwMode="auto">
            <a:xfrm>
              <a:off x="4101" y="1004"/>
              <a:ext cx="43" cy="42"/>
            </a:xfrm>
            <a:custGeom>
              <a:avLst/>
              <a:gdLst>
                <a:gd name="T0" fmla="*/ 42 w 85"/>
                <a:gd name="T1" fmla="*/ 0 h 86"/>
                <a:gd name="T2" fmla="*/ 42 w 85"/>
                <a:gd name="T3" fmla="*/ 0 h 86"/>
                <a:gd name="T4" fmla="*/ 51 w 85"/>
                <a:gd name="T5" fmla="*/ 2 h 86"/>
                <a:gd name="T6" fmla="*/ 59 w 85"/>
                <a:gd name="T7" fmla="*/ 5 h 86"/>
                <a:gd name="T8" fmla="*/ 66 w 85"/>
                <a:gd name="T9" fmla="*/ 7 h 86"/>
                <a:gd name="T10" fmla="*/ 73 w 85"/>
                <a:gd name="T11" fmla="*/ 13 h 86"/>
                <a:gd name="T12" fmla="*/ 78 w 85"/>
                <a:gd name="T13" fmla="*/ 20 h 86"/>
                <a:gd name="T14" fmla="*/ 81 w 85"/>
                <a:gd name="T15" fmla="*/ 27 h 86"/>
                <a:gd name="T16" fmla="*/ 84 w 85"/>
                <a:gd name="T17" fmla="*/ 35 h 86"/>
                <a:gd name="T18" fmla="*/ 85 w 85"/>
                <a:gd name="T19" fmla="*/ 43 h 86"/>
                <a:gd name="T20" fmla="*/ 85 w 85"/>
                <a:gd name="T21" fmla="*/ 43 h 86"/>
                <a:gd name="T22" fmla="*/ 84 w 85"/>
                <a:gd name="T23" fmla="*/ 53 h 86"/>
                <a:gd name="T24" fmla="*/ 81 w 85"/>
                <a:gd name="T25" fmla="*/ 59 h 86"/>
                <a:gd name="T26" fmla="*/ 78 w 85"/>
                <a:gd name="T27" fmla="*/ 68 h 86"/>
                <a:gd name="T28" fmla="*/ 73 w 85"/>
                <a:gd name="T29" fmla="*/ 73 h 86"/>
                <a:gd name="T30" fmla="*/ 66 w 85"/>
                <a:gd name="T31" fmla="*/ 79 h 86"/>
                <a:gd name="T32" fmla="*/ 59 w 85"/>
                <a:gd name="T33" fmla="*/ 83 h 86"/>
                <a:gd name="T34" fmla="*/ 51 w 85"/>
                <a:gd name="T35" fmla="*/ 86 h 86"/>
                <a:gd name="T36" fmla="*/ 42 w 85"/>
                <a:gd name="T37" fmla="*/ 86 h 86"/>
                <a:gd name="T38" fmla="*/ 42 w 85"/>
                <a:gd name="T39" fmla="*/ 86 h 86"/>
                <a:gd name="T40" fmla="*/ 33 w 85"/>
                <a:gd name="T41" fmla="*/ 86 h 86"/>
                <a:gd name="T42" fmla="*/ 26 w 85"/>
                <a:gd name="T43" fmla="*/ 83 h 86"/>
                <a:gd name="T44" fmla="*/ 18 w 85"/>
                <a:gd name="T45" fmla="*/ 79 h 86"/>
                <a:gd name="T46" fmla="*/ 12 w 85"/>
                <a:gd name="T47" fmla="*/ 73 h 86"/>
                <a:gd name="T48" fmla="*/ 7 w 85"/>
                <a:gd name="T49" fmla="*/ 68 h 86"/>
                <a:gd name="T50" fmla="*/ 2 w 85"/>
                <a:gd name="T51" fmla="*/ 59 h 86"/>
                <a:gd name="T52" fmla="*/ 0 w 85"/>
                <a:gd name="T53" fmla="*/ 53 h 86"/>
                <a:gd name="T54" fmla="*/ 0 w 85"/>
                <a:gd name="T55" fmla="*/ 43 h 86"/>
                <a:gd name="T56" fmla="*/ 0 w 85"/>
                <a:gd name="T57" fmla="*/ 43 h 86"/>
                <a:gd name="T58" fmla="*/ 0 w 85"/>
                <a:gd name="T59" fmla="*/ 35 h 86"/>
                <a:gd name="T60" fmla="*/ 2 w 85"/>
                <a:gd name="T61" fmla="*/ 27 h 86"/>
                <a:gd name="T62" fmla="*/ 7 w 85"/>
                <a:gd name="T63" fmla="*/ 20 h 86"/>
                <a:gd name="T64" fmla="*/ 12 w 85"/>
                <a:gd name="T65" fmla="*/ 13 h 86"/>
                <a:gd name="T66" fmla="*/ 18 w 85"/>
                <a:gd name="T67" fmla="*/ 7 h 86"/>
                <a:gd name="T68" fmla="*/ 26 w 85"/>
                <a:gd name="T69" fmla="*/ 5 h 86"/>
                <a:gd name="T70" fmla="*/ 33 w 85"/>
                <a:gd name="T71" fmla="*/ 2 h 86"/>
                <a:gd name="T72" fmla="*/ 42 w 85"/>
                <a:gd name="T73" fmla="*/ 0 h 86"/>
                <a:gd name="T74" fmla="*/ 42 w 85"/>
                <a:gd name="T75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6">
                  <a:moveTo>
                    <a:pt x="42" y="0"/>
                  </a:moveTo>
                  <a:lnTo>
                    <a:pt x="42" y="0"/>
                  </a:lnTo>
                  <a:lnTo>
                    <a:pt x="51" y="2"/>
                  </a:lnTo>
                  <a:lnTo>
                    <a:pt x="59" y="5"/>
                  </a:lnTo>
                  <a:lnTo>
                    <a:pt x="66" y="7"/>
                  </a:lnTo>
                  <a:lnTo>
                    <a:pt x="73" y="13"/>
                  </a:lnTo>
                  <a:lnTo>
                    <a:pt x="78" y="20"/>
                  </a:lnTo>
                  <a:lnTo>
                    <a:pt x="81" y="27"/>
                  </a:lnTo>
                  <a:lnTo>
                    <a:pt x="84" y="35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3"/>
                  </a:lnTo>
                  <a:lnTo>
                    <a:pt x="81" y="59"/>
                  </a:lnTo>
                  <a:lnTo>
                    <a:pt x="78" y="68"/>
                  </a:lnTo>
                  <a:lnTo>
                    <a:pt x="73" y="73"/>
                  </a:lnTo>
                  <a:lnTo>
                    <a:pt x="66" y="79"/>
                  </a:lnTo>
                  <a:lnTo>
                    <a:pt x="59" y="83"/>
                  </a:lnTo>
                  <a:lnTo>
                    <a:pt x="51" y="86"/>
                  </a:lnTo>
                  <a:lnTo>
                    <a:pt x="42" y="86"/>
                  </a:lnTo>
                  <a:lnTo>
                    <a:pt x="42" y="86"/>
                  </a:lnTo>
                  <a:lnTo>
                    <a:pt x="33" y="86"/>
                  </a:lnTo>
                  <a:lnTo>
                    <a:pt x="26" y="83"/>
                  </a:lnTo>
                  <a:lnTo>
                    <a:pt x="18" y="79"/>
                  </a:lnTo>
                  <a:lnTo>
                    <a:pt x="12" y="73"/>
                  </a:lnTo>
                  <a:lnTo>
                    <a:pt x="7" y="68"/>
                  </a:lnTo>
                  <a:lnTo>
                    <a:pt x="2" y="59"/>
                  </a:lnTo>
                  <a:lnTo>
                    <a:pt x="0" y="5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5"/>
                  </a:lnTo>
                  <a:lnTo>
                    <a:pt x="2" y="27"/>
                  </a:lnTo>
                  <a:lnTo>
                    <a:pt x="7" y="20"/>
                  </a:lnTo>
                  <a:lnTo>
                    <a:pt x="12" y="13"/>
                  </a:lnTo>
                  <a:lnTo>
                    <a:pt x="18" y="7"/>
                  </a:lnTo>
                  <a:lnTo>
                    <a:pt x="26" y="5"/>
                  </a:lnTo>
                  <a:lnTo>
                    <a:pt x="33" y="2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11"/>
            <p:cNvSpPr>
              <a:spLocks/>
            </p:cNvSpPr>
            <p:nvPr userDrawn="1"/>
          </p:nvSpPr>
          <p:spPr bwMode="auto">
            <a:xfrm>
              <a:off x="4101" y="947"/>
              <a:ext cx="43" cy="43"/>
            </a:xfrm>
            <a:custGeom>
              <a:avLst/>
              <a:gdLst>
                <a:gd name="T0" fmla="*/ 42 w 85"/>
                <a:gd name="T1" fmla="*/ 0 h 85"/>
                <a:gd name="T2" fmla="*/ 42 w 85"/>
                <a:gd name="T3" fmla="*/ 0 h 85"/>
                <a:gd name="T4" fmla="*/ 51 w 85"/>
                <a:gd name="T5" fmla="*/ 1 h 85"/>
                <a:gd name="T6" fmla="*/ 59 w 85"/>
                <a:gd name="T7" fmla="*/ 2 h 85"/>
                <a:gd name="T8" fmla="*/ 66 w 85"/>
                <a:gd name="T9" fmla="*/ 7 h 85"/>
                <a:gd name="T10" fmla="*/ 73 w 85"/>
                <a:gd name="T11" fmla="*/ 12 h 85"/>
                <a:gd name="T12" fmla="*/ 78 w 85"/>
                <a:gd name="T13" fmla="*/ 19 h 85"/>
                <a:gd name="T14" fmla="*/ 81 w 85"/>
                <a:gd name="T15" fmla="*/ 26 h 85"/>
                <a:gd name="T16" fmla="*/ 84 w 85"/>
                <a:gd name="T17" fmla="*/ 34 h 85"/>
                <a:gd name="T18" fmla="*/ 85 w 85"/>
                <a:gd name="T19" fmla="*/ 42 h 85"/>
                <a:gd name="T20" fmla="*/ 85 w 85"/>
                <a:gd name="T21" fmla="*/ 42 h 85"/>
                <a:gd name="T22" fmla="*/ 84 w 85"/>
                <a:gd name="T23" fmla="*/ 51 h 85"/>
                <a:gd name="T24" fmla="*/ 81 w 85"/>
                <a:gd name="T25" fmla="*/ 59 h 85"/>
                <a:gd name="T26" fmla="*/ 78 w 85"/>
                <a:gd name="T27" fmla="*/ 67 h 85"/>
                <a:gd name="T28" fmla="*/ 73 w 85"/>
                <a:gd name="T29" fmla="*/ 73 h 85"/>
                <a:gd name="T30" fmla="*/ 66 w 85"/>
                <a:gd name="T31" fmla="*/ 78 h 85"/>
                <a:gd name="T32" fmla="*/ 59 w 85"/>
                <a:gd name="T33" fmla="*/ 82 h 85"/>
                <a:gd name="T34" fmla="*/ 51 w 85"/>
                <a:gd name="T35" fmla="*/ 85 h 85"/>
                <a:gd name="T36" fmla="*/ 42 w 85"/>
                <a:gd name="T37" fmla="*/ 85 h 85"/>
                <a:gd name="T38" fmla="*/ 42 w 85"/>
                <a:gd name="T39" fmla="*/ 85 h 85"/>
                <a:gd name="T40" fmla="*/ 33 w 85"/>
                <a:gd name="T41" fmla="*/ 85 h 85"/>
                <a:gd name="T42" fmla="*/ 26 w 85"/>
                <a:gd name="T43" fmla="*/ 82 h 85"/>
                <a:gd name="T44" fmla="*/ 18 w 85"/>
                <a:gd name="T45" fmla="*/ 78 h 85"/>
                <a:gd name="T46" fmla="*/ 12 w 85"/>
                <a:gd name="T47" fmla="*/ 73 h 85"/>
                <a:gd name="T48" fmla="*/ 7 w 85"/>
                <a:gd name="T49" fmla="*/ 67 h 85"/>
                <a:gd name="T50" fmla="*/ 2 w 85"/>
                <a:gd name="T51" fmla="*/ 59 h 85"/>
                <a:gd name="T52" fmla="*/ 0 w 85"/>
                <a:gd name="T53" fmla="*/ 51 h 85"/>
                <a:gd name="T54" fmla="*/ 0 w 85"/>
                <a:gd name="T55" fmla="*/ 42 h 85"/>
                <a:gd name="T56" fmla="*/ 0 w 85"/>
                <a:gd name="T57" fmla="*/ 42 h 85"/>
                <a:gd name="T58" fmla="*/ 0 w 85"/>
                <a:gd name="T59" fmla="*/ 34 h 85"/>
                <a:gd name="T60" fmla="*/ 2 w 85"/>
                <a:gd name="T61" fmla="*/ 26 h 85"/>
                <a:gd name="T62" fmla="*/ 7 w 85"/>
                <a:gd name="T63" fmla="*/ 19 h 85"/>
                <a:gd name="T64" fmla="*/ 12 w 85"/>
                <a:gd name="T65" fmla="*/ 12 h 85"/>
                <a:gd name="T66" fmla="*/ 18 w 85"/>
                <a:gd name="T67" fmla="*/ 7 h 85"/>
                <a:gd name="T68" fmla="*/ 26 w 85"/>
                <a:gd name="T69" fmla="*/ 2 h 85"/>
                <a:gd name="T70" fmla="*/ 33 w 85"/>
                <a:gd name="T71" fmla="*/ 1 h 85"/>
                <a:gd name="T72" fmla="*/ 42 w 85"/>
                <a:gd name="T73" fmla="*/ 0 h 85"/>
                <a:gd name="T74" fmla="*/ 42 w 85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2" y="0"/>
                  </a:moveTo>
                  <a:lnTo>
                    <a:pt x="42" y="0"/>
                  </a:lnTo>
                  <a:lnTo>
                    <a:pt x="51" y="1"/>
                  </a:lnTo>
                  <a:lnTo>
                    <a:pt x="59" y="2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2"/>
                  </a:lnTo>
                  <a:lnTo>
                    <a:pt x="85" y="42"/>
                  </a:lnTo>
                  <a:lnTo>
                    <a:pt x="84" y="51"/>
                  </a:lnTo>
                  <a:lnTo>
                    <a:pt x="81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33" y="85"/>
                  </a:lnTo>
                  <a:lnTo>
                    <a:pt x="26" y="82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2" y="59"/>
                  </a:lnTo>
                  <a:lnTo>
                    <a:pt x="0" y="51"/>
                  </a:lnTo>
                  <a:lnTo>
                    <a:pt x="0" y="42"/>
                  </a:lnTo>
                  <a:lnTo>
                    <a:pt x="0" y="42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2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12"/>
            <p:cNvSpPr>
              <a:spLocks/>
            </p:cNvSpPr>
            <p:nvPr userDrawn="1"/>
          </p:nvSpPr>
          <p:spPr bwMode="auto">
            <a:xfrm>
              <a:off x="4101" y="891"/>
              <a:ext cx="43" cy="43"/>
            </a:xfrm>
            <a:custGeom>
              <a:avLst/>
              <a:gdLst>
                <a:gd name="T0" fmla="*/ 42 w 85"/>
                <a:gd name="T1" fmla="*/ 0 h 85"/>
                <a:gd name="T2" fmla="*/ 42 w 85"/>
                <a:gd name="T3" fmla="*/ 0 h 85"/>
                <a:gd name="T4" fmla="*/ 51 w 85"/>
                <a:gd name="T5" fmla="*/ 1 h 85"/>
                <a:gd name="T6" fmla="*/ 59 w 85"/>
                <a:gd name="T7" fmla="*/ 3 h 85"/>
                <a:gd name="T8" fmla="*/ 66 w 85"/>
                <a:gd name="T9" fmla="*/ 7 h 85"/>
                <a:gd name="T10" fmla="*/ 73 w 85"/>
                <a:gd name="T11" fmla="*/ 12 h 85"/>
                <a:gd name="T12" fmla="*/ 78 w 85"/>
                <a:gd name="T13" fmla="*/ 19 h 85"/>
                <a:gd name="T14" fmla="*/ 81 w 85"/>
                <a:gd name="T15" fmla="*/ 26 h 85"/>
                <a:gd name="T16" fmla="*/ 84 w 85"/>
                <a:gd name="T17" fmla="*/ 34 h 85"/>
                <a:gd name="T18" fmla="*/ 85 w 85"/>
                <a:gd name="T19" fmla="*/ 43 h 85"/>
                <a:gd name="T20" fmla="*/ 85 w 85"/>
                <a:gd name="T21" fmla="*/ 43 h 85"/>
                <a:gd name="T22" fmla="*/ 84 w 85"/>
                <a:gd name="T23" fmla="*/ 51 h 85"/>
                <a:gd name="T24" fmla="*/ 81 w 85"/>
                <a:gd name="T25" fmla="*/ 59 h 85"/>
                <a:gd name="T26" fmla="*/ 78 w 85"/>
                <a:gd name="T27" fmla="*/ 67 h 85"/>
                <a:gd name="T28" fmla="*/ 73 w 85"/>
                <a:gd name="T29" fmla="*/ 73 h 85"/>
                <a:gd name="T30" fmla="*/ 66 w 85"/>
                <a:gd name="T31" fmla="*/ 78 h 85"/>
                <a:gd name="T32" fmla="*/ 59 w 85"/>
                <a:gd name="T33" fmla="*/ 83 h 85"/>
                <a:gd name="T34" fmla="*/ 51 w 85"/>
                <a:gd name="T35" fmla="*/ 85 h 85"/>
                <a:gd name="T36" fmla="*/ 42 w 85"/>
                <a:gd name="T37" fmla="*/ 85 h 85"/>
                <a:gd name="T38" fmla="*/ 42 w 85"/>
                <a:gd name="T39" fmla="*/ 85 h 85"/>
                <a:gd name="T40" fmla="*/ 33 w 85"/>
                <a:gd name="T41" fmla="*/ 85 h 85"/>
                <a:gd name="T42" fmla="*/ 26 w 85"/>
                <a:gd name="T43" fmla="*/ 83 h 85"/>
                <a:gd name="T44" fmla="*/ 18 w 85"/>
                <a:gd name="T45" fmla="*/ 78 h 85"/>
                <a:gd name="T46" fmla="*/ 12 w 85"/>
                <a:gd name="T47" fmla="*/ 73 h 85"/>
                <a:gd name="T48" fmla="*/ 7 w 85"/>
                <a:gd name="T49" fmla="*/ 67 h 85"/>
                <a:gd name="T50" fmla="*/ 2 w 85"/>
                <a:gd name="T51" fmla="*/ 59 h 85"/>
                <a:gd name="T52" fmla="*/ 0 w 85"/>
                <a:gd name="T53" fmla="*/ 51 h 85"/>
                <a:gd name="T54" fmla="*/ 0 w 85"/>
                <a:gd name="T55" fmla="*/ 43 h 85"/>
                <a:gd name="T56" fmla="*/ 0 w 85"/>
                <a:gd name="T57" fmla="*/ 43 h 85"/>
                <a:gd name="T58" fmla="*/ 0 w 85"/>
                <a:gd name="T59" fmla="*/ 34 h 85"/>
                <a:gd name="T60" fmla="*/ 2 w 85"/>
                <a:gd name="T61" fmla="*/ 26 h 85"/>
                <a:gd name="T62" fmla="*/ 7 w 85"/>
                <a:gd name="T63" fmla="*/ 19 h 85"/>
                <a:gd name="T64" fmla="*/ 12 w 85"/>
                <a:gd name="T65" fmla="*/ 12 h 85"/>
                <a:gd name="T66" fmla="*/ 18 w 85"/>
                <a:gd name="T67" fmla="*/ 7 h 85"/>
                <a:gd name="T68" fmla="*/ 26 w 85"/>
                <a:gd name="T69" fmla="*/ 3 h 85"/>
                <a:gd name="T70" fmla="*/ 33 w 85"/>
                <a:gd name="T71" fmla="*/ 1 h 85"/>
                <a:gd name="T72" fmla="*/ 42 w 85"/>
                <a:gd name="T73" fmla="*/ 0 h 85"/>
                <a:gd name="T74" fmla="*/ 42 w 85"/>
                <a:gd name="T7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2" y="0"/>
                  </a:moveTo>
                  <a:lnTo>
                    <a:pt x="42" y="0"/>
                  </a:lnTo>
                  <a:lnTo>
                    <a:pt x="51" y="1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9"/>
                  </a:lnTo>
                  <a:lnTo>
                    <a:pt x="81" y="26"/>
                  </a:lnTo>
                  <a:lnTo>
                    <a:pt x="84" y="34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4" y="51"/>
                  </a:lnTo>
                  <a:lnTo>
                    <a:pt x="81" y="59"/>
                  </a:lnTo>
                  <a:lnTo>
                    <a:pt x="78" y="67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3"/>
                  </a:lnTo>
                  <a:lnTo>
                    <a:pt x="51" y="85"/>
                  </a:lnTo>
                  <a:lnTo>
                    <a:pt x="42" y="85"/>
                  </a:lnTo>
                  <a:lnTo>
                    <a:pt x="42" y="85"/>
                  </a:lnTo>
                  <a:lnTo>
                    <a:pt x="33" y="85"/>
                  </a:lnTo>
                  <a:lnTo>
                    <a:pt x="26" y="83"/>
                  </a:lnTo>
                  <a:lnTo>
                    <a:pt x="18" y="78"/>
                  </a:lnTo>
                  <a:lnTo>
                    <a:pt x="12" y="73"/>
                  </a:lnTo>
                  <a:lnTo>
                    <a:pt x="7" y="67"/>
                  </a:lnTo>
                  <a:lnTo>
                    <a:pt x="2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4"/>
                  </a:lnTo>
                  <a:lnTo>
                    <a:pt x="2" y="26"/>
                  </a:lnTo>
                  <a:lnTo>
                    <a:pt x="7" y="19"/>
                  </a:lnTo>
                  <a:lnTo>
                    <a:pt x="12" y="12"/>
                  </a:lnTo>
                  <a:lnTo>
                    <a:pt x="18" y="7"/>
                  </a:lnTo>
                  <a:lnTo>
                    <a:pt x="26" y="3"/>
                  </a:lnTo>
                  <a:lnTo>
                    <a:pt x="33" y="1"/>
                  </a:lnTo>
                  <a:lnTo>
                    <a:pt x="42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5628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13"/>
            <p:cNvSpPr>
              <a:spLocks/>
            </p:cNvSpPr>
            <p:nvPr userDrawn="1"/>
          </p:nvSpPr>
          <p:spPr bwMode="auto">
            <a:xfrm>
              <a:off x="3762" y="665"/>
              <a:ext cx="43" cy="43"/>
            </a:xfrm>
            <a:custGeom>
              <a:avLst/>
              <a:gdLst>
                <a:gd name="T0" fmla="*/ 42 w 85"/>
                <a:gd name="T1" fmla="*/ 87 h 87"/>
                <a:gd name="T2" fmla="*/ 42 w 85"/>
                <a:gd name="T3" fmla="*/ 87 h 87"/>
                <a:gd name="T4" fmla="*/ 34 w 85"/>
                <a:gd name="T5" fmla="*/ 85 h 87"/>
                <a:gd name="T6" fmla="*/ 26 w 85"/>
                <a:gd name="T7" fmla="*/ 82 h 87"/>
                <a:gd name="T8" fmla="*/ 19 w 85"/>
                <a:gd name="T9" fmla="*/ 80 h 87"/>
                <a:gd name="T10" fmla="*/ 12 w 85"/>
                <a:gd name="T11" fmla="*/ 74 h 87"/>
                <a:gd name="T12" fmla="*/ 7 w 85"/>
                <a:gd name="T13" fmla="*/ 67 h 87"/>
                <a:gd name="T14" fmla="*/ 2 w 85"/>
                <a:gd name="T15" fmla="*/ 60 h 87"/>
                <a:gd name="T16" fmla="*/ 1 w 85"/>
                <a:gd name="T17" fmla="*/ 52 h 87"/>
                <a:gd name="T18" fmla="*/ 0 w 85"/>
                <a:gd name="T19" fmla="*/ 44 h 87"/>
                <a:gd name="T20" fmla="*/ 0 w 85"/>
                <a:gd name="T21" fmla="*/ 44 h 87"/>
                <a:gd name="T22" fmla="*/ 1 w 85"/>
                <a:gd name="T23" fmla="*/ 34 h 87"/>
                <a:gd name="T24" fmla="*/ 2 w 85"/>
                <a:gd name="T25" fmla="*/ 27 h 87"/>
                <a:gd name="T26" fmla="*/ 7 w 85"/>
                <a:gd name="T27" fmla="*/ 19 h 87"/>
                <a:gd name="T28" fmla="*/ 12 w 85"/>
                <a:gd name="T29" fmla="*/ 14 h 87"/>
                <a:gd name="T30" fmla="*/ 19 w 85"/>
                <a:gd name="T31" fmla="*/ 8 h 87"/>
                <a:gd name="T32" fmla="*/ 26 w 85"/>
                <a:gd name="T33" fmla="*/ 4 h 87"/>
                <a:gd name="T34" fmla="*/ 34 w 85"/>
                <a:gd name="T35" fmla="*/ 1 h 87"/>
                <a:gd name="T36" fmla="*/ 42 w 85"/>
                <a:gd name="T37" fmla="*/ 0 h 87"/>
                <a:gd name="T38" fmla="*/ 42 w 85"/>
                <a:gd name="T39" fmla="*/ 0 h 87"/>
                <a:gd name="T40" fmla="*/ 51 w 85"/>
                <a:gd name="T41" fmla="*/ 1 h 87"/>
                <a:gd name="T42" fmla="*/ 59 w 85"/>
                <a:gd name="T43" fmla="*/ 4 h 87"/>
                <a:gd name="T44" fmla="*/ 67 w 85"/>
                <a:gd name="T45" fmla="*/ 8 h 87"/>
                <a:gd name="T46" fmla="*/ 73 w 85"/>
                <a:gd name="T47" fmla="*/ 14 h 87"/>
                <a:gd name="T48" fmla="*/ 78 w 85"/>
                <a:gd name="T49" fmla="*/ 19 h 87"/>
                <a:gd name="T50" fmla="*/ 82 w 85"/>
                <a:gd name="T51" fmla="*/ 27 h 87"/>
                <a:gd name="T52" fmla="*/ 85 w 85"/>
                <a:gd name="T53" fmla="*/ 34 h 87"/>
                <a:gd name="T54" fmla="*/ 85 w 85"/>
                <a:gd name="T55" fmla="*/ 44 h 87"/>
                <a:gd name="T56" fmla="*/ 85 w 85"/>
                <a:gd name="T57" fmla="*/ 44 h 87"/>
                <a:gd name="T58" fmla="*/ 85 w 85"/>
                <a:gd name="T59" fmla="*/ 52 h 87"/>
                <a:gd name="T60" fmla="*/ 82 w 85"/>
                <a:gd name="T61" fmla="*/ 60 h 87"/>
                <a:gd name="T62" fmla="*/ 78 w 85"/>
                <a:gd name="T63" fmla="*/ 67 h 87"/>
                <a:gd name="T64" fmla="*/ 73 w 85"/>
                <a:gd name="T65" fmla="*/ 74 h 87"/>
                <a:gd name="T66" fmla="*/ 67 w 85"/>
                <a:gd name="T67" fmla="*/ 80 h 87"/>
                <a:gd name="T68" fmla="*/ 59 w 85"/>
                <a:gd name="T69" fmla="*/ 82 h 87"/>
                <a:gd name="T70" fmla="*/ 51 w 85"/>
                <a:gd name="T71" fmla="*/ 85 h 87"/>
                <a:gd name="T72" fmla="*/ 42 w 85"/>
                <a:gd name="T73" fmla="*/ 87 h 87"/>
                <a:gd name="T74" fmla="*/ 42 w 85"/>
                <a:gd name="T7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7">
                  <a:moveTo>
                    <a:pt x="42" y="87"/>
                  </a:moveTo>
                  <a:lnTo>
                    <a:pt x="42" y="87"/>
                  </a:lnTo>
                  <a:lnTo>
                    <a:pt x="34" y="85"/>
                  </a:lnTo>
                  <a:lnTo>
                    <a:pt x="26" y="82"/>
                  </a:lnTo>
                  <a:lnTo>
                    <a:pt x="19" y="80"/>
                  </a:lnTo>
                  <a:lnTo>
                    <a:pt x="12" y="74"/>
                  </a:lnTo>
                  <a:lnTo>
                    <a:pt x="7" y="67"/>
                  </a:lnTo>
                  <a:lnTo>
                    <a:pt x="2" y="60"/>
                  </a:lnTo>
                  <a:lnTo>
                    <a:pt x="1" y="52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1" y="34"/>
                  </a:lnTo>
                  <a:lnTo>
                    <a:pt x="2" y="27"/>
                  </a:lnTo>
                  <a:lnTo>
                    <a:pt x="7" y="19"/>
                  </a:lnTo>
                  <a:lnTo>
                    <a:pt x="12" y="14"/>
                  </a:lnTo>
                  <a:lnTo>
                    <a:pt x="19" y="8"/>
                  </a:lnTo>
                  <a:lnTo>
                    <a:pt x="26" y="4"/>
                  </a:lnTo>
                  <a:lnTo>
                    <a:pt x="34" y="1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1"/>
                  </a:lnTo>
                  <a:lnTo>
                    <a:pt x="59" y="4"/>
                  </a:lnTo>
                  <a:lnTo>
                    <a:pt x="67" y="8"/>
                  </a:lnTo>
                  <a:lnTo>
                    <a:pt x="73" y="14"/>
                  </a:lnTo>
                  <a:lnTo>
                    <a:pt x="78" y="19"/>
                  </a:lnTo>
                  <a:lnTo>
                    <a:pt x="82" y="27"/>
                  </a:lnTo>
                  <a:lnTo>
                    <a:pt x="85" y="34"/>
                  </a:lnTo>
                  <a:lnTo>
                    <a:pt x="85" y="44"/>
                  </a:lnTo>
                  <a:lnTo>
                    <a:pt x="85" y="44"/>
                  </a:lnTo>
                  <a:lnTo>
                    <a:pt x="85" y="52"/>
                  </a:lnTo>
                  <a:lnTo>
                    <a:pt x="82" y="60"/>
                  </a:lnTo>
                  <a:lnTo>
                    <a:pt x="78" y="67"/>
                  </a:lnTo>
                  <a:lnTo>
                    <a:pt x="73" y="74"/>
                  </a:lnTo>
                  <a:lnTo>
                    <a:pt x="67" y="80"/>
                  </a:lnTo>
                  <a:lnTo>
                    <a:pt x="59" y="82"/>
                  </a:lnTo>
                  <a:lnTo>
                    <a:pt x="51" y="85"/>
                  </a:lnTo>
                  <a:lnTo>
                    <a:pt x="42" y="87"/>
                  </a:lnTo>
                  <a:lnTo>
                    <a:pt x="42" y="87"/>
                  </a:lnTo>
                  <a:close/>
                </a:path>
              </a:pathLst>
            </a:custGeom>
            <a:solidFill>
              <a:srgbClr val="8ED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14"/>
            <p:cNvSpPr>
              <a:spLocks/>
            </p:cNvSpPr>
            <p:nvPr userDrawn="1"/>
          </p:nvSpPr>
          <p:spPr bwMode="auto">
            <a:xfrm>
              <a:off x="3705" y="722"/>
              <a:ext cx="43" cy="43"/>
            </a:xfrm>
            <a:custGeom>
              <a:avLst/>
              <a:gdLst>
                <a:gd name="T0" fmla="*/ 42 w 85"/>
                <a:gd name="T1" fmla="*/ 85 h 85"/>
                <a:gd name="T2" fmla="*/ 42 w 85"/>
                <a:gd name="T3" fmla="*/ 85 h 85"/>
                <a:gd name="T4" fmla="*/ 34 w 85"/>
                <a:gd name="T5" fmla="*/ 84 h 85"/>
                <a:gd name="T6" fmla="*/ 26 w 85"/>
                <a:gd name="T7" fmla="*/ 81 h 85"/>
                <a:gd name="T8" fmla="*/ 19 w 85"/>
                <a:gd name="T9" fmla="*/ 78 h 85"/>
                <a:gd name="T10" fmla="*/ 12 w 85"/>
                <a:gd name="T11" fmla="*/ 73 h 85"/>
                <a:gd name="T12" fmla="*/ 7 w 85"/>
                <a:gd name="T13" fmla="*/ 66 h 85"/>
                <a:gd name="T14" fmla="*/ 3 w 85"/>
                <a:gd name="T15" fmla="*/ 59 h 85"/>
                <a:gd name="T16" fmla="*/ 0 w 85"/>
                <a:gd name="T17" fmla="*/ 51 h 85"/>
                <a:gd name="T18" fmla="*/ 0 w 85"/>
                <a:gd name="T19" fmla="*/ 43 h 85"/>
                <a:gd name="T20" fmla="*/ 0 w 85"/>
                <a:gd name="T21" fmla="*/ 43 h 85"/>
                <a:gd name="T22" fmla="*/ 0 w 85"/>
                <a:gd name="T23" fmla="*/ 33 h 85"/>
                <a:gd name="T24" fmla="*/ 3 w 85"/>
                <a:gd name="T25" fmla="*/ 26 h 85"/>
                <a:gd name="T26" fmla="*/ 7 w 85"/>
                <a:gd name="T27" fmla="*/ 18 h 85"/>
                <a:gd name="T28" fmla="*/ 12 w 85"/>
                <a:gd name="T29" fmla="*/ 12 h 85"/>
                <a:gd name="T30" fmla="*/ 19 w 85"/>
                <a:gd name="T31" fmla="*/ 7 h 85"/>
                <a:gd name="T32" fmla="*/ 26 w 85"/>
                <a:gd name="T33" fmla="*/ 3 h 85"/>
                <a:gd name="T34" fmla="*/ 34 w 85"/>
                <a:gd name="T35" fmla="*/ 0 h 85"/>
                <a:gd name="T36" fmla="*/ 42 w 85"/>
                <a:gd name="T37" fmla="*/ 0 h 85"/>
                <a:gd name="T38" fmla="*/ 42 w 85"/>
                <a:gd name="T39" fmla="*/ 0 h 85"/>
                <a:gd name="T40" fmla="*/ 51 w 85"/>
                <a:gd name="T41" fmla="*/ 0 h 85"/>
                <a:gd name="T42" fmla="*/ 59 w 85"/>
                <a:gd name="T43" fmla="*/ 3 h 85"/>
                <a:gd name="T44" fmla="*/ 66 w 85"/>
                <a:gd name="T45" fmla="*/ 7 h 85"/>
                <a:gd name="T46" fmla="*/ 73 w 85"/>
                <a:gd name="T47" fmla="*/ 12 h 85"/>
                <a:gd name="T48" fmla="*/ 78 w 85"/>
                <a:gd name="T49" fmla="*/ 18 h 85"/>
                <a:gd name="T50" fmla="*/ 82 w 85"/>
                <a:gd name="T51" fmla="*/ 26 h 85"/>
                <a:gd name="T52" fmla="*/ 85 w 85"/>
                <a:gd name="T53" fmla="*/ 33 h 85"/>
                <a:gd name="T54" fmla="*/ 85 w 85"/>
                <a:gd name="T55" fmla="*/ 43 h 85"/>
                <a:gd name="T56" fmla="*/ 85 w 85"/>
                <a:gd name="T57" fmla="*/ 43 h 85"/>
                <a:gd name="T58" fmla="*/ 85 w 85"/>
                <a:gd name="T59" fmla="*/ 51 h 85"/>
                <a:gd name="T60" fmla="*/ 82 w 85"/>
                <a:gd name="T61" fmla="*/ 59 h 85"/>
                <a:gd name="T62" fmla="*/ 78 w 85"/>
                <a:gd name="T63" fmla="*/ 66 h 85"/>
                <a:gd name="T64" fmla="*/ 73 w 85"/>
                <a:gd name="T65" fmla="*/ 73 h 85"/>
                <a:gd name="T66" fmla="*/ 66 w 85"/>
                <a:gd name="T67" fmla="*/ 78 h 85"/>
                <a:gd name="T68" fmla="*/ 59 w 85"/>
                <a:gd name="T69" fmla="*/ 81 h 85"/>
                <a:gd name="T70" fmla="*/ 51 w 85"/>
                <a:gd name="T71" fmla="*/ 84 h 85"/>
                <a:gd name="T72" fmla="*/ 42 w 85"/>
                <a:gd name="T73" fmla="*/ 85 h 85"/>
                <a:gd name="T74" fmla="*/ 42 w 85"/>
                <a:gd name="T75" fmla="*/ 85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5" h="85">
                  <a:moveTo>
                    <a:pt x="42" y="85"/>
                  </a:moveTo>
                  <a:lnTo>
                    <a:pt x="42" y="85"/>
                  </a:lnTo>
                  <a:lnTo>
                    <a:pt x="34" y="84"/>
                  </a:lnTo>
                  <a:lnTo>
                    <a:pt x="26" y="81"/>
                  </a:lnTo>
                  <a:lnTo>
                    <a:pt x="19" y="78"/>
                  </a:lnTo>
                  <a:lnTo>
                    <a:pt x="12" y="73"/>
                  </a:lnTo>
                  <a:lnTo>
                    <a:pt x="7" y="66"/>
                  </a:lnTo>
                  <a:lnTo>
                    <a:pt x="3" y="59"/>
                  </a:lnTo>
                  <a:lnTo>
                    <a:pt x="0" y="51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3"/>
                  </a:lnTo>
                  <a:lnTo>
                    <a:pt x="3" y="26"/>
                  </a:lnTo>
                  <a:lnTo>
                    <a:pt x="7" y="18"/>
                  </a:lnTo>
                  <a:lnTo>
                    <a:pt x="12" y="12"/>
                  </a:lnTo>
                  <a:lnTo>
                    <a:pt x="19" y="7"/>
                  </a:lnTo>
                  <a:lnTo>
                    <a:pt x="26" y="3"/>
                  </a:lnTo>
                  <a:lnTo>
                    <a:pt x="34" y="0"/>
                  </a:lnTo>
                  <a:lnTo>
                    <a:pt x="42" y="0"/>
                  </a:lnTo>
                  <a:lnTo>
                    <a:pt x="42" y="0"/>
                  </a:lnTo>
                  <a:lnTo>
                    <a:pt x="51" y="0"/>
                  </a:lnTo>
                  <a:lnTo>
                    <a:pt x="59" y="3"/>
                  </a:lnTo>
                  <a:lnTo>
                    <a:pt x="66" y="7"/>
                  </a:lnTo>
                  <a:lnTo>
                    <a:pt x="73" y="12"/>
                  </a:lnTo>
                  <a:lnTo>
                    <a:pt x="78" y="18"/>
                  </a:lnTo>
                  <a:lnTo>
                    <a:pt x="82" y="26"/>
                  </a:lnTo>
                  <a:lnTo>
                    <a:pt x="85" y="33"/>
                  </a:lnTo>
                  <a:lnTo>
                    <a:pt x="85" y="43"/>
                  </a:lnTo>
                  <a:lnTo>
                    <a:pt x="85" y="43"/>
                  </a:lnTo>
                  <a:lnTo>
                    <a:pt x="85" y="51"/>
                  </a:lnTo>
                  <a:lnTo>
                    <a:pt x="82" y="59"/>
                  </a:lnTo>
                  <a:lnTo>
                    <a:pt x="78" y="66"/>
                  </a:lnTo>
                  <a:lnTo>
                    <a:pt x="73" y="73"/>
                  </a:lnTo>
                  <a:lnTo>
                    <a:pt x="66" y="78"/>
                  </a:lnTo>
                  <a:lnTo>
                    <a:pt x="59" y="81"/>
                  </a:lnTo>
                  <a:lnTo>
                    <a:pt x="51" y="84"/>
                  </a:lnTo>
                  <a:lnTo>
                    <a:pt x="42" y="85"/>
                  </a:lnTo>
                  <a:lnTo>
                    <a:pt x="42" y="85"/>
                  </a:lnTo>
                  <a:close/>
                </a:path>
              </a:pathLst>
            </a:custGeom>
            <a:solidFill>
              <a:srgbClr val="8ED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1" name="Group 120"/>
          <p:cNvGrpSpPr/>
          <p:nvPr userDrawn="1"/>
        </p:nvGrpSpPr>
        <p:grpSpPr>
          <a:xfrm>
            <a:off x="177800" y="5295507"/>
            <a:ext cx="11847413" cy="1418438"/>
            <a:chOff x="0" y="5409807"/>
            <a:chExt cx="11847413" cy="1418438"/>
          </a:xfrm>
        </p:grpSpPr>
        <p:sp>
          <p:nvSpPr>
            <p:cNvPr id="122" name="Oval 121"/>
            <p:cNvSpPr/>
            <p:nvPr/>
          </p:nvSpPr>
          <p:spPr>
            <a:xfrm rot="5400000">
              <a:off x="0" y="600511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6" name="Oval 125"/>
            <p:cNvSpPr/>
            <p:nvPr/>
          </p:nvSpPr>
          <p:spPr>
            <a:xfrm rot="5400000">
              <a:off x="596266" y="600511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8" name="Oval 127"/>
            <p:cNvSpPr/>
            <p:nvPr/>
          </p:nvSpPr>
          <p:spPr>
            <a:xfrm rot="5400000">
              <a:off x="893538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9" name="Oval 128"/>
            <p:cNvSpPr/>
            <p:nvPr/>
          </p:nvSpPr>
          <p:spPr>
            <a:xfrm rot="5400000">
              <a:off x="1188586" y="600511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0" name="Oval 129"/>
            <p:cNvSpPr/>
            <p:nvPr/>
          </p:nvSpPr>
          <p:spPr>
            <a:xfrm rot="5400000">
              <a:off x="1188586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1" name="Oval 130"/>
            <p:cNvSpPr/>
            <p:nvPr/>
          </p:nvSpPr>
          <p:spPr>
            <a:xfrm rot="5400000">
              <a:off x="1188586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2" name="Oval 131"/>
            <p:cNvSpPr/>
            <p:nvPr/>
          </p:nvSpPr>
          <p:spPr>
            <a:xfrm rot="5400000">
              <a:off x="1487036" y="570746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3" name="Oval 132"/>
            <p:cNvSpPr/>
            <p:nvPr/>
          </p:nvSpPr>
          <p:spPr>
            <a:xfrm rot="5400000">
              <a:off x="1487036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4" name="Oval 133"/>
            <p:cNvSpPr/>
            <p:nvPr/>
          </p:nvSpPr>
          <p:spPr>
            <a:xfrm rot="5400000">
              <a:off x="1487036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5" name="Oval 134"/>
            <p:cNvSpPr/>
            <p:nvPr/>
          </p:nvSpPr>
          <p:spPr>
            <a:xfrm rot="5400000">
              <a:off x="1785482" y="60051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6" name="Oval 135"/>
            <p:cNvSpPr/>
            <p:nvPr/>
          </p:nvSpPr>
          <p:spPr>
            <a:xfrm rot="5400000">
              <a:off x="1785482" y="630277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7" name="Oval 136"/>
            <p:cNvSpPr/>
            <p:nvPr/>
          </p:nvSpPr>
          <p:spPr>
            <a:xfrm rot="5400000">
              <a:off x="1785482" y="660043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8" name="Oval 137"/>
            <p:cNvSpPr/>
            <p:nvPr/>
          </p:nvSpPr>
          <p:spPr>
            <a:xfrm rot="5400000">
              <a:off x="2084611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9" name="Oval 138"/>
            <p:cNvSpPr/>
            <p:nvPr/>
          </p:nvSpPr>
          <p:spPr>
            <a:xfrm rot="5400000">
              <a:off x="2383057" y="540980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0" name="Oval 139"/>
            <p:cNvSpPr/>
            <p:nvPr/>
          </p:nvSpPr>
          <p:spPr>
            <a:xfrm rot="5400000">
              <a:off x="2383057" y="570746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1" name="Oval 140"/>
            <p:cNvSpPr/>
            <p:nvPr/>
          </p:nvSpPr>
          <p:spPr>
            <a:xfrm rot="5400000">
              <a:off x="2383057" y="600511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2" name="Oval 141"/>
            <p:cNvSpPr/>
            <p:nvPr/>
          </p:nvSpPr>
          <p:spPr>
            <a:xfrm rot="5400000">
              <a:off x="2383057" y="630277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3" name="Oval 142"/>
            <p:cNvSpPr/>
            <p:nvPr/>
          </p:nvSpPr>
          <p:spPr>
            <a:xfrm rot="5400000">
              <a:off x="2383057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4" name="Oval 143"/>
            <p:cNvSpPr/>
            <p:nvPr/>
          </p:nvSpPr>
          <p:spPr>
            <a:xfrm rot="5400000">
              <a:off x="2677499" y="57074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5" name="Oval 144"/>
            <p:cNvSpPr/>
            <p:nvPr/>
          </p:nvSpPr>
          <p:spPr>
            <a:xfrm rot="5400000">
              <a:off x="2677499" y="60051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6" name="Oval 145"/>
            <p:cNvSpPr/>
            <p:nvPr/>
          </p:nvSpPr>
          <p:spPr>
            <a:xfrm rot="5400000">
              <a:off x="2981320" y="600512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7" name="Oval 146"/>
            <p:cNvSpPr/>
            <p:nvPr/>
          </p:nvSpPr>
          <p:spPr>
            <a:xfrm rot="5400000">
              <a:off x="2981320" y="630277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8" name="Oval 147"/>
            <p:cNvSpPr/>
            <p:nvPr/>
          </p:nvSpPr>
          <p:spPr>
            <a:xfrm rot="5400000">
              <a:off x="2981320" y="660043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9" name="Oval 148"/>
            <p:cNvSpPr/>
            <p:nvPr/>
          </p:nvSpPr>
          <p:spPr>
            <a:xfrm rot="5400000">
              <a:off x="3278592" y="660043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0" name="Oval 149"/>
            <p:cNvSpPr/>
            <p:nvPr/>
          </p:nvSpPr>
          <p:spPr>
            <a:xfrm rot="5400000">
              <a:off x="3566662" y="570746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1" name="Oval 150"/>
            <p:cNvSpPr/>
            <p:nvPr/>
          </p:nvSpPr>
          <p:spPr>
            <a:xfrm rot="5400000">
              <a:off x="3566662" y="630277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2" name="Oval 151"/>
            <p:cNvSpPr/>
            <p:nvPr/>
          </p:nvSpPr>
          <p:spPr>
            <a:xfrm rot="5400000">
              <a:off x="3865791" y="600512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3" name="Oval 152"/>
            <p:cNvSpPr/>
            <p:nvPr/>
          </p:nvSpPr>
          <p:spPr>
            <a:xfrm rot="5400000">
              <a:off x="3865791" y="660043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4" name="Oval 153"/>
            <p:cNvSpPr/>
            <p:nvPr/>
          </p:nvSpPr>
          <p:spPr>
            <a:xfrm rot="5400000">
              <a:off x="4164237" y="540981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5" name="Oval 154"/>
            <p:cNvSpPr/>
            <p:nvPr/>
          </p:nvSpPr>
          <p:spPr>
            <a:xfrm rot="5400000">
              <a:off x="4164237" y="660043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" name="Oval 155"/>
            <p:cNvSpPr/>
            <p:nvPr/>
          </p:nvSpPr>
          <p:spPr>
            <a:xfrm rot="5400000">
              <a:off x="4458679" y="600512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7" name="Oval 156"/>
            <p:cNvSpPr/>
            <p:nvPr/>
          </p:nvSpPr>
          <p:spPr>
            <a:xfrm rot="5400000">
              <a:off x="4458679" y="660043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8" name="Oval 157"/>
            <p:cNvSpPr/>
            <p:nvPr/>
          </p:nvSpPr>
          <p:spPr>
            <a:xfrm rot="5400000">
              <a:off x="4762499" y="630278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9" name="Oval 158"/>
            <p:cNvSpPr/>
            <p:nvPr/>
          </p:nvSpPr>
          <p:spPr>
            <a:xfrm rot="5400000">
              <a:off x="5059770" y="570746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0" name="Oval 159"/>
            <p:cNvSpPr/>
            <p:nvPr/>
          </p:nvSpPr>
          <p:spPr>
            <a:xfrm rot="5400000">
              <a:off x="5059770" y="630278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1" name="Oval 160"/>
            <p:cNvSpPr/>
            <p:nvPr/>
          </p:nvSpPr>
          <p:spPr>
            <a:xfrm rot="5400000">
              <a:off x="5059770" y="660043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2" name="Oval 161"/>
            <p:cNvSpPr/>
            <p:nvPr/>
          </p:nvSpPr>
          <p:spPr>
            <a:xfrm rot="5400000">
              <a:off x="5362575" y="600511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3" name="Oval 162"/>
            <p:cNvSpPr/>
            <p:nvPr/>
          </p:nvSpPr>
          <p:spPr>
            <a:xfrm rot="5400000">
              <a:off x="5362575" y="660042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4" name="Oval 163"/>
            <p:cNvSpPr/>
            <p:nvPr/>
          </p:nvSpPr>
          <p:spPr>
            <a:xfrm rot="5400000">
              <a:off x="5664201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5" name="Oval 164"/>
            <p:cNvSpPr/>
            <p:nvPr/>
          </p:nvSpPr>
          <p:spPr>
            <a:xfrm rot="5400000">
              <a:off x="5664201" y="660042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6" name="Oval 165"/>
            <p:cNvSpPr/>
            <p:nvPr/>
          </p:nvSpPr>
          <p:spPr>
            <a:xfrm rot="5400000">
              <a:off x="5958841" y="600511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7" name="Oval 166"/>
            <p:cNvSpPr/>
            <p:nvPr userDrawn="1"/>
          </p:nvSpPr>
          <p:spPr>
            <a:xfrm rot="5400000">
              <a:off x="5958841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8" name="Oval 167"/>
            <p:cNvSpPr/>
            <p:nvPr/>
          </p:nvSpPr>
          <p:spPr>
            <a:xfrm rot="5400000">
              <a:off x="6256113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9" name="Oval 168"/>
            <p:cNvSpPr/>
            <p:nvPr/>
          </p:nvSpPr>
          <p:spPr>
            <a:xfrm rot="5400000">
              <a:off x="6551161" y="600511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0" name="Oval 169"/>
            <p:cNvSpPr/>
            <p:nvPr/>
          </p:nvSpPr>
          <p:spPr>
            <a:xfrm rot="5400000">
              <a:off x="6551161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1" name="Oval 170"/>
            <p:cNvSpPr/>
            <p:nvPr/>
          </p:nvSpPr>
          <p:spPr>
            <a:xfrm rot="5400000">
              <a:off x="6551161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2" name="Oval 171"/>
            <p:cNvSpPr/>
            <p:nvPr/>
          </p:nvSpPr>
          <p:spPr>
            <a:xfrm rot="5400000">
              <a:off x="6849611" y="570746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3" name="Oval 172"/>
            <p:cNvSpPr/>
            <p:nvPr/>
          </p:nvSpPr>
          <p:spPr>
            <a:xfrm rot="5400000">
              <a:off x="6849611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4" name="Oval 173"/>
            <p:cNvSpPr/>
            <p:nvPr/>
          </p:nvSpPr>
          <p:spPr>
            <a:xfrm rot="5400000">
              <a:off x="6849611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5" name="Oval 174"/>
            <p:cNvSpPr/>
            <p:nvPr/>
          </p:nvSpPr>
          <p:spPr>
            <a:xfrm rot="5400000">
              <a:off x="7148057" y="60051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6" name="Oval 175"/>
            <p:cNvSpPr/>
            <p:nvPr/>
          </p:nvSpPr>
          <p:spPr>
            <a:xfrm rot="5400000">
              <a:off x="7148057" y="630277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7" name="Oval 176"/>
            <p:cNvSpPr/>
            <p:nvPr/>
          </p:nvSpPr>
          <p:spPr>
            <a:xfrm rot="5400000">
              <a:off x="7148057" y="660043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8" name="Oval 177"/>
            <p:cNvSpPr/>
            <p:nvPr/>
          </p:nvSpPr>
          <p:spPr>
            <a:xfrm rot="5400000">
              <a:off x="7447186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9" name="Oval 178"/>
            <p:cNvSpPr/>
            <p:nvPr/>
          </p:nvSpPr>
          <p:spPr>
            <a:xfrm rot="5400000">
              <a:off x="7745632" y="540980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0" name="Oval 179"/>
            <p:cNvSpPr/>
            <p:nvPr/>
          </p:nvSpPr>
          <p:spPr>
            <a:xfrm rot="5400000">
              <a:off x="7745632" y="570746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1" name="Oval 180"/>
            <p:cNvSpPr/>
            <p:nvPr/>
          </p:nvSpPr>
          <p:spPr>
            <a:xfrm rot="5400000">
              <a:off x="7745632" y="600511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2" name="Oval 181"/>
            <p:cNvSpPr/>
            <p:nvPr/>
          </p:nvSpPr>
          <p:spPr>
            <a:xfrm rot="5400000">
              <a:off x="7745632" y="630277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3" name="Oval 182"/>
            <p:cNvSpPr/>
            <p:nvPr/>
          </p:nvSpPr>
          <p:spPr>
            <a:xfrm rot="5400000">
              <a:off x="7745632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4" name="Oval 183"/>
            <p:cNvSpPr/>
            <p:nvPr/>
          </p:nvSpPr>
          <p:spPr>
            <a:xfrm rot="5400000">
              <a:off x="8040074" y="57074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5" name="Oval 184"/>
            <p:cNvSpPr/>
            <p:nvPr/>
          </p:nvSpPr>
          <p:spPr>
            <a:xfrm rot="5400000">
              <a:off x="8040074" y="60051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6" name="Oval 185"/>
            <p:cNvSpPr/>
            <p:nvPr/>
          </p:nvSpPr>
          <p:spPr>
            <a:xfrm rot="5400000">
              <a:off x="8343894" y="60051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7" name="Oval 186"/>
            <p:cNvSpPr/>
            <p:nvPr/>
          </p:nvSpPr>
          <p:spPr>
            <a:xfrm rot="5400000">
              <a:off x="8343894" y="630277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8" name="Oval 187"/>
            <p:cNvSpPr/>
            <p:nvPr/>
          </p:nvSpPr>
          <p:spPr>
            <a:xfrm rot="5400000">
              <a:off x="8343894" y="660043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9" name="Oval 188"/>
            <p:cNvSpPr/>
            <p:nvPr userDrawn="1"/>
          </p:nvSpPr>
          <p:spPr>
            <a:xfrm rot="5400000">
              <a:off x="8641166" y="660043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0" name="Oval 189"/>
            <p:cNvSpPr/>
            <p:nvPr/>
          </p:nvSpPr>
          <p:spPr>
            <a:xfrm rot="5400000">
              <a:off x="8929236" y="570746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1" name="Oval 190"/>
            <p:cNvSpPr/>
            <p:nvPr/>
          </p:nvSpPr>
          <p:spPr>
            <a:xfrm rot="5400000">
              <a:off x="8929236" y="630277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2" name="Oval 191"/>
            <p:cNvSpPr/>
            <p:nvPr/>
          </p:nvSpPr>
          <p:spPr>
            <a:xfrm rot="5400000">
              <a:off x="9228366" y="600512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3" name="Oval 192"/>
            <p:cNvSpPr/>
            <p:nvPr/>
          </p:nvSpPr>
          <p:spPr>
            <a:xfrm rot="5400000">
              <a:off x="9228366" y="660043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4" name="Oval 193"/>
            <p:cNvSpPr/>
            <p:nvPr/>
          </p:nvSpPr>
          <p:spPr>
            <a:xfrm rot="5400000">
              <a:off x="9526812" y="540981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5" name="Oval 194"/>
            <p:cNvSpPr/>
            <p:nvPr/>
          </p:nvSpPr>
          <p:spPr>
            <a:xfrm rot="5400000">
              <a:off x="9526812" y="660043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6" name="Oval 195"/>
            <p:cNvSpPr/>
            <p:nvPr/>
          </p:nvSpPr>
          <p:spPr>
            <a:xfrm rot="5400000">
              <a:off x="9821254" y="600512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7" name="Oval 196"/>
            <p:cNvSpPr/>
            <p:nvPr/>
          </p:nvSpPr>
          <p:spPr>
            <a:xfrm rot="5400000">
              <a:off x="9821254" y="660043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8" name="Oval 197"/>
            <p:cNvSpPr/>
            <p:nvPr/>
          </p:nvSpPr>
          <p:spPr>
            <a:xfrm rot="5400000">
              <a:off x="10125074" y="630278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9" name="Oval 198"/>
            <p:cNvSpPr/>
            <p:nvPr/>
          </p:nvSpPr>
          <p:spPr>
            <a:xfrm rot="5400000">
              <a:off x="10422346" y="570747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0" name="Oval 199"/>
            <p:cNvSpPr/>
            <p:nvPr/>
          </p:nvSpPr>
          <p:spPr>
            <a:xfrm rot="5400000">
              <a:off x="10422346" y="630278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1" name="Oval 200"/>
            <p:cNvSpPr/>
            <p:nvPr/>
          </p:nvSpPr>
          <p:spPr>
            <a:xfrm rot="5400000">
              <a:off x="10422346" y="660043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2" name="Oval 201"/>
            <p:cNvSpPr/>
            <p:nvPr/>
          </p:nvSpPr>
          <p:spPr>
            <a:xfrm rot="5400000">
              <a:off x="10726068" y="600511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3" name="Oval 202"/>
            <p:cNvSpPr/>
            <p:nvPr/>
          </p:nvSpPr>
          <p:spPr>
            <a:xfrm rot="5400000">
              <a:off x="10726068" y="660042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4" name="Oval 203"/>
            <p:cNvSpPr/>
            <p:nvPr/>
          </p:nvSpPr>
          <p:spPr>
            <a:xfrm rot="5400000">
              <a:off x="11027694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5" name="Oval 204"/>
            <p:cNvSpPr/>
            <p:nvPr/>
          </p:nvSpPr>
          <p:spPr>
            <a:xfrm rot="5400000">
              <a:off x="11322334" y="600511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6" name="Oval 205"/>
            <p:cNvSpPr/>
            <p:nvPr userDrawn="1"/>
          </p:nvSpPr>
          <p:spPr>
            <a:xfrm rot="5400000">
              <a:off x="11322334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7" name="Oval 206"/>
            <p:cNvSpPr/>
            <p:nvPr/>
          </p:nvSpPr>
          <p:spPr>
            <a:xfrm rot="5400000">
              <a:off x="11619606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8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209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6838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Rectangle 43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66" name="Group 565"/>
          <p:cNvGrpSpPr/>
          <p:nvPr userDrawn="1"/>
        </p:nvGrpSpPr>
        <p:grpSpPr>
          <a:xfrm>
            <a:off x="177800" y="5295507"/>
            <a:ext cx="11847413" cy="1418438"/>
            <a:chOff x="0" y="5409807"/>
            <a:chExt cx="11847413" cy="1418438"/>
          </a:xfrm>
        </p:grpSpPr>
        <p:sp>
          <p:nvSpPr>
            <p:cNvPr id="567" name="Oval 566"/>
            <p:cNvSpPr/>
            <p:nvPr/>
          </p:nvSpPr>
          <p:spPr>
            <a:xfrm rot="5400000">
              <a:off x="0" y="600511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1" name="Oval 570"/>
            <p:cNvSpPr/>
            <p:nvPr/>
          </p:nvSpPr>
          <p:spPr>
            <a:xfrm rot="5400000">
              <a:off x="596266" y="600511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3" name="Oval 572"/>
            <p:cNvSpPr/>
            <p:nvPr/>
          </p:nvSpPr>
          <p:spPr>
            <a:xfrm rot="5400000">
              <a:off x="893538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Oval 573"/>
            <p:cNvSpPr/>
            <p:nvPr/>
          </p:nvSpPr>
          <p:spPr>
            <a:xfrm rot="5400000">
              <a:off x="1188586" y="600511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5" name="Oval 574"/>
            <p:cNvSpPr/>
            <p:nvPr/>
          </p:nvSpPr>
          <p:spPr>
            <a:xfrm rot="5400000">
              <a:off x="1188586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6" name="Oval 575"/>
            <p:cNvSpPr/>
            <p:nvPr/>
          </p:nvSpPr>
          <p:spPr>
            <a:xfrm rot="5400000">
              <a:off x="1188586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7" name="Oval 576"/>
            <p:cNvSpPr/>
            <p:nvPr/>
          </p:nvSpPr>
          <p:spPr>
            <a:xfrm rot="5400000">
              <a:off x="1487036" y="570746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8" name="Oval 577"/>
            <p:cNvSpPr/>
            <p:nvPr/>
          </p:nvSpPr>
          <p:spPr>
            <a:xfrm rot="5400000">
              <a:off x="1487036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9" name="Oval 578"/>
            <p:cNvSpPr/>
            <p:nvPr/>
          </p:nvSpPr>
          <p:spPr>
            <a:xfrm rot="5400000">
              <a:off x="1487036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0" name="Oval 579"/>
            <p:cNvSpPr/>
            <p:nvPr/>
          </p:nvSpPr>
          <p:spPr>
            <a:xfrm rot="5400000">
              <a:off x="1785482" y="60051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1" name="Oval 580"/>
            <p:cNvSpPr/>
            <p:nvPr/>
          </p:nvSpPr>
          <p:spPr>
            <a:xfrm rot="5400000">
              <a:off x="1785482" y="630277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2" name="Oval 581"/>
            <p:cNvSpPr/>
            <p:nvPr/>
          </p:nvSpPr>
          <p:spPr>
            <a:xfrm rot="5400000">
              <a:off x="1785482" y="660043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3" name="Oval 582"/>
            <p:cNvSpPr/>
            <p:nvPr/>
          </p:nvSpPr>
          <p:spPr>
            <a:xfrm rot="5400000">
              <a:off x="2084611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4" name="Oval 583"/>
            <p:cNvSpPr/>
            <p:nvPr/>
          </p:nvSpPr>
          <p:spPr>
            <a:xfrm rot="5400000">
              <a:off x="2383057" y="540980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5" name="Oval 584"/>
            <p:cNvSpPr/>
            <p:nvPr/>
          </p:nvSpPr>
          <p:spPr>
            <a:xfrm rot="5400000">
              <a:off x="2383057" y="570746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6" name="Oval 585"/>
            <p:cNvSpPr/>
            <p:nvPr/>
          </p:nvSpPr>
          <p:spPr>
            <a:xfrm rot="5400000">
              <a:off x="2383057" y="600511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7" name="Oval 586"/>
            <p:cNvSpPr/>
            <p:nvPr/>
          </p:nvSpPr>
          <p:spPr>
            <a:xfrm rot="5400000">
              <a:off x="2383057" y="630277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8" name="Oval 587"/>
            <p:cNvSpPr/>
            <p:nvPr/>
          </p:nvSpPr>
          <p:spPr>
            <a:xfrm rot="5400000">
              <a:off x="2383057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9" name="Oval 588"/>
            <p:cNvSpPr/>
            <p:nvPr/>
          </p:nvSpPr>
          <p:spPr>
            <a:xfrm rot="5400000">
              <a:off x="2677499" y="57074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0" name="Oval 589"/>
            <p:cNvSpPr/>
            <p:nvPr/>
          </p:nvSpPr>
          <p:spPr>
            <a:xfrm rot="5400000">
              <a:off x="2677499" y="60051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1" name="Oval 590"/>
            <p:cNvSpPr/>
            <p:nvPr/>
          </p:nvSpPr>
          <p:spPr>
            <a:xfrm rot="5400000">
              <a:off x="2981320" y="600512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2" name="Oval 591"/>
            <p:cNvSpPr/>
            <p:nvPr/>
          </p:nvSpPr>
          <p:spPr>
            <a:xfrm rot="5400000">
              <a:off x="2981320" y="630277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3" name="Oval 592"/>
            <p:cNvSpPr/>
            <p:nvPr/>
          </p:nvSpPr>
          <p:spPr>
            <a:xfrm rot="5400000">
              <a:off x="2981320" y="660043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4" name="Oval 593"/>
            <p:cNvSpPr/>
            <p:nvPr/>
          </p:nvSpPr>
          <p:spPr>
            <a:xfrm rot="5400000">
              <a:off x="3278592" y="660043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5" name="Oval 594"/>
            <p:cNvSpPr/>
            <p:nvPr/>
          </p:nvSpPr>
          <p:spPr>
            <a:xfrm rot="5400000">
              <a:off x="3566662" y="570746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6" name="Oval 595"/>
            <p:cNvSpPr/>
            <p:nvPr/>
          </p:nvSpPr>
          <p:spPr>
            <a:xfrm rot="5400000">
              <a:off x="3566662" y="630277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7" name="Oval 596"/>
            <p:cNvSpPr/>
            <p:nvPr/>
          </p:nvSpPr>
          <p:spPr>
            <a:xfrm rot="5400000">
              <a:off x="3865791" y="600512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8" name="Oval 597"/>
            <p:cNvSpPr/>
            <p:nvPr/>
          </p:nvSpPr>
          <p:spPr>
            <a:xfrm rot="5400000">
              <a:off x="3865791" y="660043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9" name="Oval 598"/>
            <p:cNvSpPr/>
            <p:nvPr/>
          </p:nvSpPr>
          <p:spPr>
            <a:xfrm rot="5400000">
              <a:off x="4164237" y="540981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0" name="Oval 599"/>
            <p:cNvSpPr/>
            <p:nvPr/>
          </p:nvSpPr>
          <p:spPr>
            <a:xfrm rot="5400000">
              <a:off x="4164237" y="660043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1" name="Oval 600"/>
            <p:cNvSpPr/>
            <p:nvPr/>
          </p:nvSpPr>
          <p:spPr>
            <a:xfrm rot="5400000">
              <a:off x="4458679" y="600512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2" name="Oval 601"/>
            <p:cNvSpPr/>
            <p:nvPr/>
          </p:nvSpPr>
          <p:spPr>
            <a:xfrm rot="5400000">
              <a:off x="4458679" y="660043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3" name="Oval 602"/>
            <p:cNvSpPr/>
            <p:nvPr/>
          </p:nvSpPr>
          <p:spPr>
            <a:xfrm rot="5400000">
              <a:off x="4762499" y="630278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4" name="Oval 603"/>
            <p:cNvSpPr/>
            <p:nvPr/>
          </p:nvSpPr>
          <p:spPr>
            <a:xfrm rot="5400000">
              <a:off x="5059770" y="570746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5" name="Oval 604"/>
            <p:cNvSpPr/>
            <p:nvPr/>
          </p:nvSpPr>
          <p:spPr>
            <a:xfrm rot="5400000">
              <a:off x="5059770" y="630278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6" name="Oval 605"/>
            <p:cNvSpPr/>
            <p:nvPr/>
          </p:nvSpPr>
          <p:spPr>
            <a:xfrm rot="5400000">
              <a:off x="5059770" y="660043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7" name="Oval 606"/>
            <p:cNvSpPr/>
            <p:nvPr/>
          </p:nvSpPr>
          <p:spPr>
            <a:xfrm rot="5400000">
              <a:off x="5362575" y="600511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8" name="Oval 607"/>
            <p:cNvSpPr/>
            <p:nvPr/>
          </p:nvSpPr>
          <p:spPr>
            <a:xfrm rot="5400000">
              <a:off x="5362575" y="660042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9" name="Oval 608"/>
            <p:cNvSpPr/>
            <p:nvPr/>
          </p:nvSpPr>
          <p:spPr>
            <a:xfrm rot="5400000">
              <a:off x="5664201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0" name="Oval 609"/>
            <p:cNvSpPr/>
            <p:nvPr/>
          </p:nvSpPr>
          <p:spPr>
            <a:xfrm rot="5400000">
              <a:off x="5664201" y="660042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1" name="Oval 610"/>
            <p:cNvSpPr/>
            <p:nvPr/>
          </p:nvSpPr>
          <p:spPr>
            <a:xfrm rot="5400000">
              <a:off x="5958841" y="600511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2" name="Oval 611"/>
            <p:cNvSpPr/>
            <p:nvPr userDrawn="1"/>
          </p:nvSpPr>
          <p:spPr>
            <a:xfrm rot="5400000">
              <a:off x="5958841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3" name="Oval 612"/>
            <p:cNvSpPr/>
            <p:nvPr/>
          </p:nvSpPr>
          <p:spPr>
            <a:xfrm rot="5400000">
              <a:off x="6256113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4" name="Oval 613"/>
            <p:cNvSpPr/>
            <p:nvPr/>
          </p:nvSpPr>
          <p:spPr>
            <a:xfrm rot="5400000">
              <a:off x="6551161" y="600511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5" name="Oval 614"/>
            <p:cNvSpPr/>
            <p:nvPr/>
          </p:nvSpPr>
          <p:spPr>
            <a:xfrm rot="5400000">
              <a:off x="6551161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6" name="Oval 615"/>
            <p:cNvSpPr/>
            <p:nvPr/>
          </p:nvSpPr>
          <p:spPr>
            <a:xfrm rot="5400000">
              <a:off x="6551161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7" name="Oval 616"/>
            <p:cNvSpPr/>
            <p:nvPr/>
          </p:nvSpPr>
          <p:spPr>
            <a:xfrm rot="5400000">
              <a:off x="6849611" y="570746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8" name="Oval 617"/>
            <p:cNvSpPr/>
            <p:nvPr/>
          </p:nvSpPr>
          <p:spPr>
            <a:xfrm rot="5400000">
              <a:off x="6849611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9" name="Oval 618"/>
            <p:cNvSpPr/>
            <p:nvPr/>
          </p:nvSpPr>
          <p:spPr>
            <a:xfrm rot="5400000">
              <a:off x="6849611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0" name="Oval 619"/>
            <p:cNvSpPr/>
            <p:nvPr/>
          </p:nvSpPr>
          <p:spPr>
            <a:xfrm rot="5400000">
              <a:off x="7148057" y="60051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1" name="Oval 620"/>
            <p:cNvSpPr/>
            <p:nvPr/>
          </p:nvSpPr>
          <p:spPr>
            <a:xfrm rot="5400000">
              <a:off x="7148057" y="630277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2" name="Oval 621"/>
            <p:cNvSpPr/>
            <p:nvPr/>
          </p:nvSpPr>
          <p:spPr>
            <a:xfrm rot="5400000">
              <a:off x="7148057" y="660043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3" name="Oval 622"/>
            <p:cNvSpPr/>
            <p:nvPr/>
          </p:nvSpPr>
          <p:spPr>
            <a:xfrm rot="5400000">
              <a:off x="7447186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4" name="Oval 623"/>
            <p:cNvSpPr/>
            <p:nvPr/>
          </p:nvSpPr>
          <p:spPr>
            <a:xfrm rot="5400000">
              <a:off x="7745632" y="540980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5" name="Oval 624"/>
            <p:cNvSpPr/>
            <p:nvPr/>
          </p:nvSpPr>
          <p:spPr>
            <a:xfrm rot="5400000">
              <a:off x="7745632" y="570746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6" name="Oval 625"/>
            <p:cNvSpPr/>
            <p:nvPr/>
          </p:nvSpPr>
          <p:spPr>
            <a:xfrm rot="5400000">
              <a:off x="7745632" y="600511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7" name="Oval 626"/>
            <p:cNvSpPr/>
            <p:nvPr/>
          </p:nvSpPr>
          <p:spPr>
            <a:xfrm rot="5400000">
              <a:off x="7745632" y="630277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8" name="Oval 627"/>
            <p:cNvSpPr/>
            <p:nvPr/>
          </p:nvSpPr>
          <p:spPr>
            <a:xfrm rot="5400000">
              <a:off x="7745632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9" name="Oval 628"/>
            <p:cNvSpPr/>
            <p:nvPr/>
          </p:nvSpPr>
          <p:spPr>
            <a:xfrm rot="5400000">
              <a:off x="8040074" y="57074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0" name="Oval 629"/>
            <p:cNvSpPr/>
            <p:nvPr/>
          </p:nvSpPr>
          <p:spPr>
            <a:xfrm rot="5400000">
              <a:off x="8040074" y="60051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1" name="Oval 630"/>
            <p:cNvSpPr/>
            <p:nvPr/>
          </p:nvSpPr>
          <p:spPr>
            <a:xfrm rot="5400000">
              <a:off x="8343894" y="60051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2" name="Oval 631"/>
            <p:cNvSpPr/>
            <p:nvPr/>
          </p:nvSpPr>
          <p:spPr>
            <a:xfrm rot="5400000">
              <a:off x="8343894" y="630277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3" name="Oval 632"/>
            <p:cNvSpPr/>
            <p:nvPr/>
          </p:nvSpPr>
          <p:spPr>
            <a:xfrm rot="5400000">
              <a:off x="8343894" y="660043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4" name="Oval 633"/>
            <p:cNvSpPr/>
            <p:nvPr/>
          </p:nvSpPr>
          <p:spPr>
            <a:xfrm rot="5400000">
              <a:off x="8641166" y="660043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5" name="Oval 634"/>
            <p:cNvSpPr/>
            <p:nvPr/>
          </p:nvSpPr>
          <p:spPr>
            <a:xfrm rot="5400000">
              <a:off x="8929236" y="570746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6" name="Oval 635"/>
            <p:cNvSpPr/>
            <p:nvPr/>
          </p:nvSpPr>
          <p:spPr>
            <a:xfrm rot="5400000">
              <a:off x="8929236" y="630277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7" name="Oval 636"/>
            <p:cNvSpPr/>
            <p:nvPr/>
          </p:nvSpPr>
          <p:spPr>
            <a:xfrm rot="5400000">
              <a:off x="9228366" y="600512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8" name="Oval 637"/>
            <p:cNvSpPr/>
            <p:nvPr/>
          </p:nvSpPr>
          <p:spPr>
            <a:xfrm rot="5400000">
              <a:off x="9228366" y="660043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9" name="Oval 638"/>
            <p:cNvSpPr/>
            <p:nvPr/>
          </p:nvSpPr>
          <p:spPr>
            <a:xfrm rot="5400000">
              <a:off x="9526812" y="540981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0" name="Oval 639"/>
            <p:cNvSpPr/>
            <p:nvPr/>
          </p:nvSpPr>
          <p:spPr>
            <a:xfrm rot="5400000">
              <a:off x="9526812" y="660043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1" name="Oval 640"/>
            <p:cNvSpPr/>
            <p:nvPr/>
          </p:nvSpPr>
          <p:spPr>
            <a:xfrm rot="5400000">
              <a:off x="9821254" y="600512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2" name="Oval 641"/>
            <p:cNvSpPr/>
            <p:nvPr/>
          </p:nvSpPr>
          <p:spPr>
            <a:xfrm rot="5400000">
              <a:off x="9821254" y="660043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3" name="Oval 642"/>
            <p:cNvSpPr/>
            <p:nvPr/>
          </p:nvSpPr>
          <p:spPr>
            <a:xfrm rot="5400000">
              <a:off x="10125074" y="630278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4" name="Oval 643"/>
            <p:cNvSpPr/>
            <p:nvPr/>
          </p:nvSpPr>
          <p:spPr>
            <a:xfrm rot="5400000">
              <a:off x="10422346" y="570747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5" name="Oval 644"/>
            <p:cNvSpPr/>
            <p:nvPr/>
          </p:nvSpPr>
          <p:spPr>
            <a:xfrm rot="5400000">
              <a:off x="10422346" y="630278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6" name="Oval 645"/>
            <p:cNvSpPr/>
            <p:nvPr/>
          </p:nvSpPr>
          <p:spPr>
            <a:xfrm rot="5400000">
              <a:off x="10422346" y="660043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7" name="Oval 646"/>
            <p:cNvSpPr/>
            <p:nvPr/>
          </p:nvSpPr>
          <p:spPr>
            <a:xfrm rot="5400000">
              <a:off x="10726068" y="600511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8" name="Oval 647"/>
            <p:cNvSpPr/>
            <p:nvPr/>
          </p:nvSpPr>
          <p:spPr>
            <a:xfrm rot="5400000">
              <a:off x="10726068" y="660042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9" name="Oval 648"/>
            <p:cNvSpPr/>
            <p:nvPr/>
          </p:nvSpPr>
          <p:spPr>
            <a:xfrm rot="5400000">
              <a:off x="11027694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0" name="Oval 649"/>
            <p:cNvSpPr/>
            <p:nvPr/>
          </p:nvSpPr>
          <p:spPr>
            <a:xfrm rot="5400000">
              <a:off x="11322334" y="600511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1" name="Oval 650"/>
            <p:cNvSpPr/>
            <p:nvPr userDrawn="1"/>
          </p:nvSpPr>
          <p:spPr>
            <a:xfrm rot="5400000">
              <a:off x="11322334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2" name="Oval 651"/>
            <p:cNvSpPr/>
            <p:nvPr/>
          </p:nvSpPr>
          <p:spPr>
            <a:xfrm rot="5400000">
              <a:off x="11619606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53" name="Tijdelijke aanduiding voor tekst 10">
            <a:extLst>
              <a:ext uri="{FF2B5EF4-FFF2-40B4-BE49-F238E27FC236}">
                <a16:creationId xmlns:a16="http://schemas.microsoft.com/office/drawing/2014/main" id="{0BF1D710-5F93-4654-8D54-CD40B1D335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3" y="4768439"/>
            <a:ext cx="10658474" cy="881063"/>
          </a:xfrm>
          <a:prstGeom prst="rect">
            <a:avLst/>
          </a:prstGeom>
        </p:spPr>
        <p:txBody>
          <a:bodyPr lIns="1828800" tIns="0" rIns="1828800" bIns="0">
            <a:normAutofit/>
          </a:bodyPr>
          <a:lstStyle>
            <a:lvl1pPr marL="0" indent="0" algn="ctr">
              <a:buFontTx/>
              <a:buNone/>
              <a:defRPr sz="2000" b="0" baseline="0">
                <a:solidFill>
                  <a:schemeClr val="accent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nl-BE" smtClean="0"/>
              <a:t>Click to add a name</a:t>
            </a:r>
            <a:endParaRPr lang="en-BE" dirty="0"/>
          </a:p>
        </p:txBody>
      </p:sp>
      <p:sp>
        <p:nvSpPr>
          <p:cNvPr id="654" name="Tijdelijke aanduiding voor tekst 8">
            <a:extLst>
              <a:ext uri="{FF2B5EF4-FFF2-40B4-BE49-F238E27FC236}">
                <a16:creationId xmlns:a16="http://schemas.microsoft.com/office/drawing/2014/main" id="{7F4BDD94-FB2C-4502-A2BB-86CAD3E599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2324100"/>
            <a:ext cx="10658474" cy="2197100"/>
          </a:xfrm>
          <a:prstGeom prst="rect">
            <a:avLst/>
          </a:prstGeom>
        </p:spPr>
        <p:txBody>
          <a:bodyPr lIns="1371600" tIns="0" rIns="1371600" bIns="0" anchor="ctr" anchorCtr="0">
            <a:no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3200">
                <a:solidFill>
                  <a:schemeClr val="bg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nl-NL" smtClean="0"/>
              <a:t>Click to add a quote</a:t>
            </a:r>
            <a:endParaRPr lang="nl-NL" dirty="0"/>
          </a:p>
        </p:txBody>
      </p:sp>
      <p:pic>
        <p:nvPicPr>
          <p:cNvPr id="218" name="Picture 2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8560" y="1055688"/>
            <a:ext cx="972444" cy="1153070"/>
          </a:xfrm>
          <a:prstGeom prst="rect">
            <a:avLst/>
          </a:prstGeom>
        </p:spPr>
      </p:pic>
      <p:sp>
        <p:nvSpPr>
          <p:cNvPr id="99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00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4"/>
          <p:cNvGrpSpPr>
            <a:grpSpLocks noChangeAspect="1"/>
          </p:cNvGrpSpPr>
          <p:nvPr userDrawn="1"/>
        </p:nvGrpSpPr>
        <p:grpSpPr bwMode="auto">
          <a:xfrm>
            <a:off x="304800" y="6440488"/>
            <a:ext cx="733425" cy="166687"/>
            <a:chOff x="192" y="4057"/>
            <a:chExt cx="462" cy="105"/>
          </a:xfrm>
        </p:grpSpPr>
        <p:sp>
          <p:nvSpPr>
            <p:cNvPr id="93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92" y="4057"/>
              <a:ext cx="46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5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6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7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8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9"/>
            <p:cNvSpPr>
              <a:spLocks/>
            </p:cNvSpPr>
            <p:nvPr userDrawn="1"/>
          </p:nvSpPr>
          <p:spPr bwMode="auto">
            <a:xfrm>
              <a:off x="351" y="4121"/>
              <a:ext cx="59" cy="41"/>
            </a:xfrm>
            <a:custGeom>
              <a:avLst/>
              <a:gdLst>
                <a:gd name="T0" fmla="*/ 884 w 884"/>
                <a:gd name="T1" fmla="*/ 618 h 618"/>
                <a:gd name="T2" fmla="*/ 339 w 884"/>
                <a:gd name="T3" fmla="*/ 0 h 618"/>
                <a:gd name="T4" fmla="*/ 0 w 884"/>
                <a:gd name="T5" fmla="*/ 0 h 618"/>
                <a:gd name="T6" fmla="*/ 539 w 884"/>
                <a:gd name="T7" fmla="*/ 618 h 618"/>
                <a:gd name="T8" fmla="*/ 884 w 884"/>
                <a:gd name="T9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4" h="618">
                  <a:moveTo>
                    <a:pt x="884" y="618"/>
                  </a:moveTo>
                  <a:lnTo>
                    <a:pt x="339" y="0"/>
                  </a:lnTo>
                  <a:lnTo>
                    <a:pt x="0" y="0"/>
                  </a:lnTo>
                  <a:lnTo>
                    <a:pt x="539" y="618"/>
                  </a:lnTo>
                  <a:lnTo>
                    <a:pt x="884" y="6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2" name="Freeform 10"/>
            <p:cNvSpPr>
              <a:spLocks/>
            </p:cNvSpPr>
            <p:nvPr userDrawn="1"/>
          </p:nvSpPr>
          <p:spPr bwMode="auto">
            <a:xfrm>
              <a:off x="330" y="4057"/>
              <a:ext cx="17" cy="105"/>
            </a:xfrm>
            <a:custGeom>
              <a:avLst/>
              <a:gdLst>
                <a:gd name="T0" fmla="*/ 0 w 253"/>
                <a:gd name="T1" fmla="*/ 0 h 1572"/>
                <a:gd name="T2" fmla="*/ 0 w 253"/>
                <a:gd name="T3" fmla="*/ 1572 h 1572"/>
                <a:gd name="T4" fmla="*/ 253 w 253"/>
                <a:gd name="T5" fmla="*/ 1572 h 1572"/>
                <a:gd name="T6" fmla="*/ 253 w 253"/>
                <a:gd name="T7" fmla="*/ 999 h 1572"/>
                <a:gd name="T8" fmla="*/ 253 w 253"/>
                <a:gd name="T9" fmla="*/ 1000 h 1572"/>
                <a:gd name="T10" fmla="*/ 253 w 253"/>
                <a:gd name="T11" fmla="*/ 941 h 1572"/>
                <a:gd name="T12" fmla="*/ 253 w 253"/>
                <a:gd name="T13" fmla="*/ 942 h 1572"/>
                <a:gd name="T14" fmla="*/ 253 w 253"/>
                <a:gd name="T15" fmla="*/ 0 h 1572"/>
                <a:gd name="T16" fmla="*/ 0 w 253"/>
                <a:gd name="T17" fmla="*/ 0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1572">
                  <a:moveTo>
                    <a:pt x="0" y="0"/>
                  </a:moveTo>
                  <a:lnTo>
                    <a:pt x="0" y="1572"/>
                  </a:lnTo>
                  <a:lnTo>
                    <a:pt x="253" y="1572"/>
                  </a:lnTo>
                  <a:lnTo>
                    <a:pt x="253" y="999"/>
                  </a:lnTo>
                  <a:lnTo>
                    <a:pt x="253" y="1000"/>
                  </a:lnTo>
                  <a:lnTo>
                    <a:pt x="253" y="941"/>
                  </a:lnTo>
                  <a:lnTo>
                    <a:pt x="253" y="942"/>
                  </a:lnTo>
                  <a:lnTo>
                    <a:pt x="2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11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12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13"/>
            <p:cNvSpPr>
              <a:spLocks noEditPoints="1"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3 w 1136"/>
                <a:gd name="T1" fmla="*/ 529 h 1181"/>
                <a:gd name="T2" fmla="*/ 25 w 1136"/>
                <a:gd name="T3" fmla="*/ 412 h 1181"/>
                <a:gd name="T4" fmla="*/ 68 w 1136"/>
                <a:gd name="T5" fmla="*/ 305 h 1181"/>
                <a:gd name="T6" fmla="*/ 130 w 1136"/>
                <a:gd name="T7" fmla="*/ 211 h 1181"/>
                <a:gd name="T8" fmla="*/ 209 w 1136"/>
                <a:gd name="T9" fmla="*/ 132 h 1181"/>
                <a:gd name="T10" fmla="*/ 302 w 1136"/>
                <a:gd name="T11" fmla="*/ 69 h 1181"/>
                <a:gd name="T12" fmla="*/ 409 w 1136"/>
                <a:gd name="T13" fmla="*/ 25 h 1181"/>
                <a:gd name="T14" fmla="*/ 526 w 1136"/>
                <a:gd name="T15" fmla="*/ 3 h 1181"/>
                <a:gd name="T16" fmla="*/ 617 w 1136"/>
                <a:gd name="T17" fmla="*/ 0 h 1181"/>
                <a:gd name="T18" fmla="*/ 729 w 1136"/>
                <a:gd name="T19" fmla="*/ 15 h 1181"/>
                <a:gd name="T20" fmla="*/ 830 w 1136"/>
                <a:gd name="T21" fmla="*/ 51 h 1181"/>
                <a:gd name="T22" fmla="*/ 918 w 1136"/>
                <a:gd name="T23" fmla="*/ 105 h 1181"/>
                <a:gd name="T24" fmla="*/ 993 w 1136"/>
                <a:gd name="T25" fmla="*/ 177 h 1181"/>
                <a:gd name="T26" fmla="*/ 1053 w 1136"/>
                <a:gd name="T27" fmla="*/ 266 h 1181"/>
                <a:gd name="T28" fmla="*/ 1098 w 1136"/>
                <a:gd name="T29" fmla="*/ 371 h 1181"/>
                <a:gd name="T30" fmla="*/ 1127 w 1136"/>
                <a:gd name="T31" fmla="*/ 491 h 1181"/>
                <a:gd name="T32" fmla="*/ 1136 w 1136"/>
                <a:gd name="T33" fmla="*/ 658 h 1181"/>
                <a:gd name="T34" fmla="*/ 267 w 1136"/>
                <a:gd name="T35" fmla="*/ 689 h 1181"/>
                <a:gd name="T36" fmla="*/ 287 w 1136"/>
                <a:gd name="T37" fmla="*/ 744 h 1181"/>
                <a:gd name="T38" fmla="*/ 315 w 1136"/>
                <a:gd name="T39" fmla="*/ 794 h 1181"/>
                <a:gd name="T40" fmla="*/ 350 w 1136"/>
                <a:gd name="T41" fmla="*/ 837 h 1181"/>
                <a:gd name="T42" fmla="*/ 395 w 1136"/>
                <a:gd name="T43" fmla="*/ 873 h 1181"/>
                <a:gd name="T44" fmla="*/ 444 w 1136"/>
                <a:gd name="T45" fmla="*/ 901 h 1181"/>
                <a:gd name="T46" fmla="*/ 500 w 1136"/>
                <a:gd name="T47" fmla="*/ 920 h 1181"/>
                <a:gd name="T48" fmla="*/ 561 w 1136"/>
                <a:gd name="T49" fmla="*/ 930 h 1181"/>
                <a:gd name="T50" fmla="*/ 617 w 1136"/>
                <a:gd name="T51" fmla="*/ 930 h 1181"/>
                <a:gd name="T52" fmla="*/ 711 w 1136"/>
                <a:gd name="T53" fmla="*/ 914 h 1181"/>
                <a:gd name="T54" fmla="*/ 789 w 1136"/>
                <a:gd name="T55" fmla="*/ 881 h 1181"/>
                <a:gd name="T56" fmla="*/ 853 w 1136"/>
                <a:gd name="T57" fmla="*/ 837 h 1181"/>
                <a:gd name="T58" fmla="*/ 1061 w 1136"/>
                <a:gd name="T59" fmla="*/ 982 h 1181"/>
                <a:gd name="T60" fmla="*/ 998 w 1136"/>
                <a:gd name="T61" fmla="*/ 1043 h 1181"/>
                <a:gd name="T62" fmla="*/ 894 w 1136"/>
                <a:gd name="T63" fmla="*/ 1110 h 1181"/>
                <a:gd name="T64" fmla="*/ 770 w 1136"/>
                <a:gd name="T65" fmla="*/ 1157 h 1181"/>
                <a:gd name="T66" fmla="*/ 630 w 1136"/>
                <a:gd name="T67" fmla="*/ 1180 h 1181"/>
                <a:gd name="T68" fmla="*/ 529 w 1136"/>
                <a:gd name="T69" fmla="*/ 1178 h 1181"/>
                <a:gd name="T70" fmla="*/ 411 w 1136"/>
                <a:gd name="T71" fmla="*/ 1155 h 1181"/>
                <a:gd name="T72" fmla="*/ 304 w 1136"/>
                <a:gd name="T73" fmla="*/ 1111 h 1181"/>
                <a:gd name="T74" fmla="*/ 210 w 1136"/>
                <a:gd name="T75" fmla="*/ 1048 h 1181"/>
                <a:gd name="T76" fmla="*/ 131 w 1136"/>
                <a:gd name="T77" fmla="*/ 969 h 1181"/>
                <a:gd name="T78" fmla="*/ 68 w 1136"/>
                <a:gd name="T79" fmla="*/ 875 h 1181"/>
                <a:gd name="T80" fmla="*/ 25 w 1136"/>
                <a:gd name="T81" fmla="*/ 769 h 1181"/>
                <a:gd name="T82" fmla="*/ 3 w 1136"/>
                <a:gd name="T83" fmla="*/ 652 h 1181"/>
                <a:gd name="T84" fmla="*/ 858 w 1136"/>
                <a:gd name="T85" fmla="*/ 464 h 1181"/>
                <a:gd name="T86" fmla="*/ 834 w 1136"/>
                <a:gd name="T87" fmla="*/ 385 h 1181"/>
                <a:gd name="T88" fmla="*/ 777 w 1136"/>
                <a:gd name="T89" fmla="*/ 305 h 1181"/>
                <a:gd name="T90" fmla="*/ 697 w 1136"/>
                <a:gd name="T91" fmla="*/ 253 h 1181"/>
                <a:gd name="T92" fmla="*/ 597 w 1136"/>
                <a:gd name="T93" fmla="*/ 232 h 1181"/>
                <a:gd name="T94" fmla="*/ 519 w 1136"/>
                <a:gd name="T95" fmla="*/ 235 h 1181"/>
                <a:gd name="T96" fmla="*/ 425 w 1136"/>
                <a:gd name="T97" fmla="*/ 267 h 1181"/>
                <a:gd name="T98" fmla="*/ 346 w 1136"/>
                <a:gd name="T99" fmla="*/ 327 h 1181"/>
                <a:gd name="T100" fmla="*/ 288 w 1136"/>
                <a:gd name="T101" fmla="*/ 413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  <a:moveTo>
                    <a:pt x="268" y="464"/>
                  </a:moveTo>
                  <a:lnTo>
                    <a:pt x="858" y="464"/>
                  </a:lnTo>
                  <a:lnTo>
                    <a:pt x="858" y="464"/>
                  </a:lnTo>
                  <a:lnTo>
                    <a:pt x="852" y="435"/>
                  </a:lnTo>
                  <a:lnTo>
                    <a:pt x="844" y="410"/>
                  </a:lnTo>
                  <a:lnTo>
                    <a:pt x="834" y="385"/>
                  </a:lnTo>
                  <a:lnTo>
                    <a:pt x="822" y="362"/>
                  </a:lnTo>
                  <a:lnTo>
                    <a:pt x="809" y="341"/>
                  </a:lnTo>
                  <a:lnTo>
                    <a:pt x="794" y="322"/>
                  </a:lnTo>
                  <a:lnTo>
                    <a:pt x="777" y="305"/>
                  </a:lnTo>
                  <a:lnTo>
                    <a:pt x="760" y="289"/>
                  </a:lnTo>
                  <a:lnTo>
                    <a:pt x="740" y="275"/>
                  </a:lnTo>
                  <a:lnTo>
                    <a:pt x="720" y="264"/>
                  </a:lnTo>
                  <a:lnTo>
                    <a:pt x="697" y="253"/>
                  </a:lnTo>
                  <a:lnTo>
                    <a:pt x="674" y="245"/>
                  </a:lnTo>
                  <a:lnTo>
                    <a:pt x="650" y="239"/>
                  </a:lnTo>
                  <a:lnTo>
                    <a:pt x="623" y="234"/>
                  </a:lnTo>
                  <a:lnTo>
                    <a:pt x="597" y="232"/>
                  </a:lnTo>
                  <a:lnTo>
                    <a:pt x="569" y="231"/>
                  </a:lnTo>
                  <a:lnTo>
                    <a:pt x="569" y="231"/>
                  </a:lnTo>
                  <a:lnTo>
                    <a:pt x="544" y="232"/>
                  </a:lnTo>
                  <a:lnTo>
                    <a:pt x="519" y="235"/>
                  </a:lnTo>
                  <a:lnTo>
                    <a:pt x="494" y="240"/>
                  </a:lnTo>
                  <a:lnTo>
                    <a:pt x="471" y="247"/>
                  </a:lnTo>
                  <a:lnTo>
                    <a:pt x="448" y="255"/>
                  </a:lnTo>
                  <a:lnTo>
                    <a:pt x="425" y="267"/>
                  </a:lnTo>
                  <a:lnTo>
                    <a:pt x="404" y="279"/>
                  </a:lnTo>
                  <a:lnTo>
                    <a:pt x="383" y="293"/>
                  </a:lnTo>
                  <a:lnTo>
                    <a:pt x="364" y="310"/>
                  </a:lnTo>
                  <a:lnTo>
                    <a:pt x="346" y="327"/>
                  </a:lnTo>
                  <a:lnTo>
                    <a:pt x="329" y="346"/>
                  </a:lnTo>
                  <a:lnTo>
                    <a:pt x="314" y="367"/>
                  </a:lnTo>
                  <a:lnTo>
                    <a:pt x="300" y="389"/>
                  </a:lnTo>
                  <a:lnTo>
                    <a:pt x="288" y="413"/>
                  </a:lnTo>
                  <a:lnTo>
                    <a:pt x="277" y="437"/>
                  </a:lnTo>
                  <a:lnTo>
                    <a:pt x="26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14"/>
            <p:cNvSpPr>
              <a:spLocks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1 w 1136"/>
                <a:gd name="T1" fmla="*/ 559 h 1181"/>
                <a:gd name="T2" fmla="*/ 11 w 1136"/>
                <a:gd name="T3" fmla="*/ 469 h 1181"/>
                <a:gd name="T4" fmla="*/ 34 w 1136"/>
                <a:gd name="T5" fmla="*/ 383 h 1181"/>
                <a:gd name="T6" fmla="*/ 68 w 1136"/>
                <a:gd name="T7" fmla="*/ 305 h 1181"/>
                <a:gd name="T8" fmla="*/ 113 w 1136"/>
                <a:gd name="T9" fmla="*/ 233 h 1181"/>
                <a:gd name="T10" fmla="*/ 168 w 1136"/>
                <a:gd name="T11" fmla="*/ 170 h 1181"/>
                <a:gd name="T12" fmla="*/ 231 w 1136"/>
                <a:gd name="T13" fmla="*/ 114 h 1181"/>
                <a:gd name="T14" fmla="*/ 302 w 1136"/>
                <a:gd name="T15" fmla="*/ 69 h 1181"/>
                <a:gd name="T16" fmla="*/ 381 w 1136"/>
                <a:gd name="T17" fmla="*/ 35 h 1181"/>
                <a:gd name="T18" fmla="*/ 466 w 1136"/>
                <a:gd name="T19" fmla="*/ 11 h 1181"/>
                <a:gd name="T20" fmla="*/ 557 w 1136"/>
                <a:gd name="T21" fmla="*/ 0 h 1181"/>
                <a:gd name="T22" fmla="*/ 617 w 1136"/>
                <a:gd name="T23" fmla="*/ 0 h 1181"/>
                <a:gd name="T24" fmla="*/ 702 w 1136"/>
                <a:gd name="T25" fmla="*/ 10 h 1181"/>
                <a:gd name="T26" fmla="*/ 781 w 1136"/>
                <a:gd name="T27" fmla="*/ 30 h 1181"/>
                <a:gd name="T28" fmla="*/ 853 w 1136"/>
                <a:gd name="T29" fmla="*/ 62 h 1181"/>
                <a:gd name="T30" fmla="*/ 918 w 1136"/>
                <a:gd name="T31" fmla="*/ 105 h 1181"/>
                <a:gd name="T32" fmla="*/ 975 w 1136"/>
                <a:gd name="T33" fmla="*/ 157 h 1181"/>
                <a:gd name="T34" fmla="*/ 1026 w 1136"/>
                <a:gd name="T35" fmla="*/ 220 h 1181"/>
                <a:gd name="T36" fmla="*/ 1067 w 1136"/>
                <a:gd name="T37" fmla="*/ 291 h 1181"/>
                <a:gd name="T38" fmla="*/ 1098 w 1136"/>
                <a:gd name="T39" fmla="*/ 371 h 1181"/>
                <a:gd name="T40" fmla="*/ 1121 w 1136"/>
                <a:gd name="T41" fmla="*/ 460 h 1181"/>
                <a:gd name="T42" fmla="*/ 1134 w 1136"/>
                <a:gd name="T43" fmla="*/ 556 h 1181"/>
                <a:gd name="T44" fmla="*/ 261 w 1136"/>
                <a:gd name="T45" fmla="*/ 658 h 1181"/>
                <a:gd name="T46" fmla="*/ 267 w 1136"/>
                <a:gd name="T47" fmla="*/ 689 h 1181"/>
                <a:gd name="T48" fmla="*/ 281 w 1136"/>
                <a:gd name="T49" fmla="*/ 731 h 1181"/>
                <a:gd name="T50" fmla="*/ 299 w 1136"/>
                <a:gd name="T51" fmla="*/ 770 h 1181"/>
                <a:gd name="T52" fmla="*/ 323 w 1136"/>
                <a:gd name="T53" fmla="*/ 806 h 1181"/>
                <a:gd name="T54" fmla="*/ 350 w 1136"/>
                <a:gd name="T55" fmla="*/ 837 h 1181"/>
                <a:gd name="T56" fmla="*/ 382 w 1136"/>
                <a:gd name="T57" fmla="*/ 865 h 1181"/>
                <a:gd name="T58" fmla="*/ 418 w 1136"/>
                <a:gd name="T59" fmla="*/ 887 h 1181"/>
                <a:gd name="T60" fmla="*/ 457 w 1136"/>
                <a:gd name="T61" fmla="*/ 907 h 1181"/>
                <a:gd name="T62" fmla="*/ 500 w 1136"/>
                <a:gd name="T63" fmla="*/ 920 h 1181"/>
                <a:gd name="T64" fmla="*/ 544 w 1136"/>
                <a:gd name="T65" fmla="*/ 928 h 1181"/>
                <a:gd name="T66" fmla="*/ 593 w 1136"/>
                <a:gd name="T67" fmla="*/ 931 h 1181"/>
                <a:gd name="T68" fmla="*/ 642 w 1136"/>
                <a:gd name="T69" fmla="*/ 928 h 1181"/>
                <a:gd name="T70" fmla="*/ 711 w 1136"/>
                <a:gd name="T71" fmla="*/ 914 h 1181"/>
                <a:gd name="T72" fmla="*/ 771 w 1136"/>
                <a:gd name="T73" fmla="*/ 891 h 1181"/>
                <a:gd name="T74" fmla="*/ 822 w 1136"/>
                <a:gd name="T75" fmla="*/ 861 h 1181"/>
                <a:gd name="T76" fmla="*/ 867 w 1136"/>
                <a:gd name="T77" fmla="*/ 825 h 1181"/>
                <a:gd name="T78" fmla="*/ 1061 w 1136"/>
                <a:gd name="T79" fmla="*/ 982 h 1181"/>
                <a:gd name="T80" fmla="*/ 1020 w 1136"/>
                <a:gd name="T81" fmla="*/ 1024 h 1181"/>
                <a:gd name="T82" fmla="*/ 949 w 1136"/>
                <a:gd name="T83" fmla="*/ 1079 h 1181"/>
                <a:gd name="T84" fmla="*/ 866 w 1136"/>
                <a:gd name="T85" fmla="*/ 1124 h 1181"/>
                <a:gd name="T86" fmla="*/ 770 w 1136"/>
                <a:gd name="T87" fmla="*/ 1157 h 1181"/>
                <a:gd name="T88" fmla="*/ 667 w 1136"/>
                <a:gd name="T89" fmla="*/ 1177 h 1181"/>
                <a:gd name="T90" fmla="*/ 593 w 1136"/>
                <a:gd name="T91" fmla="*/ 1181 h 1181"/>
                <a:gd name="T92" fmla="*/ 499 w 1136"/>
                <a:gd name="T93" fmla="*/ 1174 h 1181"/>
                <a:gd name="T94" fmla="*/ 411 w 1136"/>
                <a:gd name="T95" fmla="*/ 1155 h 1181"/>
                <a:gd name="T96" fmla="*/ 330 w 1136"/>
                <a:gd name="T97" fmla="*/ 1124 h 1181"/>
                <a:gd name="T98" fmla="*/ 255 w 1136"/>
                <a:gd name="T99" fmla="*/ 1082 h 1181"/>
                <a:gd name="T100" fmla="*/ 188 w 1136"/>
                <a:gd name="T101" fmla="*/ 1031 h 1181"/>
                <a:gd name="T102" fmla="*/ 131 w 1136"/>
                <a:gd name="T103" fmla="*/ 969 h 1181"/>
                <a:gd name="T104" fmla="*/ 83 w 1136"/>
                <a:gd name="T105" fmla="*/ 900 h 1181"/>
                <a:gd name="T106" fmla="*/ 45 w 1136"/>
                <a:gd name="T107" fmla="*/ 823 h 1181"/>
                <a:gd name="T108" fmla="*/ 17 w 1136"/>
                <a:gd name="T109" fmla="*/ 740 h 1181"/>
                <a:gd name="T110" fmla="*/ 3 w 1136"/>
                <a:gd name="T111" fmla="*/ 65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5"/>
            <p:cNvSpPr>
              <a:spLocks/>
            </p:cNvSpPr>
            <p:nvPr userDrawn="1"/>
          </p:nvSpPr>
          <p:spPr bwMode="auto">
            <a:xfrm>
              <a:off x="521" y="4099"/>
              <a:ext cx="39" cy="15"/>
            </a:xfrm>
            <a:custGeom>
              <a:avLst/>
              <a:gdLst>
                <a:gd name="T0" fmla="*/ 0 w 590"/>
                <a:gd name="T1" fmla="*/ 233 h 233"/>
                <a:gd name="T2" fmla="*/ 590 w 590"/>
                <a:gd name="T3" fmla="*/ 233 h 233"/>
                <a:gd name="T4" fmla="*/ 590 w 590"/>
                <a:gd name="T5" fmla="*/ 233 h 233"/>
                <a:gd name="T6" fmla="*/ 584 w 590"/>
                <a:gd name="T7" fmla="*/ 204 h 233"/>
                <a:gd name="T8" fmla="*/ 576 w 590"/>
                <a:gd name="T9" fmla="*/ 179 h 233"/>
                <a:gd name="T10" fmla="*/ 566 w 590"/>
                <a:gd name="T11" fmla="*/ 154 h 233"/>
                <a:gd name="T12" fmla="*/ 554 w 590"/>
                <a:gd name="T13" fmla="*/ 131 h 233"/>
                <a:gd name="T14" fmla="*/ 541 w 590"/>
                <a:gd name="T15" fmla="*/ 110 h 233"/>
                <a:gd name="T16" fmla="*/ 526 w 590"/>
                <a:gd name="T17" fmla="*/ 91 h 233"/>
                <a:gd name="T18" fmla="*/ 509 w 590"/>
                <a:gd name="T19" fmla="*/ 74 h 233"/>
                <a:gd name="T20" fmla="*/ 492 w 590"/>
                <a:gd name="T21" fmla="*/ 58 h 233"/>
                <a:gd name="T22" fmla="*/ 472 w 590"/>
                <a:gd name="T23" fmla="*/ 44 h 233"/>
                <a:gd name="T24" fmla="*/ 452 w 590"/>
                <a:gd name="T25" fmla="*/ 33 h 233"/>
                <a:gd name="T26" fmla="*/ 429 w 590"/>
                <a:gd name="T27" fmla="*/ 22 h 233"/>
                <a:gd name="T28" fmla="*/ 406 w 590"/>
                <a:gd name="T29" fmla="*/ 14 h 233"/>
                <a:gd name="T30" fmla="*/ 382 w 590"/>
                <a:gd name="T31" fmla="*/ 8 h 233"/>
                <a:gd name="T32" fmla="*/ 355 w 590"/>
                <a:gd name="T33" fmla="*/ 3 h 233"/>
                <a:gd name="T34" fmla="*/ 329 w 590"/>
                <a:gd name="T35" fmla="*/ 1 h 233"/>
                <a:gd name="T36" fmla="*/ 301 w 590"/>
                <a:gd name="T37" fmla="*/ 0 h 233"/>
                <a:gd name="T38" fmla="*/ 301 w 590"/>
                <a:gd name="T39" fmla="*/ 0 h 233"/>
                <a:gd name="T40" fmla="*/ 276 w 590"/>
                <a:gd name="T41" fmla="*/ 1 h 233"/>
                <a:gd name="T42" fmla="*/ 251 w 590"/>
                <a:gd name="T43" fmla="*/ 4 h 233"/>
                <a:gd name="T44" fmla="*/ 226 w 590"/>
                <a:gd name="T45" fmla="*/ 9 h 233"/>
                <a:gd name="T46" fmla="*/ 203 w 590"/>
                <a:gd name="T47" fmla="*/ 16 h 233"/>
                <a:gd name="T48" fmla="*/ 180 w 590"/>
                <a:gd name="T49" fmla="*/ 24 h 233"/>
                <a:gd name="T50" fmla="*/ 157 w 590"/>
                <a:gd name="T51" fmla="*/ 36 h 233"/>
                <a:gd name="T52" fmla="*/ 136 w 590"/>
                <a:gd name="T53" fmla="*/ 48 h 233"/>
                <a:gd name="T54" fmla="*/ 115 w 590"/>
                <a:gd name="T55" fmla="*/ 62 h 233"/>
                <a:gd name="T56" fmla="*/ 96 w 590"/>
                <a:gd name="T57" fmla="*/ 79 h 233"/>
                <a:gd name="T58" fmla="*/ 78 w 590"/>
                <a:gd name="T59" fmla="*/ 96 h 233"/>
                <a:gd name="T60" fmla="*/ 61 w 590"/>
                <a:gd name="T61" fmla="*/ 115 h 233"/>
                <a:gd name="T62" fmla="*/ 46 w 590"/>
                <a:gd name="T63" fmla="*/ 136 h 233"/>
                <a:gd name="T64" fmla="*/ 32 w 590"/>
                <a:gd name="T65" fmla="*/ 158 h 233"/>
                <a:gd name="T66" fmla="*/ 20 w 590"/>
                <a:gd name="T67" fmla="*/ 182 h 233"/>
                <a:gd name="T68" fmla="*/ 9 w 590"/>
                <a:gd name="T69" fmla="*/ 206 h 233"/>
                <a:gd name="T70" fmla="*/ 0 w 590"/>
                <a:gd name="T71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90" h="233">
                  <a:moveTo>
                    <a:pt x="0" y="233"/>
                  </a:moveTo>
                  <a:lnTo>
                    <a:pt x="590" y="233"/>
                  </a:lnTo>
                  <a:lnTo>
                    <a:pt x="590" y="233"/>
                  </a:lnTo>
                  <a:lnTo>
                    <a:pt x="584" y="204"/>
                  </a:lnTo>
                  <a:lnTo>
                    <a:pt x="576" y="179"/>
                  </a:lnTo>
                  <a:lnTo>
                    <a:pt x="566" y="154"/>
                  </a:lnTo>
                  <a:lnTo>
                    <a:pt x="554" y="131"/>
                  </a:lnTo>
                  <a:lnTo>
                    <a:pt x="541" y="110"/>
                  </a:lnTo>
                  <a:lnTo>
                    <a:pt x="526" y="91"/>
                  </a:lnTo>
                  <a:lnTo>
                    <a:pt x="509" y="74"/>
                  </a:lnTo>
                  <a:lnTo>
                    <a:pt x="492" y="58"/>
                  </a:lnTo>
                  <a:lnTo>
                    <a:pt x="472" y="44"/>
                  </a:lnTo>
                  <a:lnTo>
                    <a:pt x="452" y="33"/>
                  </a:lnTo>
                  <a:lnTo>
                    <a:pt x="429" y="22"/>
                  </a:lnTo>
                  <a:lnTo>
                    <a:pt x="406" y="14"/>
                  </a:lnTo>
                  <a:lnTo>
                    <a:pt x="382" y="8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276" y="1"/>
                  </a:lnTo>
                  <a:lnTo>
                    <a:pt x="251" y="4"/>
                  </a:lnTo>
                  <a:lnTo>
                    <a:pt x="226" y="9"/>
                  </a:lnTo>
                  <a:lnTo>
                    <a:pt x="203" y="16"/>
                  </a:lnTo>
                  <a:lnTo>
                    <a:pt x="180" y="24"/>
                  </a:lnTo>
                  <a:lnTo>
                    <a:pt x="157" y="36"/>
                  </a:lnTo>
                  <a:lnTo>
                    <a:pt x="136" y="48"/>
                  </a:lnTo>
                  <a:lnTo>
                    <a:pt x="115" y="62"/>
                  </a:lnTo>
                  <a:lnTo>
                    <a:pt x="96" y="79"/>
                  </a:lnTo>
                  <a:lnTo>
                    <a:pt x="78" y="96"/>
                  </a:lnTo>
                  <a:lnTo>
                    <a:pt x="61" y="115"/>
                  </a:lnTo>
                  <a:lnTo>
                    <a:pt x="46" y="136"/>
                  </a:lnTo>
                  <a:lnTo>
                    <a:pt x="32" y="158"/>
                  </a:lnTo>
                  <a:lnTo>
                    <a:pt x="20" y="182"/>
                  </a:lnTo>
                  <a:lnTo>
                    <a:pt x="9" y="206"/>
                  </a:lnTo>
                  <a:lnTo>
                    <a:pt x="0" y="2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16"/>
            <p:cNvSpPr>
              <a:spLocks/>
            </p:cNvSpPr>
            <p:nvPr userDrawn="1"/>
          </p:nvSpPr>
          <p:spPr bwMode="auto">
            <a:xfrm>
              <a:off x="588" y="4083"/>
              <a:ext cx="66" cy="79"/>
            </a:xfrm>
            <a:custGeom>
              <a:avLst/>
              <a:gdLst>
                <a:gd name="T0" fmla="*/ 720 w 988"/>
                <a:gd name="T1" fmla="*/ 1179 h 1179"/>
                <a:gd name="T2" fmla="*/ 720 w 988"/>
                <a:gd name="T3" fmla="*/ 493 h 1179"/>
                <a:gd name="T4" fmla="*/ 715 w 988"/>
                <a:gd name="T5" fmla="*/ 448 h 1179"/>
                <a:gd name="T6" fmla="*/ 702 w 988"/>
                <a:gd name="T7" fmla="*/ 405 h 1179"/>
                <a:gd name="T8" fmla="*/ 681 w 988"/>
                <a:gd name="T9" fmla="*/ 367 h 1179"/>
                <a:gd name="T10" fmla="*/ 654 w 988"/>
                <a:gd name="T11" fmla="*/ 333 h 1179"/>
                <a:gd name="T12" fmla="*/ 620 w 988"/>
                <a:gd name="T13" fmla="*/ 306 h 1179"/>
                <a:gd name="T14" fmla="*/ 582 w 988"/>
                <a:gd name="T15" fmla="*/ 285 h 1179"/>
                <a:gd name="T16" fmla="*/ 540 w 988"/>
                <a:gd name="T17" fmla="*/ 272 h 1179"/>
                <a:gd name="T18" fmla="*/ 493 w 988"/>
                <a:gd name="T19" fmla="*/ 268 h 1179"/>
                <a:gd name="T20" fmla="*/ 471 w 988"/>
                <a:gd name="T21" fmla="*/ 269 h 1179"/>
                <a:gd name="T22" fmla="*/ 427 w 988"/>
                <a:gd name="T23" fmla="*/ 278 h 1179"/>
                <a:gd name="T24" fmla="*/ 386 w 988"/>
                <a:gd name="T25" fmla="*/ 294 h 1179"/>
                <a:gd name="T26" fmla="*/ 350 w 988"/>
                <a:gd name="T27" fmla="*/ 319 h 1179"/>
                <a:gd name="T28" fmla="*/ 319 w 988"/>
                <a:gd name="T29" fmla="*/ 350 h 1179"/>
                <a:gd name="T30" fmla="*/ 295 w 988"/>
                <a:gd name="T31" fmla="*/ 385 h 1179"/>
                <a:gd name="T32" fmla="*/ 278 w 988"/>
                <a:gd name="T33" fmla="*/ 425 h 1179"/>
                <a:gd name="T34" fmla="*/ 269 w 988"/>
                <a:gd name="T35" fmla="*/ 469 h 1179"/>
                <a:gd name="T36" fmla="*/ 268 w 988"/>
                <a:gd name="T37" fmla="*/ 1179 h 1179"/>
                <a:gd name="T38" fmla="*/ 0 w 988"/>
                <a:gd name="T39" fmla="*/ 493 h 1179"/>
                <a:gd name="T40" fmla="*/ 0 w 988"/>
                <a:gd name="T41" fmla="*/ 467 h 1179"/>
                <a:gd name="T42" fmla="*/ 5 w 988"/>
                <a:gd name="T43" fmla="*/ 418 h 1179"/>
                <a:gd name="T44" fmla="*/ 15 w 988"/>
                <a:gd name="T45" fmla="*/ 370 h 1179"/>
                <a:gd name="T46" fmla="*/ 30 w 988"/>
                <a:gd name="T47" fmla="*/ 323 h 1179"/>
                <a:gd name="T48" fmla="*/ 48 w 988"/>
                <a:gd name="T49" fmla="*/ 279 h 1179"/>
                <a:gd name="T50" fmla="*/ 71 w 988"/>
                <a:gd name="T51" fmla="*/ 237 h 1179"/>
                <a:gd name="T52" fmla="*/ 97 w 988"/>
                <a:gd name="T53" fmla="*/ 198 h 1179"/>
                <a:gd name="T54" fmla="*/ 128 w 988"/>
                <a:gd name="T55" fmla="*/ 161 h 1179"/>
                <a:gd name="T56" fmla="*/ 162 w 988"/>
                <a:gd name="T57" fmla="*/ 129 h 1179"/>
                <a:gd name="T58" fmla="*/ 198 w 988"/>
                <a:gd name="T59" fmla="*/ 98 h 1179"/>
                <a:gd name="T60" fmla="*/ 238 w 988"/>
                <a:gd name="T61" fmla="*/ 71 h 1179"/>
                <a:gd name="T62" fmla="*/ 280 w 988"/>
                <a:gd name="T63" fmla="*/ 49 h 1179"/>
                <a:gd name="T64" fmla="*/ 324 w 988"/>
                <a:gd name="T65" fmla="*/ 30 h 1179"/>
                <a:gd name="T66" fmla="*/ 370 w 988"/>
                <a:gd name="T67" fmla="*/ 15 h 1179"/>
                <a:gd name="T68" fmla="*/ 419 w 988"/>
                <a:gd name="T69" fmla="*/ 6 h 1179"/>
                <a:gd name="T70" fmla="*/ 469 w 988"/>
                <a:gd name="T71" fmla="*/ 1 h 1179"/>
                <a:gd name="T72" fmla="*/ 493 w 988"/>
                <a:gd name="T73" fmla="*/ 0 h 1179"/>
                <a:gd name="T74" fmla="*/ 544 w 988"/>
                <a:gd name="T75" fmla="*/ 3 h 1179"/>
                <a:gd name="T76" fmla="*/ 593 w 988"/>
                <a:gd name="T77" fmla="*/ 10 h 1179"/>
                <a:gd name="T78" fmla="*/ 640 w 988"/>
                <a:gd name="T79" fmla="*/ 22 h 1179"/>
                <a:gd name="T80" fmla="*/ 686 w 988"/>
                <a:gd name="T81" fmla="*/ 39 h 1179"/>
                <a:gd name="T82" fmla="*/ 729 w 988"/>
                <a:gd name="T83" fmla="*/ 59 h 1179"/>
                <a:gd name="T84" fmla="*/ 769 w 988"/>
                <a:gd name="T85" fmla="*/ 85 h 1179"/>
                <a:gd name="T86" fmla="*/ 807 w 988"/>
                <a:gd name="T87" fmla="*/ 112 h 1179"/>
                <a:gd name="T88" fmla="*/ 843 w 988"/>
                <a:gd name="T89" fmla="*/ 145 h 1179"/>
                <a:gd name="T90" fmla="*/ 875 w 988"/>
                <a:gd name="T91" fmla="*/ 180 h 1179"/>
                <a:gd name="T92" fmla="*/ 904 w 988"/>
                <a:gd name="T93" fmla="*/ 218 h 1179"/>
                <a:gd name="T94" fmla="*/ 928 w 988"/>
                <a:gd name="T95" fmla="*/ 258 h 1179"/>
                <a:gd name="T96" fmla="*/ 949 w 988"/>
                <a:gd name="T97" fmla="*/ 301 h 1179"/>
                <a:gd name="T98" fmla="*/ 965 w 988"/>
                <a:gd name="T99" fmla="*/ 346 h 1179"/>
                <a:gd name="T100" fmla="*/ 978 w 988"/>
                <a:gd name="T101" fmla="*/ 393 h 1179"/>
                <a:gd name="T102" fmla="*/ 985 w 988"/>
                <a:gd name="T103" fmla="*/ 443 h 1179"/>
                <a:gd name="T104" fmla="*/ 988 w 988"/>
                <a:gd name="T105" fmla="*/ 493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88" h="1179">
                  <a:moveTo>
                    <a:pt x="988" y="1179"/>
                  </a:moveTo>
                  <a:lnTo>
                    <a:pt x="720" y="1179"/>
                  </a:lnTo>
                  <a:lnTo>
                    <a:pt x="720" y="493"/>
                  </a:lnTo>
                  <a:lnTo>
                    <a:pt x="720" y="493"/>
                  </a:lnTo>
                  <a:lnTo>
                    <a:pt x="718" y="469"/>
                  </a:lnTo>
                  <a:lnTo>
                    <a:pt x="715" y="448"/>
                  </a:lnTo>
                  <a:lnTo>
                    <a:pt x="710" y="425"/>
                  </a:lnTo>
                  <a:lnTo>
                    <a:pt x="702" y="405"/>
                  </a:lnTo>
                  <a:lnTo>
                    <a:pt x="692" y="385"/>
                  </a:lnTo>
                  <a:lnTo>
                    <a:pt x="681" y="367"/>
                  </a:lnTo>
                  <a:lnTo>
                    <a:pt x="668" y="350"/>
                  </a:lnTo>
                  <a:lnTo>
                    <a:pt x="654" y="333"/>
                  </a:lnTo>
                  <a:lnTo>
                    <a:pt x="637" y="319"/>
                  </a:lnTo>
                  <a:lnTo>
                    <a:pt x="620" y="306"/>
                  </a:lnTo>
                  <a:lnTo>
                    <a:pt x="601" y="294"/>
                  </a:lnTo>
                  <a:lnTo>
                    <a:pt x="582" y="285"/>
                  </a:lnTo>
                  <a:lnTo>
                    <a:pt x="561" y="278"/>
                  </a:lnTo>
                  <a:lnTo>
                    <a:pt x="540" y="272"/>
                  </a:lnTo>
                  <a:lnTo>
                    <a:pt x="517" y="269"/>
                  </a:lnTo>
                  <a:lnTo>
                    <a:pt x="493" y="268"/>
                  </a:lnTo>
                  <a:lnTo>
                    <a:pt x="493" y="268"/>
                  </a:lnTo>
                  <a:lnTo>
                    <a:pt x="471" y="269"/>
                  </a:lnTo>
                  <a:lnTo>
                    <a:pt x="448" y="272"/>
                  </a:lnTo>
                  <a:lnTo>
                    <a:pt x="427" y="278"/>
                  </a:lnTo>
                  <a:lnTo>
                    <a:pt x="406" y="285"/>
                  </a:lnTo>
                  <a:lnTo>
                    <a:pt x="386" y="294"/>
                  </a:lnTo>
                  <a:lnTo>
                    <a:pt x="367" y="306"/>
                  </a:lnTo>
                  <a:lnTo>
                    <a:pt x="350" y="319"/>
                  </a:lnTo>
                  <a:lnTo>
                    <a:pt x="334" y="333"/>
                  </a:lnTo>
                  <a:lnTo>
                    <a:pt x="319" y="350"/>
                  </a:lnTo>
                  <a:lnTo>
                    <a:pt x="307" y="367"/>
                  </a:lnTo>
                  <a:lnTo>
                    <a:pt x="295" y="385"/>
                  </a:lnTo>
                  <a:lnTo>
                    <a:pt x="285" y="405"/>
                  </a:lnTo>
                  <a:lnTo>
                    <a:pt x="278" y="425"/>
                  </a:lnTo>
                  <a:lnTo>
                    <a:pt x="273" y="448"/>
                  </a:lnTo>
                  <a:lnTo>
                    <a:pt x="269" y="469"/>
                  </a:lnTo>
                  <a:lnTo>
                    <a:pt x="268" y="493"/>
                  </a:lnTo>
                  <a:lnTo>
                    <a:pt x="268" y="1179"/>
                  </a:lnTo>
                  <a:lnTo>
                    <a:pt x="0" y="1179"/>
                  </a:lnTo>
                  <a:lnTo>
                    <a:pt x="0" y="493"/>
                  </a:lnTo>
                  <a:lnTo>
                    <a:pt x="0" y="493"/>
                  </a:lnTo>
                  <a:lnTo>
                    <a:pt x="0" y="467"/>
                  </a:lnTo>
                  <a:lnTo>
                    <a:pt x="2" y="443"/>
                  </a:lnTo>
                  <a:lnTo>
                    <a:pt x="5" y="418"/>
                  </a:lnTo>
                  <a:lnTo>
                    <a:pt x="9" y="393"/>
                  </a:lnTo>
                  <a:lnTo>
                    <a:pt x="15" y="370"/>
                  </a:lnTo>
                  <a:lnTo>
                    <a:pt x="21" y="346"/>
                  </a:lnTo>
                  <a:lnTo>
                    <a:pt x="30" y="323"/>
                  </a:lnTo>
                  <a:lnTo>
                    <a:pt x="39" y="301"/>
                  </a:lnTo>
                  <a:lnTo>
                    <a:pt x="48" y="279"/>
                  </a:lnTo>
                  <a:lnTo>
                    <a:pt x="59" y="258"/>
                  </a:lnTo>
                  <a:lnTo>
                    <a:pt x="71" y="237"/>
                  </a:lnTo>
                  <a:lnTo>
                    <a:pt x="84" y="218"/>
                  </a:lnTo>
                  <a:lnTo>
                    <a:pt x="97" y="198"/>
                  </a:lnTo>
                  <a:lnTo>
                    <a:pt x="113" y="180"/>
                  </a:lnTo>
                  <a:lnTo>
                    <a:pt x="128" y="161"/>
                  </a:lnTo>
                  <a:lnTo>
                    <a:pt x="145" y="145"/>
                  </a:lnTo>
                  <a:lnTo>
                    <a:pt x="162" y="129"/>
                  </a:lnTo>
                  <a:lnTo>
                    <a:pt x="179" y="112"/>
                  </a:lnTo>
                  <a:lnTo>
                    <a:pt x="198" y="98"/>
                  </a:lnTo>
                  <a:lnTo>
                    <a:pt x="217" y="85"/>
                  </a:lnTo>
                  <a:lnTo>
                    <a:pt x="238" y="71"/>
                  </a:lnTo>
                  <a:lnTo>
                    <a:pt x="258" y="59"/>
                  </a:lnTo>
                  <a:lnTo>
                    <a:pt x="280" y="49"/>
                  </a:lnTo>
                  <a:lnTo>
                    <a:pt x="302" y="39"/>
                  </a:lnTo>
                  <a:lnTo>
                    <a:pt x="324" y="30"/>
                  </a:lnTo>
                  <a:lnTo>
                    <a:pt x="347" y="22"/>
                  </a:lnTo>
                  <a:lnTo>
                    <a:pt x="370" y="15"/>
                  </a:lnTo>
                  <a:lnTo>
                    <a:pt x="394" y="10"/>
                  </a:lnTo>
                  <a:lnTo>
                    <a:pt x="419" y="6"/>
                  </a:lnTo>
                  <a:lnTo>
                    <a:pt x="443" y="3"/>
                  </a:lnTo>
                  <a:lnTo>
                    <a:pt x="469" y="1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519" y="1"/>
                  </a:lnTo>
                  <a:lnTo>
                    <a:pt x="544" y="3"/>
                  </a:lnTo>
                  <a:lnTo>
                    <a:pt x="569" y="6"/>
                  </a:lnTo>
                  <a:lnTo>
                    <a:pt x="593" y="10"/>
                  </a:lnTo>
                  <a:lnTo>
                    <a:pt x="618" y="15"/>
                  </a:lnTo>
                  <a:lnTo>
                    <a:pt x="640" y="22"/>
                  </a:lnTo>
                  <a:lnTo>
                    <a:pt x="664" y="30"/>
                  </a:lnTo>
                  <a:lnTo>
                    <a:pt x="686" y="39"/>
                  </a:lnTo>
                  <a:lnTo>
                    <a:pt x="708" y="49"/>
                  </a:lnTo>
                  <a:lnTo>
                    <a:pt x="729" y="59"/>
                  </a:lnTo>
                  <a:lnTo>
                    <a:pt x="750" y="71"/>
                  </a:lnTo>
                  <a:lnTo>
                    <a:pt x="769" y="85"/>
                  </a:lnTo>
                  <a:lnTo>
                    <a:pt x="789" y="98"/>
                  </a:lnTo>
                  <a:lnTo>
                    <a:pt x="807" y="112"/>
                  </a:lnTo>
                  <a:lnTo>
                    <a:pt x="826" y="129"/>
                  </a:lnTo>
                  <a:lnTo>
                    <a:pt x="843" y="145"/>
                  </a:lnTo>
                  <a:lnTo>
                    <a:pt x="860" y="161"/>
                  </a:lnTo>
                  <a:lnTo>
                    <a:pt x="875" y="180"/>
                  </a:lnTo>
                  <a:lnTo>
                    <a:pt x="889" y="198"/>
                  </a:lnTo>
                  <a:lnTo>
                    <a:pt x="904" y="218"/>
                  </a:lnTo>
                  <a:lnTo>
                    <a:pt x="916" y="237"/>
                  </a:lnTo>
                  <a:lnTo>
                    <a:pt x="928" y="258"/>
                  </a:lnTo>
                  <a:lnTo>
                    <a:pt x="939" y="279"/>
                  </a:lnTo>
                  <a:lnTo>
                    <a:pt x="949" y="301"/>
                  </a:lnTo>
                  <a:lnTo>
                    <a:pt x="958" y="323"/>
                  </a:lnTo>
                  <a:lnTo>
                    <a:pt x="965" y="346"/>
                  </a:lnTo>
                  <a:lnTo>
                    <a:pt x="973" y="370"/>
                  </a:lnTo>
                  <a:lnTo>
                    <a:pt x="978" y="393"/>
                  </a:lnTo>
                  <a:lnTo>
                    <a:pt x="982" y="418"/>
                  </a:lnTo>
                  <a:lnTo>
                    <a:pt x="985" y="443"/>
                  </a:lnTo>
                  <a:lnTo>
                    <a:pt x="987" y="467"/>
                  </a:lnTo>
                  <a:lnTo>
                    <a:pt x="988" y="493"/>
                  </a:lnTo>
                  <a:lnTo>
                    <a:pt x="988" y="11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17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18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9004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Rectangle 43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66" name="Group 565"/>
          <p:cNvGrpSpPr/>
          <p:nvPr userDrawn="1"/>
        </p:nvGrpSpPr>
        <p:grpSpPr>
          <a:xfrm>
            <a:off x="344587" y="5301326"/>
            <a:ext cx="11847413" cy="1418438"/>
            <a:chOff x="0" y="5409807"/>
            <a:chExt cx="11847413" cy="1418438"/>
          </a:xfrm>
        </p:grpSpPr>
        <p:sp>
          <p:nvSpPr>
            <p:cNvPr id="567" name="Oval 566"/>
            <p:cNvSpPr/>
            <p:nvPr/>
          </p:nvSpPr>
          <p:spPr>
            <a:xfrm rot="5400000">
              <a:off x="0" y="600511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1" name="Oval 570"/>
            <p:cNvSpPr/>
            <p:nvPr/>
          </p:nvSpPr>
          <p:spPr>
            <a:xfrm rot="5400000">
              <a:off x="596266" y="600511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3" name="Oval 572"/>
            <p:cNvSpPr/>
            <p:nvPr/>
          </p:nvSpPr>
          <p:spPr>
            <a:xfrm rot="5400000">
              <a:off x="893538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4" name="Oval 573"/>
            <p:cNvSpPr/>
            <p:nvPr/>
          </p:nvSpPr>
          <p:spPr>
            <a:xfrm rot="5400000">
              <a:off x="1188586" y="600511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5" name="Oval 574"/>
            <p:cNvSpPr/>
            <p:nvPr/>
          </p:nvSpPr>
          <p:spPr>
            <a:xfrm rot="5400000">
              <a:off x="1188586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6" name="Oval 575"/>
            <p:cNvSpPr/>
            <p:nvPr/>
          </p:nvSpPr>
          <p:spPr>
            <a:xfrm rot="5400000">
              <a:off x="1188586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7" name="Oval 576"/>
            <p:cNvSpPr/>
            <p:nvPr/>
          </p:nvSpPr>
          <p:spPr>
            <a:xfrm rot="5400000">
              <a:off x="1487036" y="570746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8" name="Oval 577"/>
            <p:cNvSpPr/>
            <p:nvPr/>
          </p:nvSpPr>
          <p:spPr>
            <a:xfrm rot="5400000">
              <a:off x="1487036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0" name="Oval 579"/>
            <p:cNvSpPr/>
            <p:nvPr/>
          </p:nvSpPr>
          <p:spPr>
            <a:xfrm rot="5400000">
              <a:off x="1785482" y="60051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1" name="Oval 580"/>
            <p:cNvSpPr/>
            <p:nvPr/>
          </p:nvSpPr>
          <p:spPr>
            <a:xfrm rot="5400000">
              <a:off x="1785482" y="630277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3" name="Oval 582"/>
            <p:cNvSpPr/>
            <p:nvPr/>
          </p:nvSpPr>
          <p:spPr>
            <a:xfrm rot="5400000">
              <a:off x="2084611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4" name="Oval 583"/>
            <p:cNvSpPr/>
            <p:nvPr/>
          </p:nvSpPr>
          <p:spPr>
            <a:xfrm rot="5400000">
              <a:off x="2383057" y="540980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5" name="Oval 584"/>
            <p:cNvSpPr/>
            <p:nvPr/>
          </p:nvSpPr>
          <p:spPr>
            <a:xfrm rot="5400000">
              <a:off x="2383057" y="570746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6" name="Oval 585"/>
            <p:cNvSpPr/>
            <p:nvPr/>
          </p:nvSpPr>
          <p:spPr>
            <a:xfrm rot="5400000">
              <a:off x="2383057" y="600511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7" name="Oval 586"/>
            <p:cNvSpPr/>
            <p:nvPr/>
          </p:nvSpPr>
          <p:spPr>
            <a:xfrm rot="5400000">
              <a:off x="2383057" y="630277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8" name="Oval 587"/>
            <p:cNvSpPr/>
            <p:nvPr/>
          </p:nvSpPr>
          <p:spPr>
            <a:xfrm rot="5400000">
              <a:off x="2383057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9" name="Oval 588"/>
            <p:cNvSpPr/>
            <p:nvPr/>
          </p:nvSpPr>
          <p:spPr>
            <a:xfrm rot="5400000">
              <a:off x="2677499" y="57074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0" name="Oval 589"/>
            <p:cNvSpPr/>
            <p:nvPr/>
          </p:nvSpPr>
          <p:spPr>
            <a:xfrm rot="5400000">
              <a:off x="2677499" y="60051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1" name="Oval 590"/>
            <p:cNvSpPr/>
            <p:nvPr/>
          </p:nvSpPr>
          <p:spPr>
            <a:xfrm rot="5400000">
              <a:off x="2981320" y="600512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2" name="Oval 591"/>
            <p:cNvSpPr/>
            <p:nvPr/>
          </p:nvSpPr>
          <p:spPr>
            <a:xfrm rot="5400000">
              <a:off x="2981320" y="630277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3" name="Oval 592"/>
            <p:cNvSpPr/>
            <p:nvPr/>
          </p:nvSpPr>
          <p:spPr>
            <a:xfrm rot="5400000">
              <a:off x="2981320" y="660043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4" name="Oval 593"/>
            <p:cNvSpPr/>
            <p:nvPr/>
          </p:nvSpPr>
          <p:spPr>
            <a:xfrm rot="5400000">
              <a:off x="3278592" y="660043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5" name="Oval 594"/>
            <p:cNvSpPr/>
            <p:nvPr/>
          </p:nvSpPr>
          <p:spPr>
            <a:xfrm rot="5400000">
              <a:off x="3566662" y="570746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6" name="Oval 595"/>
            <p:cNvSpPr/>
            <p:nvPr/>
          </p:nvSpPr>
          <p:spPr>
            <a:xfrm rot="5400000">
              <a:off x="3566662" y="630277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7" name="Oval 596"/>
            <p:cNvSpPr/>
            <p:nvPr/>
          </p:nvSpPr>
          <p:spPr>
            <a:xfrm rot="5400000">
              <a:off x="3865791" y="600512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8" name="Oval 597"/>
            <p:cNvSpPr/>
            <p:nvPr/>
          </p:nvSpPr>
          <p:spPr>
            <a:xfrm rot="5400000">
              <a:off x="3865791" y="660043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9" name="Oval 598"/>
            <p:cNvSpPr/>
            <p:nvPr/>
          </p:nvSpPr>
          <p:spPr>
            <a:xfrm rot="5400000">
              <a:off x="4164237" y="540981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0" name="Oval 599"/>
            <p:cNvSpPr/>
            <p:nvPr/>
          </p:nvSpPr>
          <p:spPr>
            <a:xfrm rot="5400000">
              <a:off x="4164237" y="660043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1" name="Oval 600"/>
            <p:cNvSpPr/>
            <p:nvPr/>
          </p:nvSpPr>
          <p:spPr>
            <a:xfrm rot="5400000">
              <a:off x="4458679" y="600512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2" name="Oval 601"/>
            <p:cNvSpPr/>
            <p:nvPr/>
          </p:nvSpPr>
          <p:spPr>
            <a:xfrm rot="5400000">
              <a:off x="4458679" y="660043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3" name="Oval 602"/>
            <p:cNvSpPr/>
            <p:nvPr/>
          </p:nvSpPr>
          <p:spPr>
            <a:xfrm rot="5400000">
              <a:off x="4762499" y="630278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4" name="Oval 603"/>
            <p:cNvSpPr/>
            <p:nvPr/>
          </p:nvSpPr>
          <p:spPr>
            <a:xfrm rot="5400000">
              <a:off x="5059770" y="570746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5" name="Oval 604"/>
            <p:cNvSpPr/>
            <p:nvPr/>
          </p:nvSpPr>
          <p:spPr>
            <a:xfrm rot="5400000">
              <a:off x="5059770" y="630278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6" name="Oval 605"/>
            <p:cNvSpPr/>
            <p:nvPr/>
          </p:nvSpPr>
          <p:spPr>
            <a:xfrm rot="5400000">
              <a:off x="5059770" y="660043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7" name="Oval 606"/>
            <p:cNvSpPr/>
            <p:nvPr/>
          </p:nvSpPr>
          <p:spPr>
            <a:xfrm rot="5400000">
              <a:off x="5362575" y="600511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8" name="Oval 607"/>
            <p:cNvSpPr/>
            <p:nvPr/>
          </p:nvSpPr>
          <p:spPr>
            <a:xfrm rot="5400000">
              <a:off x="5362575" y="660042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9" name="Oval 608"/>
            <p:cNvSpPr/>
            <p:nvPr/>
          </p:nvSpPr>
          <p:spPr>
            <a:xfrm rot="5400000">
              <a:off x="5664201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0" name="Oval 609"/>
            <p:cNvSpPr/>
            <p:nvPr/>
          </p:nvSpPr>
          <p:spPr>
            <a:xfrm rot="5400000">
              <a:off x="5664201" y="660042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1" name="Oval 610"/>
            <p:cNvSpPr/>
            <p:nvPr/>
          </p:nvSpPr>
          <p:spPr>
            <a:xfrm rot="5400000">
              <a:off x="5958841" y="600511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2" name="Oval 611"/>
            <p:cNvSpPr/>
            <p:nvPr userDrawn="1"/>
          </p:nvSpPr>
          <p:spPr>
            <a:xfrm rot="5400000">
              <a:off x="5958841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3" name="Oval 612"/>
            <p:cNvSpPr/>
            <p:nvPr/>
          </p:nvSpPr>
          <p:spPr>
            <a:xfrm rot="5400000">
              <a:off x="6256113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4" name="Oval 613"/>
            <p:cNvSpPr/>
            <p:nvPr/>
          </p:nvSpPr>
          <p:spPr>
            <a:xfrm rot="5400000">
              <a:off x="6551161" y="600511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5" name="Oval 614"/>
            <p:cNvSpPr/>
            <p:nvPr/>
          </p:nvSpPr>
          <p:spPr>
            <a:xfrm rot="5400000">
              <a:off x="6551161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6" name="Oval 615"/>
            <p:cNvSpPr/>
            <p:nvPr/>
          </p:nvSpPr>
          <p:spPr>
            <a:xfrm rot="5400000">
              <a:off x="6551161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7" name="Oval 616"/>
            <p:cNvSpPr/>
            <p:nvPr/>
          </p:nvSpPr>
          <p:spPr>
            <a:xfrm rot="5400000">
              <a:off x="6849611" y="570746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8" name="Oval 617"/>
            <p:cNvSpPr/>
            <p:nvPr/>
          </p:nvSpPr>
          <p:spPr>
            <a:xfrm rot="5400000">
              <a:off x="6849611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9" name="Oval 618"/>
            <p:cNvSpPr/>
            <p:nvPr/>
          </p:nvSpPr>
          <p:spPr>
            <a:xfrm rot="5400000">
              <a:off x="6849611" y="660042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0" name="Oval 619"/>
            <p:cNvSpPr/>
            <p:nvPr/>
          </p:nvSpPr>
          <p:spPr>
            <a:xfrm rot="5400000">
              <a:off x="7148057" y="60051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1" name="Oval 620"/>
            <p:cNvSpPr/>
            <p:nvPr/>
          </p:nvSpPr>
          <p:spPr>
            <a:xfrm rot="5400000">
              <a:off x="7148057" y="630277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2" name="Oval 621"/>
            <p:cNvSpPr/>
            <p:nvPr/>
          </p:nvSpPr>
          <p:spPr>
            <a:xfrm rot="5400000">
              <a:off x="7148057" y="660043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3" name="Oval 622"/>
            <p:cNvSpPr/>
            <p:nvPr/>
          </p:nvSpPr>
          <p:spPr>
            <a:xfrm rot="5400000">
              <a:off x="7447186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4" name="Oval 623"/>
            <p:cNvSpPr/>
            <p:nvPr/>
          </p:nvSpPr>
          <p:spPr>
            <a:xfrm rot="5400000">
              <a:off x="7745632" y="540980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5" name="Oval 624"/>
            <p:cNvSpPr/>
            <p:nvPr/>
          </p:nvSpPr>
          <p:spPr>
            <a:xfrm rot="5400000">
              <a:off x="7745632" y="570746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6" name="Oval 625"/>
            <p:cNvSpPr/>
            <p:nvPr/>
          </p:nvSpPr>
          <p:spPr>
            <a:xfrm rot="5400000">
              <a:off x="7745632" y="6005119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7" name="Oval 626"/>
            <p:cNvSpPr/>
            <p:nvPr/>
          </p:nvSpPr>
          <p:spPr>
            <a:xfrm rot="5400000">
              <a:off x="7745632" y="630277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8" name="Oval 627"/>
            <p:cNvSpPr/>
            <p:nvPr/>
          </p:nvSpPr>
          <p:spPr>
            <a:xfrm rot="5400000">
              <a:off x="7745632" y="660043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9" name="Oval 628"/>
            <p:cNvSpPr/>
            <p:nvPr/>
          </p:nvSpPr>
          <p:spPr>
            <a:xfrm rot="5400000">
              <a:off x="8040074" y="57074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0" name="Oval 629"/>
            <p:cNvSpPr/>
            <p:nvPr/>
          </p:nvSpPr>
          <p:spPr>
            <a:xfrm rot="5400000">
              <a:off x="8040074" y="60051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1" name="Oval 630"/>
            <p:cNvSpPr/>
            <p:nvPr/>
          </p:nvSpPr>
          <p:spPr>
            <a:xfrm rot="5400000">
              <a:off x="8343894" y="600512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2" name="Oval 631"/>
            <p:cNvSpPr/>
            <p:nvPr/>
          </p:nvSpPr>
          <p:spPr>
            <a:xfrm rot="5400000">
              <a:off x="8343894" y="630277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3" name="Oval 632"/>
            <p:cNvSpPr/>
            <p:nvPr/>
          </p:nvSpPr>
          <p:spPr>
            <a:xfrm rot="5400000">
              <a:off x="8343894" y="660043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4" name="Oval 633"/>
            <p:cNvSpPr/>
            <p:nvPr/>
          </p:nvSpPr>
          <p:spPr>
            <a:xfrm rot="5400000">
              <a:off x="8641166" y="660043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5" name="Oval 634"/>
            <p:cNvSpPr/>
            <p:nvPr/>
          </p:nvSpPr>
          <p:spPr>
            <a:xfrm rot="5400000">
              <a:off x="8929236" y="570746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6" name="Oval 635"/>
            <p:cNvSpPr/>
            <p:nvPr/>
          </p:nvSpPr>
          <p:spPr>
            <a:xfrm rot="5400000">
              <a:off x="8929236" y="630277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7" name="Oval 636"/>
            <p:cNvSpPr/>
            <p:nvPr/>
          </p:nvSpPr>
          <p:spPr>
            <a:xfrm rot="5400000">
              <a:off x="9228366" y="600512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8" name="Oval 637"/>
            <p:cNvSpPr/>
            <p:nvPr/>
          </p:nvSpPr>
          <p:spPr>
            <a:xfrm rot="5400000">
              <a:off x="9228366" y="660043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9" name="Oval 638"/>
            <p:cNvSpPr/>
            <p:nvPr/>
          </p:nvSpPr>
          <p:spPr>
            <a:xfrm rot="5400000">
              <a:off x="9526812" y="540981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0" name="Oval 639"/>
            <p:cNvSpPr/>
            <p:nvPr/>
          </p:nvSpPr>
          <p:spPr>
            <a:xfrm rot="5400000">
              <a:off x="9526812" y="660043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1" name="Oval 640"/>
            <p:cNvSpPr/>
            <p:nvPr/>
          </p:nvSpPr>
          <p:spPr>
            <a:xfrm rot="5400000">
              <a:off x="9821254" y="600512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2" name="Oval 641"/>
            <p:cNvSpPr/>
            <p:nvPr/>
          </p:nvSpPr>
          <p:spPr>
            <a:xfrm rot="5400000">
              <a:off x="9821254" y="660043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3" name="Oval 642"/>
            <p:cNvSpPr/>
            <p:nvPr/>
          </p:nvSpPr>
          <p:spPr>
            <a:xfrm rot="5400000">
              <a:off x="10125074" y="6302781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4" name="Oval 643"/>
            <p:cNvSpPr/>
            <p:nvPr/>
          </p:nvSpPr>
          <p:spPr>
            <a:xfrm rot="5400000">
              <a:off x="10422346" y="570747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5" name="Oval 644"/>
            <p:cNvSpPr/>
            <p:nvPr/>
          </p:nvSpPr>
          <p:spPr>
            <a:xfrm rot="5400000">
              <a:off x="10422346" y="630278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6" name="Oval 645"/>
            <p:cNvSpPr/>
            <p:nvPr/>
          </p:nvSpPr>
          <p:spPr>
            <a:xfrm rot="5400000">
              <a:off x="10422346" y="660043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7" name="Oval 646"/>
            <p:cNvSpPr/>
            <p:nvPr/>
          </p:nvSpPr>
          <p:spPr>
            <a:xfrm rot="5400000">
              <a:off x="10726068" y="6005115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8" name="Oval 647"/>
            <p:cNvSpPr/>
            <p:nvPr/>
          </p:nvSpPr>
          <p:spPr>
            <a:xfrm rot="5400000">
              <a:off x="10726068" y="6600427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9" name="Oval 648"/>
            <p:cNvSpPr/>
            <p:nvPr/>
          </p:nvSpPr>
          <p:spPr>
            <a:xfrm rot="5400000">
              <a:off x="11027694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0" name="Oval 649"/>
            <p:cNvSpPr/>
            <p:nvPr/>
          </p:nvSpPr>
          <p:spPr>
            <a:xfrm rot="5400000">
              <a:off x="11322334" y="600511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1" name="Oval 650"/>
            <p:cNvSpPr/>
            <p:nvPr userDrawn="1"/>
          </p:nvSpPr>
          <p:spPr>
            <a:xfrm rot="5400000">
              <a:off x="11322334" y="630277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2" name="Oval 651"/>
            <p:cNvSpPr/>
            <p:nvPr/>
          </p:nvSpPr>
          <p:spPr>
            <a:xfrm rot="5400000">
              <a:off x="11619606" y="6302773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53" name="Tijdelijke aanduiding voor tekst 10">
            <a:extLst>
              <a:ext uri="{FF2B5EF4-FFF2-40B4-BE49-F238E27FC236}">
                <a16:creationId xmlns:a16="http://schemas.microsoft.com/office/drawing/2014/main" id="{0BF1D710-5F93-4654-8D54-CD40B1D335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3" y="4768439"/>
            <a:ext cx="10658474" cy="881063"/>
          </a:xfrm>
          <a:prstGeom prst="rect">
            <a:avLst/>
          </a:prstGeom>
        </p:spPr>
        <p:txBody>
          <a:bodyPr lIns="1828800" tIns="0" rIns="1828800" bIns="0">
            <a:normAutofit/>
          </a:bodyPr>
          <a:lstStyle>
            <a:lvl1pPr marL="0" indent="0" algn="ctr">
              <a:buFontTx/>
              <a:buNone/>
              <a:defRPr sz="2000" b="0" baseline="0">
                <a:solidFill>
                  <a:schemeClr val="accent3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nl-BE" smtClean="0"/>
              <a:t>Click to add a name</a:t>
            </a:r>
            <a:endParaRPr lang="en-BE" dirty="0"/>
          </a:p>
        </p:txBody>
      </p:sp>
      <p:sp>
        <p:nvSpPr>
          <p:cNvPr id="654" name="Tijdelijke aanduiding voor tekst 8">
            <a:extLst>
              <a:ext uri="{FF2B5EF4-FFF2-40B4-BE49-F238E27FC236}">
                <a16:creationId xmlns:a16="http://schemas.microsoft.com/office/drawing/2014/main" id="{7F4BDD94-FB2C-4502-A2BB-86CAD3E599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6763" y="2324100"/>
            <a:ext cx="10658474" cy="2197100"/>
          </a:xfrm>
          <a:prstGeom prst="rect">
            <a:avLst/>
          </a:prstGeom>
        </p:spPr>
        <p:txBody>
          <a:bodyPr lIns="1371600" tIns="0" rIns="1371600" bIns="0" anchor="ctr" anchorCtr="0">
            <a:no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3200">
                <a:solidFill>
                  <a:schemeClr val="bg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nl-NL" smtClean="0"/>
              <a:t>Click to add a quote</a:t>
            </a:r>
            <a:endParaRPr lang="nl-NL" dirty="0"/>
          </a:p>
        </p:txBody>
      </p:sp>
      <p:pic>
        <p:nvPicPr>
          <p:cNvPr id="217" name="Picture 2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8560" y="1055688"/>
            <a:ext cx="972444" cy="1153070"/>
          </a:xfrm>
          <a:prstGeom prst="rect">
            <a:avLst/>
          </a:prstGeom>
        </p:spPr>
      </p:pic>
      <p:sp>
        <p:nvSpPr>
          <p:cNvPr id="97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98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780824" y="6479665"/>
            <a:ext cx="0" cy="4028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oup 4"/>
          <p:cNvGrpSpPr>
            <a:grpSpLocks noChangeAspect="1"/>
          </p:cNvGrpSpPr>
          <p:nvPr userDrawn="1"/>
        </p:nvGrpSpPr>
        <p:grpSpPr bwMode="auto">
          <a:xfrm>
            <a:off x="304800" y="6440488"/>
            <a:ext cx="733425" cy="166687"/>
            <a:chOff x="192" y="4057"/>
            <a:chExt cx="462" cy="105"/>
          </a:xfrm>
        </p:grpSpPr>
        <p:sp>
          <p:nvSpPr>
            <p:cNvPr id="10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92" y="4057"/>
              <a:ext cx="46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Freeform 5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6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7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8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9"/>
            <p:cNvSpPr>
              <a:spLocks/>
            </p:cNvSpPr>
            <p:nvPr userDrawn="1"/>
          </p:nvSpPr>
          <p:spPr bwMode="auto">
            <a:xfrm>
              <a:off x="351" y="4121"/>
              <a:ext cx="59" cy="41"/>
            </a:xfrm>
            <a:custGeom>
              <a:avLst/>
              <a:gdLst>
                <a:gd name="T0" fmla="*/ 884 w 884"/>
                <a:gd name="T1" fmla="*/ 618 h 618"/>
                <a:gd name="T2" fmla="*/ 339 w 884"/>
                <a:gd name="T3" fmla="*/ 0 h 618"/>
                <a:gd name="T4" fmla="*/ 0 w 884"/>
                <a:gd name="T5" fmla="*/ 0 h 618"/>
                <a:gd name="T6" fmla="*/ 539 w 884"/>
                <a:gd name="T7" fmla="*/ 618 h 618"/>
                <a:gd name="T8" fmla="*/ 884 w 884"/>
                <a:gd name="T9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4" h="618">
                  <a:moveTo>
                    <a:pt x="884" y="618"/>
                  </a:moveTo>
                  <a:lnTo>
                    <a:pt x="339" y="0"/>
                  </a:lnTo>
                  <a:lnTo>
                    <a:pt x="0" y="0"/>
                  </a:lnTo>
                  <a:lnTo>
                    <a:pt x="539" y="618"/>
                  </a:lnTo>
                  <a:lnTo>
                    <a:pt x="884" y="6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0"/>
            <p:cNvSpPr>
              <a:spLocks/>
            </p:cNvSpPr>
            <p:nvPr userDrawn="1"/>
          </p:nvSpPr>
          <p:spPr bwMode="auto">
            <a:xfrm>
              <a:off x="330" y="4057"/>
              <a:ext cx="17" cy="105"/>
            </a:xfrm>
            <a:custGeom>
              <a:avLst/>
              <a:gdLst>
                <a:gd name="T0" fmla="*/ 0 w 253"/>
                <a:gd name="T1" fmla="*/ 0 h 1572"/>
                <a:gd name="T2" fmla="*/ 0 w 253"/>
                <a:gd name="T3" fmla="*/ 1572 h 1572"/>
                <a:gd name="T4" fmla="*/ 253 w 253"/>
                <a:gd name="T5" fmla="*/ 1572 h 1572"/>
                <a:gd name="T6" fmla="*/ 253 w 253"/>
                <a:gd name="T7" fmla="*/ 999 h 1572"/>
                <a:gd name="T8" fmla="*/ 253 w 253"/>
                <a:gd name="T9" fmla="*/ 1000 h 1572"/>
                <a:gd name="T10" fmla="*/ 253 w 253"/>
                <a:gd name="T11" fmla="*/ 941 h 1572"/>
                <a:gd name="T12" fmla="*/ 253 w 253"/>
                <a:gd name="T13" fmla="*/ 942 h 1572"/>
                <a:gd name="T14" fmla="*/ 253 w 253"/>
                <a:gd name="T15" fmla="*/ 0 h 1572"/>
                <a:gd name="T16" fmla="*/ 0 w 253"/>
                <a:gd name="T17" fmla="*/ 0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1572">
                  <a:moveTo>
                    <a:pt x="0" y="0"/>
                  </a:moveTo>
                  <a:lnTo>
                    <a:pt x="0" y="1572"/>
                  </a:lnTo>
                  <a:lnTo>
                    <a:pt x="253" y="1572"/>
                  </a:lnTo>
                  <a:lnTo>
                    <a:pt x="253" y="999"/>
                  </a:lnTo>
                  <a:lnTo>
                    <a:pt x="253" y="1000"/>
                  </a:lnTo>
                  <a:lnTo>
                    <a:pt x="253" y="941"/>
                  </a:lnTo>
                  <a:lnTo>
                    <a:pt x="253" y="942"/>
                  </a:lnTo>
                  <a:lnTo>
                    <a:pt x="2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1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2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3"/>
            <p:cNvSpPr>
              <a:spLocks noEditPoints="1"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3 w 1136"/>
                <a:gd name="T1" fmla="*/ 529 h 1181"/>
                <a:gd name="T2" fmla="*/ 25 w 1136"/>
                <a:gd name="T3" fmla="*/ 412 h 1181"/>
                <a:gd name="T4" fmla="*/ 68 w 1136"/>
                <a:gd name="T5" fmla="*/ 305 h 1181"/>
                <a:gd name="T6" fmla="*/ 130 w 1136"/>
                <a:gd name="T7" fmla="*/ 211 h 1181"/>
                <a:gd name="T8" fmla="*/ 209 w 1136"/>
                <a:gd name="T9" fmla="*/ 132 h 1181"/>
                <a:gd name="T10" fmla="*/ 302 w 1136"/>
                <a:gd name="T11" fmla="*/ 69 h 1181"/>
                <a:gd name="T12" fmla="*/ 409 w 1136"/>
                <a:gd name="T13" fmla="*/ 25 h 1181"/>
                <a:gd name="T14" fmla="*/ 526 w 1136"/>
                <a:gd name="T15" fmla="*/ 3 h 1181"/>
                <a:gd name="T16" fmla="*/ 617 w 1136"/>
                <a:gd name="T17" fmla="*/ 0 h 1181"/>
                <a:gd name="T18" fmla="*/ 729 w 1136"/>
                <a:gd name="T19" fmla="*/ 15 h 1181"/>
                <a:gd name="T20" fmla="*/ 830 w 1136"/>
                <a:gd name="T21" fmla="*/ 51 h 1181"/>
                <a:gd name="T22" fmla="*/ 918 w 1136"/>
                <a:gd name="T23" fmla="*/ 105 h 1181"/>
                <a:gd name="T24" fmla="*/ 993 w 1136"/>
                <a:gd name="T25" fmla="*/ 177 h 1181"/>
                <a:gd name="T26" fmla="*/ 1053 w 1136"/>
                <a:gd name="T27" fmla="*/ 266 h 1181"/>
                <a:gd name="T28" fmla="*/ 1098 w 1136"/>
                <a:gd name="T29" fmla="*/ 371 h 1181"/>
                <a:gd name="T30" fmla="*/ 1127 w 1136"/>
                <a:gd name="T31" fmla="*/ 491 h 1181"/>
                <a:gd name="T32" fmla="*/ 1136 w 1136"/>
                <a:gd name="T33" fmla="*/ 658 h 1181"/>
                <a:gd name="T34" fmla="*/ 267 w 1136"/>
                <a:gd name="T35" fmla="*/ 689 h 1181"/>
                <a:gd name="T36" fmla="*/ 287 w 1136"/>
                <a:gd name="T37" fmla="*/ 744 h 1181"/>
                <a:gd name="T38" fmla="*/ 315 w 1136"/>
                <a:gd name="T39" fmla="*/ 794 h 1181"/>
                <a:gd name="T40" fmla="*/ 350 w 1136"/>
                <a:gd name="T41" fmla="*/ 837 h 1181"/>
                <a:gd name="T42" fmla="*/ 395 w 1136"/>
                <a:gd name="T43" fmla="*/ 873 h 1181"/>
                <a:gd name="T44" fmla="*/ 444 w 1136"/>
                <a:gd name="T45" fmla="*/ 901 h 1181"/>
                <a:gd name="T46" fmla="*/ 500 w 1136"/>
                <a:gd name="T47" fmla="*/ 920 h 1181"/>
                <a:gd name="T48" fmla="*/ 561 w 1136"/>
                <a:gd name="T49" fmla="*/ 930 h 1181"/>
                <a:gd name="T50" fmla="*/ 617 w 1136"/>
                <a:gd name="T51" fmla="*/ 930 h 1181"/>
                <a:gd name="T52" fmla="*/ 711 w 1136"/>
                <a:gd name="T53" fmla="*/ 914 h 1181"/>
                <a:gd name="T54" fmla="*/ 789 w 1136"/>
                <a:gd name="T55" fmla="*/ 881 h 1181"/>
                <a:gd name="T56" fmla="*/ 853 w 1136"/>
                <a:gd name="T57" fmla="*/ 837 h 1181"/>
                <a:gd name="T58" fmla="*/ 1061 w 1136"/>
                <a:gd name="T59" fmla="*/ 982 h 1181"/>
                <a:gd name="T60" fmla="*/ 998 w 1136"/>
                <a:gd name="T61" fmla="*/ 1043 h 1181"/>
                <a:gd name="T62" fmla="*/ 894 w 1136"/>
                <a:gd name="T63" fmla="*/ 1110 h 1181"/>
                <a:gd name="T64" fmla="*/ 770 w 1136"/>
                <a:gd name="T65" fmla="*/ 1157 h 1181"/>
                <a:gd name="T66" fmla="*/ 630 w 1136"/>
                <a:gd name="T67" fmla="*/ 1180 h 1181"/>
                <a:gd name="T68" fmla="*/ 529 w 1136"/>
                <a:gd name="T69" fmla="*/ 1178 h 1181"/>
                <a:gd name="T70" fmla="*/ 411 w 1136"/>
                <a:gd name="T71" fmla="*/ 1155 h 1181"/>
                <a:gd name="T72" fmla="*/ 304 w 1136"/>
                <a:gd name="T73" fmla="*/ 1111 h 1181"/>
                <a:gd name="T74" fmla="*/ 210 w 1136"/>
                <a:gd name="T75" fmla="*/ 1048 h 1181"/>
                <a:gd name="T76" fmla="*/ 131 w 1136"/>
                <a:gd name="T77" fmla="*/ 969 h 1181"/>
                <a:gd name="T78" fmla="*/ 68 w 1136"/>
                <a:gd name="T79" fmla="*/ 875 h 1181"/>
                <a:gd name="T80" fmla="*/ 25 w 1136"/>
                <a:gd name="T81" fmla="*/ 769 h 1181"/>
                <a:gd name="T82" fmla="*/ 3 w 1136"/>
                <a:gd name="T83" fmla="*/ 652 h 1181"/>
                <a:gd name="T84" fmla="*/ 858 w 1136"/>
                <a:gd name="T85" fmla="*/ 464 h 1181"/>
                <a:gd name="T86" fmla="*/ 834 w 1136"/>
                <a:gd name="T87" fmla="*/ 385 h 1181"/>
                <a:gd name="T88" fmla="*/ 777 w 1136"/>
                <a:gd name="T89" fmla="*/ 305 h 1181"/>
                <a:gd name="T90" fmla="*/ 697 w 1136"/>
                <a:gd name="T91" fmla="*/ 253 h 1181"/>
                <a:gd name="T92" fmla="*/ 597 w 1136"/>
                <a:gd name="T93" fmla="*/ 232 h 1181"/>
                <a:gd name="T94" fmla="*/ 519 w 1136"/>
                <a:gd name="T95" fmla="*/ 235 h 1181"/>
                <a:gd name="T96" fmla="*/ 425 w 1136"/>
                <a:gd name="T97" fmla="*/ 267 h 1181"/>
                <a:gd name="T98" fmla="*/ 346 w 1136"/>
                <a:gd name="T99" fmla="*/ 327 h 1181"/>
                <a:gd name="T100" fmla="*/ 288 w 1136"/>
                <a:gd name="T101" fmla="*/ 413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  <a:moveTo>
                    <a:pt x="268" y="464"/>
                  </a:moveTo>
                  <a:lnTo>
                    <a:pt x="858" y="464"/>
                  </a:lnTo>
                  <a:lnTo>
                    <a:pt x="858" y="464"/>
                  </a:lnTo>
                  <a:lnTo>
                    <a:pt x="852" y="435"/>
                  </a:lnTo>
                  <a:lnTo>
                    <a:pt x="844" y="410"/>
                  </a:lnTo>
                  <a:lnTo>
                    <a:pt x="834" y="385"/>
                  </a:lnTo>
                  <a:lnTo>
                    <a:pt x="822" y="362"/>
                  </a:lnTo>
                  <a:lnTo>
                    <a:pt x="809" y="341"/>
                  </a:lnTo>
                  <a:lnTo>
                    <a:pt x="794" y="322"/>
                  </a:lnTo>
                  <a:lnTo>
                    <a:pt x="777" y="305"/>
                  </a:lnTo>
                  <a:lnTo>
                    <a:pt x="760" y="289"/>
                  </a:lnTo>
                  <a:lnTo>
                    <a:pt x="740" y="275"/>
                  </a:lnTo>
                  <a:lnTo>
                    <a:pt x="720" y="264"/>
                  </a:lnTo>
                  <a:lnTo>
                    <a:pt x="697" y="253"/>
                  </a:lnTo>
                  <a:lnTo>
                    <a:pt x="674" y="245"/>
                  </a:lnTo>
                  <a:lnTo>
                    <a:pt x="650" y="239"/>
                  </a:lnTo>
                  <a:lnTo>
                    <a:pt x="623" y="234"/>
                  </a:lnTo>
                  <a:lnTo>
                    <a:pt x="597" y="232"/>
                  </a:lnTo>
                  <a:lnTo>
                    <a:pt x="569" y="231"/>
                  </a:lnTo>
                  <a:lnTo>
                    <a:pt x="569" y="231"/>
                  </a:lnTo>
                  <a:lnTo>
                    <a:pt x="544" y="232"/>
                  </a:lnTo>
                  <a:lnTo>
                    <a:pt x="519" y="235"/>
                  </a:lnTo>
                  <a:lnTo>
                    <a:pt x="494" y="240"/>
                  </a:lnTo>
                  <a:lnTo>
                    <a:pt x="471" y="247"/>
                  </a:lnTo>
                  <a:lnTo>
                    <a:pt x="448" y="255"/>
                  </a:lnTo>
                  <a:lnTo>
                    <a:pt x="425" y="267"/>
                  </a:lnTo>
                  <a:lnTo>
                    <a:pt x="404" y="279"/>
                  </a:lnTo>
                  <a:lnTo>
                    <a:pt x="383" y="293"/>
                  </a:lnTo>
                  <a:lnTo>
                    <a:pt x="364" y="310"/>
                  </a:lnTo>
                  <a:lnTo>
                    <a:pt x="346" y="327"/>
                  </a:lnTo>
                  <a:lnTo>
                    <a:pt x="329" y="346"/>
                  </a:lnTo>
                  <a:lnTo>
                    <a:pt x="314" y="367"/>
                  </a:lnTo>
                  <a:lnTo>
                    <a:pt x="300" y="389"/>
                  </a:lnTo>
                  <a:lnTo>
                    <a:pt x="288" y="413"/>
                  </a:lnTo>
                  <a:lnTo>
                    <a:pt x="277" y="437"/>
                  </a:lnTo>
                  <a:lnTo>
                    <a:pt x="26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4"/>
            <p:cNvSpPr>
              <a:spLocks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1 w 1136"/>
                <a:gd name="T1" fmla="*/ 559 h 1181"/>
                <a:gd name="T2" fmla="*/ 11 w 1136"/>
                <a:gd name="T3" fmla="*/ 469 h 1181"/>
                <a:gd name="T4" fmla="*/ 34 w 1136"/>
                <a:gd name="T5" fmla="*/ 383 h 1181"/>
                <a:gd name="T6" fmla="*/ 68 w 1136"/>
                <a:gd name="T7" fmla="*/ 305 h 1181"/>
                <a:gd name="T8" fmla="*/ 113 w 1136"/>
                <a:gd name="T9" fmla="*/ 233 h 1181"/>
                <a:gd name="T10" fmla="*/ 168 w 1136"/>
                <a:gd name="T11" fmla="*/ 170 h 1181"/>
                <a:gd name="T12" fmla="*/ 231 w 1136"/>
                <a:gd name="T13" fmla="*/ 114 h 1181"/>
                <a:gd name="T14" fmla="*/ 302 w 1136"/>
                <a:gd name="T15" fmla="*/ 69 h 1181"/>
                <a:gd name="T16" fmla="*/ 381 w 1136"/>
                <a:gd name="T17" fmla="*/ 35 h 1181"/>
                <a:gd name="T18" fmla="*/ 466 w 1136"/>
                <a:gd name="T19" fmla="*/ 11 h 1181"/>
                <a:gd name="T20" fmla="*/ 557 w 1136"/>
                <a:gd name="T21" fmla="*/ 0 h 1181"/>
                <a:gd name="T22" fmla="*/ 617 w 1136"/>
                <a:gd name="T23" fmla="*/ 0 h 1181"/>
                <a:gd name="T24" fmla="*/ 702 w 1136"/>
                <a:gd name="T25" fmla="*/ 10 h 1181"/>
                <a:gd name="T26" fmla="*/ 781 w 1136"/>
                <a:gd name="T27" fmla="*/ 30 h 1181"/>
                <a:gd name="T28" fmla="*/ 853 w 1136"/>
                <a:gd name="T29" fmla="*/ 62 h 1181"/>
                <a:gd name="T30" fmla="*/ 918 w 1136"/>
                <a:gd name="T31" fmla="*/ 105 h 1181"/>
                <a:gd name="T32" fmla="*/ 975 w 1136"/>
                <a:gd name="T33" fmla="*/ 157 h 1181"/>
                <a:gd name="T34" fmla="*/ 1026 w 1136"/>
                <a:gd name="T35" fmla="*/ 220 h 1181"/>
                <a:gd name="T36" fmla="*/ 1067 w 1136"/>
                <a:gd name="T37" fmla="*/ 291 h 1181"/>
                <a:gd name="T38" fmla="*/ 1098 w 1136"/>
                <a:gd name="T39" fmla="*/ 371 h 1181"/>
                <a:gd name="T40" fmla="*/ 1121 w 1136"/>
                <a:gd name="T41" fmla="*/ 460 h 1181"/>
                <a:gd name="T42" fmla="*/ 1134 w 1136"/>
                <a:gd name="T43" fmla="*/ 556 h 1181"/>
                <a:gd name="T44" fmla="*/ 261 w 1136"/>
                <a:gd name="T45" fmla="*/ 658 h 1181"/>
                <a:gd name="T46" fmla="*/ 267 w 1136"/>
                <a:gd name="T47" fmla="*/ 689 h 1181"/>
                <a:gd name="T48" fmla="*/ 281 w 1136"/>
                <a:gd name="T49" fmla="*/ 731 h 1181"/>
                <a:gd name="T50" fmla="*/ 299 w 1136"/>
                <a:gd name="T51" fmla="*/ 770 h 1181"/>
                <a:gd name="T52" fmla="*/ 323 w 1136"/>
                <a:gd name="T53" fmla="*/ 806 h 1181"/>
                <a:gd name="T54" fmla="*/ 350 w 1136"/>
                <a:gd name="T55" fmla="*/ 837 h 1181"/>
                <a:gd name="T56" fmla="*/ 382 w 1136"/>
                <a:gd name="T57" fmla="*/ 865 h 1181"/>
                <a:gd name="T58" fmla="*/ 418 w 1136"/>
                <a:gd name="T59" fmla="*/ 887 h 1181"/>
                <a:gd name="T60" fmla="*/ 457 w 1136"/>
                <a:gd name="T61" fmla="*/ 907 h 1181"/>
                <a:gd name="T62" fmla="*/ 500 w 1136"/>
                <a:gd name="T63" fmla="*/ 920 h 1181"/>
                <a:gd name="T64" fmla="*/ 544 w 1136"/>
                <a:gd name="T65" fmla="*/ 928 h 1181"/>
                <a:gd name="T66" fmla="*/ 593 w 1136"/>
                <a:gd name="T67" fmla="*/ 931 h 1181"/>
                <a:gd name="T68" fmla="*/ 642 w 1136"/>
                <a:gd name="T69" fmla="*/ 928 h 1181"/>
                <a:gd name="T70" fmla="*/ 711 w 1136"/>
                <a:gd name="T71" fmla="*/ 914 h 1181"/>
                <a:gd name="T72" fmla="*/ 771 w 1136"/>
                <a:gd name="T73" fmla="*/ 891 h 1181"/>
                <a:gd name="T74" fmla="*/ 822 w 1136"/>
                <a:gd name="T75" fmla="*/ 861 h 1181"/>
                <a:gd name="T76" fmla="*/ 867 w 1136"/>
                <a:gd name="T77" fmla="*/ 825 h 1181"/>
                <a:gd name="T78" fmla="*/ 1061 w 1136"/>
                <a:gd name="T79" fmla="*/ 982 h 1181"/>
                <a:gd name="T80" fmla="*/ 1020 w 1136"/>
                <a:gd name="T81" fmla="*/ 1024 h 1181"/>
                <a:gd name="T82" fmla="*/ 949 w 1136"/>
                <a:gd name="T83" fmla="*/ 1079 h 1181"/>
                <a:gd name="T84" fmla="*/ 866 w 1136"/>
                <a:gd name="T85" fmla="*/ 1124 h 1181"/>
                <a:gd name="T86" fmla="*/ 770 w 1136"/>
                <a:gd name="T87" fmla="*/ 1157 h 1181"/>
                <a:gd name="T88" fmla="*/ 667 w 1136"/>
                <a:gd name="T89" fmla="*/ 1177 h 1181"/>
                <a:gd name="T90" fmla="*/ 593 w 1136"/>
                <a:gd name="T91" fmla="*/ 1181 h 1181"/>
                <a:gd name="T92" fmla="*/ 499 w 1136"/>
                <a:gd name="T93" fmla="*/ 1174 h 1181"/>
                <a:gd name="T94" fmla="*/ 411 w 1136"/>
                <a:gd name="T95" fmla="*/ 1155 h 1181"/>
                <a:gd name="T96" fmla="*/ 330 w 1136"/>
                <a:gd name="T97" fmla="*/ 1124 h 1181"/>
                <a:gd name="T98" fmla="*/ 255 w 1136"/>
                <a:gd name="T99" fmla="*/ 1082 h 1181"/>
                <a:gd name="T100" fmla="*/ 188 w 1136"/>
                <a:gd name="T101" fmla="*/ 1031 h 1181"/>
                <a:gd name="T102" fmla="*/ 131 w 1136"/>
                <a:gd name="T103" fmla="*/ 969 h 1181"/>
                <a:gd name="T104" fmla="*/ 83 w 1136"/>
                <a:gd name="T105" fmla="*/ 900 h 1181"/>
                <a:gd name="T106" fmla="*/ 45 w 1136"/>
                <a:gd name="T107" fmla="*/ 823 h 1181"/>
                <a:gd name="T108" fmla="*/ 17 w 1136"/>
                <a:gd name="T109" fmla="*/ 740 h 1181"/>
                <a:gd name="T110" fmla="*/ 3 w 1136"/>
                <a:gd name="T111" fmla="*/ 65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5"/>
            <p:cNvSpPr>
              <a:spLocks/>
            </p:cNvSpPr>
            <p:nvPr userDrawn="1"/>
          </p:nvSpPr>
          <p:spPr bwMode="auto">
            <a:xfrm>
              <a:off x="521" y="4099"/>
              <a:ext cx="39" cy="15"/>
            </a:xfrm>
            <a:custGeom>
              <a:avLst/>
              <a:gdLst>
                <a:gd name="T0" fmla="*/ 0 w 590"/>
                <a:gd name="T1" fmla="*/ 233 h 233"/>
                <a:gd name="T2" fmla="*/ 590 w 590"/>
                <a:gd name="T3" fmla="*/ 233 h 233"/>
                <a:gd name="T4" fmla="*/ 590 w 590"/>
                <a:gd name="T5" fmla="*/ 233 h 233"/>
                <a:gd name="T6" fmla="*/ 584 w 590"/>
                <a:gd name="T7" fmla="*/ 204 h 233"/>
                <a:gd name="T8" fmla="*/ 576 w 590"/>
                <a:gd name="T9" fmla="*/ 179 h 233"/>
                <a:gd name="T10" fmla="*/ 566 w 590"/>
                <a:gd name="T11" fmla="*/ 154 h 233"/>
                <a:gd name="T12" fmla="*/ 554 w 590"/>
                <a:gd name="T13" fmla="*/ 131 h 233"/>
                <a:gd name="T14" fmla="*/ 541 w 590"/>
                <a:gd name="T15" fmla="*/ 110 h 233"/>
                <a:gd name="T16" fmla="*/ 526 w 590"/>
                <a:gd name="T17" fmla="*/ 91 h 233"/>
                <a:gd name="T18" fmla="*/ 509 w 590"/>
                <a:gd name="T19" fmla="*/ 74 h 233"/>
                <a:gd name="T20" fmla="*/ 492 w 590"/>
                <a:gd name="T21" fmla="*/ 58 h 233"/>
                <a:gd name="T22" fmla="*/ 472 w 590"/>
                <a:gd name="T23" fmla="*/ 44 h 233"/>
                <a:gd name="T24" fmla="*/ 452 w 590"/>
                <a:gd name="T25" fmla="*/ 33 h 233"/>
                <a:gd name="T26" fmla="*/ 429 w 590"/>
                <a:gd name="T27" fmla="*/ 22 h 233"/>
                <a:gd name="T28" fmla="*/ 406 w 590"/>
                <a:gd name="T29" fmla="*/ 14 h 233"/>
                <a:gd name="T30" fmla="*/ 382 w 590"/>
                <a:gd name="T31" fmla="*/ 8 h 233"/>
                <a:gd name="T32" fmla="*/ 355 w 590"/>
                <a:gd name="T33" fmla="*/ 3 h 233"/>
                <a:gd name="T34" fmla="*/ 329 w 590"/>
                <a:gd name="T35" fmla="*/ 1 h 233"/>
                <a:gd name="T36" fmla="*/ 301 w 590"/>
                <a:gd name="T37" fmla="*/ 0 h 233"/>
                <a:gd name="T38" fmla="*/ 301 w 590"/>
                <a:gd name="T39" fmla="*/ 0 h 233"/>
                <a:gd name="T40" fmla="*/ 276 w 590"/>
                <a:gd name="T41" fmla="*/ 1 h 233"/>
                <a:gd name="T42" fmla="*/ 251 w 590"/>
                <a:gd name="T43" fmla="*/ 4 h 233"/>
                <a:gd name="T44" fmla="*/ 226 w 590"/>
                <a:gd name="T45" fmla="*/ 9 h 233"/>
                <a:gd name="T46" fmla="*/ 203 w 590"/>
                <a:gd name="T47" fmla="*/ 16 h 233"/>
                <a:gd name="T48" fmla="*/ 180 w 590"/>
                <a:gd name="T49" fmla="*/ 24 h 233"/>
                <a:gd name="T50" fmla="*/ 157 w 590"/>
                <a:gd name="T51" fmla="*/ 36 h 233"/>
                <a:gd name="T52" fmla="*/ 136 w 590"/>
                <a:gd name="T53" fmla="*/ 48 h 233"/>
                <a:gd name="T54" fmla="*/ 115 w 590"/>
                <a:gd name="T55" fmla="*/ 62 h 233"/>
                <a:gd name="T56" fmla="*/ 96 w 590"/>
                <a:gd name="T57" fmla="*/ 79 h 233"/>
                <a:gd name="T58" fmla="*/ 78 w 590"/>
                <a:gd name="T59" fmla="*/ 96 h 233"/>
                <a:gd name="T60" fmla="*/ 61 w 590"/>
                <a:gd name="T61" fmla="*/ 115 h 233"/>
                <a:gd name="T62" fmla="*/ 46 w 590"/>
                <a:gd name="T63" fmla="*/ 136 h 233"/>
                <a:gd name="T64" fmla="*/ 32 w 590"/>
                <a:gd name="T65" fmla="*/ 158 h 233"/>
                <a:gd name="T66" fmla="*/ 20 w 590"/>
                <a:gd name="T67" fmla="*/ 182 h 233"/>
                <a:gd name="T68" fmla="*/ 9 w 590"/>
                <a:gd name="T69" fmla="*/ 206 h 233"/>
                <a:gd name="T70" fmla="*/ 0 w 590"/>
                <a:gd name="T71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90" h="233">
                  <a:moveTo>
                    <a:pt x="0" y="233"/>
                  </a:moveTo>
                  <a:lnTo>
                    <a:pt x="590" y="233"/>
                  </a:lnTo>
                  <a:lnTo>
                    <a:pt x="590" y="233"/>
                  </a:lnTo>
                  <a:lnTo>
                    <a:pt x="584" y="204"/>
                  </a:lnTo>
                  <a:lnTo>
                    <a:pt x="576" y="179"/>
                  </a:lnTo>
                  <a:lnTo>
                    <a:pt x="566" y="154"/>
                  </a:lnTo>
                  <a:lnTo>
                    <a:pt x="554" y="131"/>
                  </a:lnTo>
                  <a:lnTo>
                    <a:pt x="541" y="110"/>
                  </a:lnTo>
                  <a:lnTo>
                    <a:pt x="526" y="91"/>
                  </a:lnTo>
                  <a:lnTo>
                    <a:pt x="509" y="74"/>
                  </a:lnTo>
                  <a:lnTo>
                    <a:pt x="492" y="58"/>
                  </a:lnTo>
                  <a:lnTo>
                    <a:pt x="472" y="44"/>
                  </a:lnTo>
                  <a:lnTo>
                    <a:pt x="452" y="33"/>
                  </a:lnTo>
                  <a:lnTo>
                    <a:pt x="429" y="22"/>
                  </a:lnTo>
                  <a:lnTo>
                    <a:pt x="406" y="14"/>
                  </a:lnTo>
                  <a:lnTo>
                    <a:pt x="382" y="8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276" y="1"/>
                  </a:lnTo>
                  <a:lnTo>
                    <a:pt x="251" y="4"/>
                  </a:lnTo>
                  <a:lnTo>
                    <a:pt x="226" y="9"/>
                  </a:lnTo>
                  <a:lnTo>
                    <a:pt x="203" y="16"/>
                  </a:lnTo>
                  <a:lnTo>
                    <a:pt x="180" y="24"/>
                  </a:lnTo>
                  <a:lnTo>
                    <a:pt x="157" y="36"/>
                  </a:lnTo>
                  <a:lnTo>
                    <a:pt x="136" y="48"/>
                  </a:lnTo>
                  <a:lnTo>
                    <a:pt x="115" y="62"/>
                  </a:lnTo>
                  <a:lnTo>
                    <a:pt x="96" y="79"/>
                  </a:lnTo>
                  <a:lnTo>
                    <a:pt x="78" y="96"/>
                  </a:lnTo>
                  <a:lnTo>
                    <a:pt x="61" y="115"/>
                  </a:lnTo>
                  <a:lnTo>
                    <a:pt x="46" y="136"/>
                  </a:lnTo>
                  <a:lnTo>
                    <a:pt x="32" y="158"/>
                  </a:lnTo>
                  <a:lnTo>
                    <a:pt x="20" y="182"/>
                  </a:lnTo>
                  <a:lnTo>
                    <a:pt x="9" y="206"/>
                  </a:lnTo>
                  <a:lnTo>
                    <a:pt x="0" y="2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6"/>
            <p:cNvSpPr>
              <a:spLocks/>
            </p:cNvSpPr>
            <p:nvPr userDrawn="1"/>
          </p:nvSpPr>
          <p:spPr bwMode="auto">
            <a:xfrm>
              <a:off x="588" y="4083"/>
              <a:ext cx="66" cy="79"/>
            </a:xfrm>
            <a:custGeom>
              <a:avLst/>
              <a:gdLst>
                <a:gd name="T0" fmla="*/ 720 w 988"/>
                <a:gd name="T1" fmla="*/ 1179 h 1179"/>
                <a:gd name="T2" fmla="*/ 720 w 988"/>
                <a:gd name="T3" fmla="*/ 493 h 1179"/>
                <a:gd name="T4" fmla="*/ 715 w 988"/>
                <a:gd name="T5" fmla="*/ 448 h 1179"/>
                <a:gd name="T6" fmla="*/ 702 w 988"/>
                <a:gd name="T7" fmla="*/ 405 h 1179"/>
                <a:gd name="T8" fmla="*/ 681 w 988"/>
                <a:gd name="T9" fmla="*/ 367 h 1179"/>
                <a:gd name="T10" fmla="*/ 654 w 988"/>
                <a:gd name="T11" fmla="*/ 333 h 1179"/>
                <a:gd name="T12" fmla="*/ 620 w 988"/>
                <a:gd name="T13" fmla="*/ 306 h 1179"/>
                <a:gd name="T14" fmla="*/ 582 w 988"/>
                <a:gd name="T15" fmla="*/ 285 h 1179"/>
                <a:gd name="T16" fmla="*/ 540 w 988"/>
                <a:gd name="T17" fmla="*/ 272 h 1179"/>
                <a:gd name="T18" fmla="*/ 493 w 988"/>
                <a:gd name="T19" fmla="*/ 268 h 1179"/>
                <a:gd name="T20" fmla="*/ 471 w 988"/>
                <a:gd name="T21" fmla="*/ 269 h 1179"/>
                <a:gd name="T22" fmla="*/ 427 w 988"/>
                <a:gd name="T23" fmla="*/ 278 h 1179"/>
                <a:gd name="T24" fmla="*/ 386 w 988"/>
                <a:gd name="T25" fmla="*/ 294 h 1179"/>
                <a:gd name="T26" fmla="*/ 350 w 988"/>
                <a:gd name="T27" fmla="*/ 319 h 1179"/>
                <a:gd name="T28" fmla="*/ 319 w 988"/>
                <a:gd name="T29" fmla="*/ 350 h 1179"/>
                <a:gd name="T30" fmla="*/ 295 w 988"/>
                <a:gd name="T31" fmla="*/ 385 h 1179"/>
                <a:gd name="T32" fmla="*/ 278 w 988"/>
                <a:gd name="T33" fmla="*/ 425 h 1179"/>
                <a:gd name="T34" fmla="*/ 269 w 988"/>
                <a:gd name="T35" fmla="*/ 469 h 1179"/>
                <a:gd name="T36" fmla="*/ 268 w 988"/>
                <a:gd name="T37" fmla="*/ 1179 h 1179"/>
                <a:gd name="T38" fmla="*/ 0 w 988"/>
                <a:gd name="T39" fmla="*/ 493 h 1179"/>
                <a:gd name="T40" fmla="*/ 0 w 988"/>
                <a:gd name="T41" fmla="*/ 467 h 1179"/>
                <a:gd name="T42" fmla="*/ 5 w 988"/>
                <a:gd name="T43" fmla="*/ 418 h 1179"/>
                <a:gd name="T44" fmla="*/ 15 w 988"/>
                <a:gd name="T45" fmla="*/ 370 h 1179"/>
                <a:gd name="T46" fmla="*/ 30 w 988"/>
                <a:gd name="T47" fmla="*/ 323 h 1179"/>
                <a:gd name="T48" fmla="*/ 48 w 988"/>
                <a:gd name="T49" fmla="*/ 279 h 1179"/>
                <a:gd name="T50" fmla="*/ 71 w 988"/>
                <a:gd name="T51" fmla="*/ 237 h 1179"/>
                <a:gd name="T52" fmla="*/ 97 w 988"/>
                <a:gd name="T53" fmla="*/ 198 h 1179"/>
                <a:gd name="T54" fmla="*/ 128 w 988"/>
                <a:gd name="T55" fmla="*/ 161 h 1179"/>
                <a:gd name="T56" fmla="*/ 162 w 988"/>
                <a:gd name="T57" fmla="*/ 129 h 1179"/>
                <a:gd name="T58" fmla="*/ 198 w 988"/>
                <a:gd name="T59" fmla="*/ 98 h 1179"/>
                <a:gd name="T60" fmla="*/ 238 w 988"/>
                <a:gd name="T61" fmla="*/ 71 h 1179"/>
                <a:gd name="T62" fmla="*/ 280 w 988"/>
                <a:gd name="T63" fmla="*/ 49 h 1179"/>
                <a:gd name="T64" fmla="*/ 324 w 988"/>
                <a:gd name="T65" fmla="*/ 30 h 1179"/>
                <a:gd name="T66" fmla="*/ 370 w 988"/>
                <a:gd name="T67" fmla="*/ 15 h 1179"/>
                <a:gd name="T68" fmla="*/ 419 w 988"/>
                <a:gd name="T69" fmla="*/ 6 h 1179"/>
                <a:gd name="T70" fmla="*/ 469 w 988"/>
                <a:gd name="T71" fmla="*/ 1 h 1179"/>
                <a:gd name="T72" fmla="*/ 493 w 988"/>
                <a:gd name="T73" fmla="*/ 0 h 1179"/>
                <a:gd name="T74" fmla="*/ 544 w 988"/>
                <a:gd name="T75" fmla="*/ 3 h 1179"/>
                <a:gd name="T76" fmla="*/ 593 w 988"/>
                <a:gd name="T77" fmla="*/ 10 h 1179"/>
                <a:gd name="T78" fmla="*/ 640 w 988"/>
                <a:gd name="T79" fmla="*/ 22 h 1179"/>
                <a:gd name="T80" fmla="*/ 686 w 988"/>
                <a:gd name="T81" fmla="*/ 39 h 1179"/>
                <a:gd name="T82" fmla="*/ 729 w 988"/>
                <a:gd name="T83" fmla="*/ 59 h 1179"/>
                <a:gd name="T84" fmla="*/ 769 w 988"/>
                <a:gd name="T85" fmla="*/ 85 h 1179"/>
                <a:gd name="T86" fmla="*/ 807 w 988"/>
                <a:gd name="T87" fmla="*/ 112 h 1179"/>
                <a:gd name="T88" fmla="*/ 843 w 988"/>
                <a:gd name="T89" fmla="*/ 145 h 1179"/>
                <a:gd name="T90" fmla="*/ 875 w 988"/>
                <a:gd name="T91" fmla="*/ 180 h 1179"/>
                <a:gd name="T92" fmla="*/ 904 w 988"/>
                <a:gd name="T93" fmla="*/ 218 h 1179"/>
                <a:gd name="T94" fmla="*/ 928 w 988"/>
                <a:gd name="T95" fmla="*/ 258 h 1179"/>
                <a:gd name="T96" fmla="*/ 949 w 988"/>
                <a:gd name="T97" fmla="*/ 301 h 1179"/>
                <a:gd name="T98" fmla="*/ 965 w 988"/>
                <a:gd name="T99" fmla="*/ 346 h 1179"/>
                <a:gd name="T100" fmla="*/ 978 w 988"/>
                <a:gd name="T101" fmla="*/ 393 h 1179"/>
                <a:gd name="T102" fmla="*/ 985 w 988"/>
                <a:gd name="T103" fmla="*/ 443 h 1179"/>
                <a:gd name="T104" fmla="*/ 988 w 988"/>
                <a:gd name="T105" fmla="*/ 493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88" h="1179">
                  <a:moveTo>
                    <a:pt x="988" y="1179"/>
                  </a:moveTo>
                  <a:lnTo>
                    <a:pt x="720" y="1179"/>
                  </a:lnTo>
                  <a:lnTo>
                    <a:pt x="720" y="493"/>
                  </a:lnTo>
                  <a:lnTo>
                    <a:pt x="720" y="493"/>
                  </a:lnTo>
                  <a:lnTo>
                    <a:pt x="718" y="469"/>
                  </a:lnTo>
                  <a:lnTo>
                    <a:pt x="715" y="448"/>
                  </a:lnTo>
                  <a:lnTo>
                    <a:pt x="710" y="425"/>
                  </a:lnTo>
                  <a:lnTo>
                    <a:pt x="702" y="405"/>
                  </a:lnTo>
                  <a:lnTo>
                    <a:pt x="692" y="385"/>
                  </a:lnTo>
                  <a:lnTo>
                    <a:pt x="681" y="367"/>
                  </a:lnTo>
                  <a:lnTo>
                    <a:pt x="668" y="350"/>
                  </a:lnTo>
                  <a:lnTo>
                    <a:pt x="654" y="333"/>
                  </a:lnTo>
                  <a:lnTo>
                    <a:pt x="637" y="319"/>
                  </a:lnTo>
                  <a:lnTo>
                    <a:pt x="620" y="306"/>
                  </a:lnTo>
                  <a:lnTo>
                    <a:pt x="601" y="294"/>
                  </a:lnTo>
                  <a:lnTo>
                    <a:pt x="582" y="285"/>
                  </a:lnTo>
                  <a:lnTo>
                    <a:pt x="561" y="278"/>
                  </a:lnTo>
                  <a:lnTo>
                    <a:pt x="540" y="272"/>
                  </a:lnTo>
                  <a:lnTo>
                    <a:pt x="517" y="269"/>
                  </a:lnTo>
                  <a:lnTo>
                    <a:pt x="493" y="268"/>
                  </a:lnTo>
                  <a:lnTo>
                    <a:pt x="493" y="268"/>
                  </a:lnTo>
                  <a:lnTo>
                    <a:pt x="471" y="269"/>
                  </a:lnTo>
                  <a:lnTo>
                    <a:pt x="448" y="272"/>
                  </a:lnTo>
                  <a:lnTo>
                    <a:pt x="427" y="278"/>
                  </a:lnTo>
                  <a:lnTo>
                    <a:pt x="406" y="285"/>
                  </a:lnTo>
                  <a:lnTo>
                    <a:pt x="386" y="294"/>
                  </a:lnTo>
                  <a:lnTo>
                    <a:pt x="367" y="306"/>
                  </a:lnTo>
                  <a:lnTo>
                    <a:pt x="350" y="319"/>
                  </a:lnTo>
                  <a:lnTo>
                    <a:pt x="334" y="333"/>
                  </a:lnTo>
                  <a:lnTo>
                    <a:pt x="319" y="350"/>
                  </a:lnTo>
                  <a:lnTo>
                    <a:pt x="307" y="367"/>
                  </a:lnTo>
                  <a:lnTo>
                    <a:pt x="295" y="385"/>
                  </a:lnTo>
                  <a:lnTo>
                    <a:pt x="285" y="405"/>
                  </a:lnTo>
                  <a:lnTo>
                    <a:pt x="278" y="425"/>
                  </a:lnTo>
                  <a:lnTo>
                    <a:pt x="273" y="448"/>
                  </a:lnTo>
                  <a:lnTo>
                    <a:pt x="269" y="469"/>
                  </a:lnTo>
                  <a:lnTo>
                    <a:pt x="268" y="493"/>
                  </a:lnTo>
                  <a:lnTo>
                    <a:pt x="268" y="1179"/>
                  </a:lnTo>
                  <a:lnTo>
                    <a:pt x="0" y="1179"/>
                  </a:lnTo>
                  <a:lnTo>
                    <a:pt x="0" y="493"/>
                  </a:lnTo>
                  <a:lnTo>
                    <a:pt x="0" y="493"/>
                  </a:lnTo>
                  <a:lnTo>
                    <a:pt x="0" y="467"/>
                  </a:lnTo>
                  <a:lnTo>
                    <a:pt x="2" y="443"/>
                  </a:lnTo>
                  <a:lnTo>
                    <a:pt x="5" y="418"/>
                  </a:lnTo>
                  <a:lnTo>
                    <a:pt x="9" y="393"/>
                  </a:lnTo>
                  <a:lnTo>
                    <a:pt x="15" y="370"/>
                  </a:lnTo>
                  <a:lnTo>
                    <a:pt x="21" y="346"/>
                  </a:lnTo>
                  <a:lnTo>
                    <a:pt x="30" y="323"/>
                  </a:lnTo>
                  <a:lnTo>
                    <a:pt x="39" y="301"/>
                  </a:lnTo>
                  <a:lnTo>
                    <a:pt x="48" y="279"/>
                  </a:lnTo>
                  <a:lnTo>
                    <a:pt x="59" y="258"/>
                  </a:lnTo>
                  <a:lnTo>
                    <a:pt x="71" y="237"/>
                  </a:lnTo>
                  <a:lnTo>
                    <a:pt x="84" y="218"/>
                  </a:lnTo>
                  <a:lnTo>
                    <a:pt x="97" y="198"/>
                  </a:lnTo>
                  <a:lnTo>
                    <a:pt x="113" y="180"/>
                  </a:lnTo>
                  <a:lnTo>
                    <a:pt x="128" y="161"/>
                  </a:lnTo>
                  <a:lnTo>
                    <a:pt x="145" y="145"/>
                  </a:lnTo>
                  <a:lnTo>
                    <a:pt x="162" y="129"/>
                  </a:lnTo>
                  <a:lnTo>
                    <a:pt x="179" y="112"/>
                  </a:lnTo>
                  <a:lnTo>
                    <a:pt x="198" y="98"/>
                  </a:lnTo>
                  <a:lnTo>
                    <a:pt x="217" y="85"/>
                  </a:lnTo>
                  <a:lnTo>
                    <a:pt x="238" y="71"/>
                  </a:lnTo>
                  <a:lnTo>
                    <a:pt x="258" y="59"/>
                  </a:lnTo>
                  <a:lnTo>
                    <a:pt x="280" y="49"/>
                  </a:lnTo>
                  <a:lnTo>
                    <a:pt x="302" y="39"/>
                  </a:lnTo>
                  <a:lnTo>
                    <a:pt x="324" y="30"/>
                  </a:lnTo>
                  <a:lnTo>
                    <a:pt x="347" y="22"/>
                  </a:lnTo>
                  <a:lnTo>
                    <a:pt x="370" y="15"/>
                  </a:lnTo>
                  <a:lnTo>
                    <a:pt x="394" y="10"/>
                  </a:lnTo>
                  <a:lnTo>
                    <a:pt x="419" y="6"/>
                  </a:lnTo>
                  <a:lnTo>
                    <a:pt x="443" y="3"/>
                  </a:lnTo>
                  <a:lnTo>
                    <a:pt x="469" y="1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519" y="1"/>
                  </a:lnTo>
                  <a:lnTo>
                    <a:pt x="544" y="3"/>
                  </a:lnTo>
                  <a:lnTo>
                    <a:pt x="569" y="6"/>
                  </a:lnTo>
                  <a:lnTo>
                    <a:pt x="593" y="10"/>
                  </a:lnTo>
                  <a:lnTo>
                    <a:pt x="618" y="15"/>
                  </a:lnTo>
                  <a:lnTo>
                    <a:pt x="640" y="22"/>
                  </a:lnTo>
                  <a:lnTo>
                    <a:pt x="664" y="30"/>
                  </a:lnTo>
                  <a:lnTo>
                    <a:pt x="686" y="39"/>
                  </a:lnTo>
                  <a:lnTo>
                    <a:pt x="708" y="49"/>
                  </a:lnTo>
                  <a:lnTo>
                    <a:pt x="729" y="59"/>
                  </a:lnTo>
                  <a:lnTo>
                    <a:pt x="750" y="71"/>
                  </a:lnTo>
                  <a:lnTo>
                    <a:pt x="769" y="85"/>
                  </a:lnTo>
                  <a:lnTo>
                    <a:pt x="789" y="98"/>
                  </a:lnTo>
                  <a:lnTo>
                    <a:pt x="807" y="112"/>
                  </a:lnTo>
                  <a:lnTo>
                    <a:pt x="826" y="129"/>
                  </a:lnTo>
                  <a:lnTo>
                    <a:pt x="843" y="145"/>
                  </a:lnTo>
                  <a:lnTo>
                    <a:pt x="860" y="161"/>
                  </a:lnTo>
                  <a:lnTo>
                    <a:pt x="875" y="180"/>
                  </a:lnTo>
                  <a:lnTo>
                    <a:pt x="889" y="198"/>
                  </a:lnTo>
                  <a:lnTo>
                    <a:pt x="904" y="218"/>
                  </a:lnTo>
                  <a:lnTo>
                    <a:pt x="916" y="237"/>
                  </a:lnTo>
                  <a:lnTo>
                    <a:pt x="928" y="258"/>
                  </a:lnTo>
                  <a:lnTo>
                    <a:pt x="939" y="279"/>
                  </a:lnTo>
                  <a:lnTo>
                    <a:pt x="949" y="301"/>
                  </a:lnTo>
                  <a:lnTo>
                    <a:pt x="958" y="323"/>
                  </a:lnTo>
                  <a:lnTo>
                    <a:pt x="965" y="346"/>
                  </a:lnTo>
                  <a:lnTo>
                    <a:pt x="973" y="370"/>
                  </a:lnTo>
                  <a:lnTo>
                    <a:pt x="978" y="393"/>
                  </a:lnTo>
                  <a:lnTo>
                    <a:pt x="982" y="418"/>
                  </a:lnTo>
                  <a:lnTo>
                    <a:pt x="985" y="443"/>
                  </a:lnTo>
                  <a:lnTo>
                    <a:pt x="987" y="467"/>
                  </a:lnTo>
                  <a:lnTo>
                    <a:pt x="988" y="493"/>
                  </a:lnTo>
                  <a:lnTo>
                    <a:pt x="988" y="11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0" name="Freeform 17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18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00641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inf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082B9D0C-0783-431C-BFBF-3A3AA871FE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50000"/>
              <a:alpha val="78000"/>
            </a:schemeClr>
          </a:solidFill>
        </p:spPr>
        <p:txBody>
          <a:bodyPr anchor="ctr" anchorCtr="0"/>
          <a:lstStyle>
            <a:lvl1pPr marL="0" indent="0" algn="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&lt;Click to add picture&lt;&lt;&lt;&lt;&lt;&lt;&lt;&lt;&lt;&lt;</a:t>
            </a:r>
            <a:endParaRPr lang="en-BE" dirty="0"/>
          </a:p>
        </p:txBody>
      </p:sp>
      <p:sp>
        <p:nvSpPr>
          <p:cNvPr id="26" name="Tijdelijke aanduiding voor tekst 25">
            <a:extLst>
              <a:ext uri="{FF2B5EF4-FFF2-40B4-BE49-F238E27FC236}">
                <a16:creationId xmlns:a16="http://schemas.microsoft.com/office/drawing/2014/main" id="{6A895D29-FC6A-432A-8385-E2F1D027CD96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66763" y="800100"/>
            <a:ext cx="5329239" cy="52578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/>
            </a:stretch>
          </a:blipFill>
        </p:spPr>
        <p:txBody>
          <a:bodyPr lIns="1005840" tIns="2194560" rIns="182880" bIns="1188720"/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nl-BE" smtClean="0"/>
              <a:t> </a:t>
            </a:r>
            <a:endParaRPr lang="en-BE" dirty="0"/>
          </a:p>
        </p:txBody>
      </p:sp>
      <p:sp>
        <p:nvSpPr>
          <p:cNvPr id="253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1817" y="1479973"/>
            <a:ext cx="2992891" cy="7112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en-B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BE" dirty="0"/>
          </a:p>
        </p:txBody>
      </p:sp>
      <p:sp>
        <p:nvSpPr>
          <p:cNvPr id="25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72072" y="2191174"/>
            <a:ext cx="2983043" cy="1086811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lang="nl-NL" sz="2400" kern="120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256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705020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94226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3" y="1028737"/>
            <a:ext cx="7610239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8331157" y="1046404"/>
            <a:ext cx="3314700" cy="528335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8452337" y="1124744"/>
            <a:ext cx="3072341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nl-BE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5" y="1141545"/>
            <a:ext cx="7296811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08731367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inf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082B9D0C-0783-431C-BFBF-3A3AA871FE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>
              <a:lumMod val="50000"/>
              <a:alpha val="78000"/>
            </a:schemeClr>
          </a:solidFill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&gt;&gt;&gt;&gt;&gt;&gt;&gt;&gt;&gt; Click to add picture &gt;</a:t>
            </a:r>
            <a:endParaRPr lang="en-BE" dirty="0"/>
          </a:p>
        </p:txBody>
      </p:sp>
      <p:sp>
        <p:nvSpPr>
          <p:cNvPr id="6" name="Tijdelijke aanduiding voor tekst 25">
            <a:extLst>
              <a:ext uri="{FF2B5EF4-FFF2-40B4-BE49-F238E27FC236}">
                <a16:creationId xmlns:a16="http://schemas.microsoft.com/office/drawing/2014/main" id="{6A895D29-FC6A-432A-8385-E2F1D027CD96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 flipH="1">
            <a:off x="6096000" y="800100"/>
            <a:ext cx="5329238" cy="52578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/>
            </a:stretch>
          </a:blipFill>
        </p:spPr>
        <p:txBody>
          <a:bodyPr lIns="1005840" tIns="2194560" rIns="182880" bIns="1188720"/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nl-BE" smtClean="0"/>
              <a:t> </a:t>
            </a:r>
            <a:endParaRPr lang="en-BE" dirty="0"/>
          </a:p>
        </p:txBody>
      </p:sp>
      <p:sp>
        <p:nvSpPr>
          <p:cNvPr id="253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0020" y="1479973"/>
            <a:ext cx="2992891" cy="7112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en-BE" sz="2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BE" dirty="0"/>
          </a:p>
        </p:txBody>
      </p:sp>
      <p:sp>
        <p:nvSpPr>
          <p:cNvPr id="25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80275" y="2191174"/>
            <a:ext cx="2983043" cy="1086811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lang="nl-NL" sz="2400" kern="1200" dirty="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7055229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36329068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inf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082B9D0C-0783-431C-BFBF-3A3AA871FE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  <a:alpha val="78000"/>
            </a:schemeClr>
          </a:solidFill>
        </p:spPr>
        <p:txBody>
          <a:bodyPr anchor="ctr" anchorCtr="0"/>
          <a:lstStyle>
            <a:lvl1pPr marL="0" indent="0" algn="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&lt;Click to add picture&lt;&lt;&lt;&lt;&lt;&lt;&lt;&lt;&lt;&lt;</a:t>
            </a:r>
            <a:endParaRPr lang="en-BE" dirty="0"/>
          </a:p>
        </p:txBody>
      </p:sp>
      <p:sp>
        <p:nvSpPr>
          <p:cNvPr id="26" name="Tijdelijke aanduiding voor tekst 25">
            <a:extLst>
              <a:ext uri="{FF2B5EF4-FFF2-40B4-BE49-F238E27FC236}">
                <a16:creationId xmlns:a16="http://schemas.microsoft.com/office/drawing/2014/main" id="{6A895D29-FC6A-432A-8385-E2F1D027CD96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766763" y="800100"/>
            <a:ext cx="5329239" cy="52578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/>
            </a:stretch>
          </a:blipFill>
        </p:spPr>
        <p:txBody>
          <a:bodyPr lIns="1005840" tIns="2194560" rIns="182880" bIns="1188720"/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nl-BE" smtClean="0"/>
              <a:t> </a:t>
            </a:r>
            <a:endParaRPr lang="en-BE" dirty="0"/>
          </a:p>
        </p:txBody>
      </p:sp>
      <p:sp>
        <p:nvSpPr>
          <p:cNvPr id="253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1817" y="1479973"/>
            <a:ext cx="2992891" cy="7112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en-BE" sz="2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BE" dirty="0"/>
          </a:p>
        </p:txBody>
      </p:sp>
      <p:sp>
        <p:nvSpPr>
          <p:cNvPr id="25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472072" y="2191174"/>
            <a:ext cx="2983043" cy="1086811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lang="nl-NL" sz="2400" kern="1200" dirty="0">
                <a:solidFill>
                  <a:schemeClr val="accent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256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705020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2478290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inf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afbeelding 14">
            <a:extLst>
              <a:ext uri="{FF2B5EF4-FFF2-40B4-BE49-F238E27FC236}">
                <a16:creationId xmlns:a16="http://schemas.microsoft.com/office/drawing/2014/main" id="{082B9D0C-0783-431C-BFBF-3A3AA871FE8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85000"/>
              <a:alpha val="78000"/>
            </a:schemeClr>
          </a:solidFill>
        </p:spPr>
        <p:txBody>
          <a:bodyPr anchor="ctr" anchorCtr="0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&gt;&gt;&gt;&gt;&gt;&gt;&gt;&gt;&gt; Click to add picture &gt;</a:t>
            </a:r>
            <a:endParaRPr lang="en-BE" dirty="0"/>
          </a:p>
        </p:txBody>
      </p:sp>
      <p:sp>
        <p:nvSpPr>
          <p:cNvPr id="6" name="Tijdelijke aanduiding voor tekst 25">
            <a:extLst>
              <a:ext uri="{FF2B5EF4-FFF2-40B4-BE49-F238E27FC236}">
                <a16:creationId xmlns:a16="http://schemas.microsoft.com/office/drawing/2014/main" id="{6A895D29-FC6A-432A-8385-E2F1D027CD96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 flipH="1">
            <a:off x="6096000" y="800100"/>
            <a:ext cx="5329238" cy="5257800"/>
          </a:xfrm>
          <a:prstGeom prst="rect">
            <a:avLst/>
          </a:prstGeom>
          <a:blipFill dpi="0" rotWithShape="1">
            <a:blip r:embed="rId2">
              <a:alphaModFix amt="50000"/>
            </a:blip>
            <a:srcRect/>
            <a:stretch>
              <a:fillRect/>
            </a:stretch>
          </a:blipFill>
        </p:spPr>
        <p:txBody>
          <a:bodyPr lIns="1005840" tIns="2194560" rIns="182880" bIns="1188720"/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nl-BE" smtClean="0"/>
              <a:t> </a:t>
            </a:r>
            <a:endParaRPr lang="en-BE" dirty="0"/>
          </a:p>
        </p:txBody>
      </p:sp>
      <p:sp>
        <p:nvSpPr>
          <p:cNvPr id="253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80020" y="1479973"/>
            <a:ext cx="2992891" cy="7112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lang="en-BE" sz="2800" b="1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BE" dirty="0"/>
          </a:p>
        </p:txBody>
      </p:sp>
      <p:sp>
        <p:nvSpPr>
          <p:cNvPr id="25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80275" y="2191174"/>
            <a:ext cx="2983043" cy="1086811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lang="nl-NL" sz="2400" kern="1200" dirty="0">
                <a:solidFill>
                  <a:schemeClr val="accent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7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7055229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2923434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&amp;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jdelijke aanduiding voor afbeelding 3">
            <a:extLst>
              <a:ext uri="{FF2B5EF4-FFF2-40B4-BE49-F238E27FC236}">
                <a16:creationId xmlns:a16="http://schemas.microsoft.com/office/drawing/2014/main" id="{E2D5FF81-71AA-4A77-BAFA-7D04F841B0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67299" y="1905000"/>
            <a:ext cx="2160000" cy="1346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Tx/>
              <a:buNone/>
              <a:defRPr sz="11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add icon</a:t>
            </a:r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2F64FA00-F52F-4F8C-9ED0-8C00855A7D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6763" y="3647804"/>
            <a:ext cx="10661665" cy="216879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>
              <a:buFontTx/>
              <a:buNone/>
              <a:defRPr sz="360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7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1904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&amp;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2F64FA00-F52F-4F8C-9ED0-8C00855A7D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6763" y="3647804"/>
            <a:ext cx="10661665" cy="216879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>
              <a:buFontTx/>
              <a:buNone/>
              <a:defRPr sz="3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endParaRPr lang="nl-NL" dirty="0"/>
          </a:p>
        </p:txBody>
      </p:sp>
      <p:sp>
        <p:nvSpPr>
          <p:cNvPr id="17" name="Tijdelijke aanduiding voor afbeelding 3">
            <a:extLst>
              <a:ext uri="{FF2B5EF4-FFF2-40B4-BE49-F238E27FC236}">
                <a16:creationId xmlns:a16="http://schemas.microsoft.com/office/drawing/2014/main" id="{E2D5FF81-71AA-4A77-BAFA-7D04F841B0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67299" y="1905000"/>
            <a:ext cx="2160000" cy="1346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add icon</a:t>
            </a:r>
          </a:p>
        </p:txBody>
      </p:sp>
      <p:sp>
        <p:nvSpPr>
          <p:cNvPr id="10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1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4"/>
          <p:cNvGrpSpPr>
            <a:grpSpLocks noChangeAspect="1"/>
          </p:cNvGrpSpPr>
          <p:nvPr userDrawn="1"/>
        </p:nvGrpSpPr>
        <p:grpSpPr bwMode="auto">
          <a:xfrm>
            <a:off x="304800" y="6440488"/>
            <a:ext cx="733425" cy="166687"/>
            <a:chOff x="192" y="4057"/>
            <a:chExt cx="462" cy="105"/>
          </a:xfrm>
        </p:grpSpPr>
        <p:sp>
          <p:nvSpPr>
            <p:cNvPr id="12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92" y="4057"/>
              <a:ext cx="46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/>
            </p:cNvSpPr>
            <p:nvPr userDrawn="1"/>
          </p:nvSpPr>
          <p:spPr bwMode="auto">
            <a:xfrm>
              <a:off x="351" y="4121"/>
              <a:ext cx="59" cy="41"/>
            </a:xfrm>
            <a:custGeom>
              <a:avLst/>
              <a:gdLst>
                <a:gd name="T0" fmla="*/ 884 w 884"/>
                <a:gd name="T1" fmla="*/ 618 h 618"/>
                <a:gd name="T2" fmla="*/ 339 w 884"/>
                <a:gd name="T3" fmla="*/ 0 h 618"/>
                <a:gd name="T4" fmla="*/ 0 w 884"/>
                <a:gd name="T5" fmla="*/ 0 h 618"/>
                <a:gd name="T6" fmla="*/ 539 w 884"/>
                <a:gd name="T7" fmla="*/ 618 h 618"/>
                <a:gd name="T8" fmla="*/ 884 w 884"/>
                <a:gd name="T9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4" h="618">
                  <a:moveTo>
                    <a:pt x="884" y="618"/>
                  </a:moveTo>
                  <a:lnTo>
                    <a:pt x="339" y="0"/>
                  </a:lnTo>
                  <a:lnTo>
                    <a:pt x="0" y="0"/>
                  </a:lnTo>
                  <a:lnTo>
                    <a:pt x="539" y="618"/>
                  </a:lnTo>
                  <a:lnTo>
                    <a:pt x="884" y="6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30" y="4057"/>
              <a:ext cx="17" cy="105"/>
            </a:xfrm>
            <a:custGeom>
              <a:avLst/>
              <a:gdLst>
                <a:gd name="T0" fmla="*/ 0 w 253"/>
                <a:gd name="T1" fmla="*/ 0 h 1572"/>
                <a:gd name="T2" fmla="*/ 0 w 253"/>
                <a:gd name="T3" fmla="*/ 1572 h 1572"/>
                <a:gd name="T4" fmla="*/ 253 w 253"/>
                <a:gd name="T5" fmla="*/ 1572 h 1572"/>
                <a:gd name="T6" fmla="*/ 253 w 253"/>
                <a:gd name="T7" fmla="*/ 999 h 1572"/>
                <a:gd name="T8" fmla="*/ 253 w 253"/>
                <a:gd name="T9" fmla="*/ 1000 h 1572"/>
                <a:gd name="T10" fmla="*/ 253 w 253"/>
                <a:gd name="T11" fmla="*/ 941 h 1572"/>
                <a:gd name="T12" fmla="*/ 253 w 253"/>
                <a:gd name="T13" fmla="*/ 942 h 1572"/>
                <a:gd name="T14" fmla="*/ 253 w 253"/>
                <a:gd name="T15" fmla="*/ 0 h 1572"/>
                <a:gd name="T16" fmla="*/ 0 w 253"/>
                <a:gd name="T17" fmla="*/ 0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1572">
                  <a:moveTo>
                    <a:pt x="0" y="0"/>
                  </a:moveTo>
                  <a:lnTo>
                    <a:pt x="0" y="1572"/>
                  </a:lnTo>
                  <a:lnTo>
                    <a:pt x="253" y="1572"/>
                  </a:lnTo>
                  <a:lnTo>
                    <a:pt x="253" y="999"/>
                  </a:lnTo>
                  <a:lnTo>
                    <a:pt x="253" y="1000"/>
                  </a:lnTo>
                  <a:lnTo>
                    <a:pt x="253" y="941"/>
                  </a:lnTo>
                  <a:lnTo>
                    <a:pt x="253" y="942"/>
                  </a:lnTo>
                  <a:lnTo>
                    <a:pt x="2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3"/>
            <p:cNvSpPr>
              <a:spLocks noEditPoints="1"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3 w 1136"/>
                <a:gd name="T1" fmla="*/ 529 h 1181"/>
                <a:gd name="T2" fmla="*/ 25 w 1136"/>
                <a:gd name="T3" fmla="*/ 412 h 1181"/>
                <a:gd name="T4" fmla="*/ 68 w 1136"/>
                <a:gd name="T5" fmla="*/ 305 h 1181"/>
                <a:gd name="T6" fmla="*/ 130 w 1136"/>
                <a:gd name="T7" fmla="*/ 211 h 1181"/>
                <a:gd name="T8" fmla="*/ 209 w 1136"/>
                <a:gd name="T9" fmla="*/ 132 h 1181"/>
                <a:gd name="T10" fmla="*/ 302 w 1136"/>
                <a:gd name="T11" fmla="*/ 69 h 1181"/>
                <a:gd name="T12" fmla="*/ 409 w 1136"/>
                <a:gd name="T13" fmla="*/ 25 h 1181"/>
                <a:gd name="T14" fmla="*/ 526 w 1136"/>
                <a:gd name="T15" fmla="*/ 3 h 1181"/>
                <a:gd name="T16" fmla="*/ 617 w 1136"/>
                <a:gd name="T17" fmla="*/ 0 h 1181"/>
                <a:gd name="T18" fmla="*/ 729 w 1136"/>
                <a:gd name="T19" fmla="*/ 15 h 1181"/>
                <a:gd name="T20" fmla="*/ 830 w 1136"/>
                <a:gd name="T21" fmla="*/ 51 h 1181"/>
                <a:gd name="T22" fmla="*/ 918 w 1136"/>
                <a:gd name="T23" fmla="*/ 105 h 1181"/>
                <a:gd name="T24" fmla="*/ 993 w 1136"/>
                <a:gd name="T25" fmla="*/ 177 h 1181"/>
                <a:gd name="T26" fmla="*/ 1053 w 1136"/>
                <a:gd name="T27" fmla="*/ 266 h 1181"/>
                <a:gd name="T28" fmla="*/ 1098 w 1136"/>
                <a:gd name="T29" fmla="*/ 371 h 1181"/>
                <a:gd name="T30" fmla="*/ 1127 w 1136"/>
                <a:gd name="T31" fmla="*/ 491 h 1181"/>
                <a:gd name="T32" fmla="*/ 1136 w 1136"/>
                <a:gd name="T33" fmla="*/ 658 h 1181"/>
                <a:gd name="T34" fmla="*/ 267 w 1136"/>
                <a:gd name="T35" fmla="*/ 689 h 1181"/>
                <a:gd name="T36" fmla="*/ 287 w 1136"/>
                <a:gd name="T37" fmla="*/ 744 h 1181"/>
                <a:gd name="T38" fmla="*/ 315 w 1136"/>
                <a:gd name="T39" fmla="*/ 794 h 1181"/>
                <a:gd name="T40" fmla="*/ 350 w 1136"/>
                <a:gd name="T41" fmla="*/ 837 h 1181"/>
                <a:gd name="T42" fmla="*/ 395 w 1136"/>
                <a:gd name="T43" fmla="*/ 873 h 1181"/>
                <a:gd name="T44" fmla="*/ 444 w 1136"/>
                <a:gd name="T45" fmla="*/ 901 h 1181"/>
                <a:gd name="T46" fmla="*/ 500 w 1136"/>
                <a:gd name="T47" fmla="*/ 920 h 1181"/>
                <a:gd name="T48" fmla="*/ 561 w 1136"/>
                <a:gd name="T49" fmla="*/ 930 h 1181"/>
                <a:gd name="T50" fmla="*/ 617 w 1136"/>
                <a:gd name="T51" fmla="*/ 930 h 1181"/>
                <a:gd name="T52" fmla="*/ 711 w 1136"/>
                <a:gd name="T53" fmla="*/ 914 h 1181"/>
                <a:gd name="T54" fmla="*/ 789 w 1136"/>
                <a:gd name="T55" fmla="*/ 881 h 1181"/>
                <a:gd name="T56" fmla="*/ 853 w 1136"/>
                <a:gd name="T57" fmla="*/ 837 h 1181"/>
                <a:gd name="T58" fmla="*/ 1061 w 1136"/>
                <a:gd name="T59" fmla="*/ 982 h 1181"/>
                <a:gd name="T60" fmla="*/ 998 w 1136"/>
                <a:gd name="T61" fmla="*/ 1043 h 1181"/>
                <a:gd name="T62" fmla="*/ 894 w 1136"/>
                <a:gd name="T63" fmla="*/ 1110 h 1181"/>
                <a:gd name="T64" fmla="*/ 770 w 1136"/>
                <a:gd name="T65" fmla="*/ 1157 h 1181"/>
                <a:gd name="T66" fmla="*/ 630 w 1136"/>
                <a:gd name="T67" fmla="*/ 1180 h 1181"/>
                <a:gd name="T68" fmla="*/ 529 w 1136"/>
                <a:gd name="T69" fmla="*/ 1178 h 1181"/>
                <a:gd name="T70" fmla="*/ 411 w 1136"/>
                <a:gd name="T71" fmla="*/ 1155 h 1181"/>
                <a:gd name="T72" fmla="*/ 304 w 1136"/>
                <a:gd name="T73" fmla="*/ 1111 h 1181"/>
                <a:gd name="T74" fmla="*/ 210 w 1136"/>
                <a:gd name="T75" fmla="*/ 1048 h 1181"/>
                <a:gd name="T76" fmla="*/ 131 w 1136"/>
                <a:gd name="T77" fmla="*/ 969 h 1181"/>
                <a:gd name="T78" fmla="*/ 68 w 1136"/>
                <a:gd name="T79" fmla="*/ 875 h 1181"/>
                <a:gd name="T80" fmla="*/ 25 w 1136"/>
                <a:gd name="T81" fmla="*/ 769 h 1181"/>
                <a:gd name="T82" fmla="*/ 3 w 1136"/>
                <a:gd name="T83" fmla="*/ 652 h 1181"/>
                <a:gd name="T84" fmla="*/ 858 w 1136"/>
                <a:gd name="T85" fmla="*/ 464 h 1181"/>
                <a:gd name="T86" fmla="*/ 834 w 1136"/>
                <a:gd name="T87" fmla="*/ 385 h 1181"/>
                <a:gd name="T88" fmla="*/ 777 w 1136"/>
                <a:gd name="T89" fmla="*/ 305 h 1181"/>
                <a:gd name="T90" fmla="*/ 697 w 1136"/>
                <a:gd name="T91" fmla="*/ 253 h 1181"/>
                <a:gd name="T92" fmla="*/ 597 w 1136"/>
                <a:gd name="T93" fmla="*/ 232 h 1181"/>
                <a:gd name="T94" fmla="*/ 519 w 1136"/>
                <a:gd name="T95" fmla="*/ 235 h 1181"/>
                <a:gd name="T96" fmla="*/ 425 w 1136"/>
                <a:gd name="T97" fmla="*/ 267 h 1181"/>
                <a:gd name="T98" fmla="*/ 346 w 1136"/>
                <a:gd name="T99" fmla="*/ 327 h 1181"/>
                <a:gd name="T100" fmla="*/ 288 w 1136"/>
                <a:gd name="T101" fmla="*/ 413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  <a:moveTo>
                    <a:pt x="268" y="464"/>
                  </a:moveTo>
                  <a:lnTo>
                    <a:pt x="858" y="464"/>
                  </a:lnTo>
                  <a:lnTo>
                    <a:pt x="858" y="464"/>
                  </a:lnTo>
                  <a:lnTo>
                    <a:pt x="852" y="435"/>
                  </a:lnTo>
                  <a:lnTo>
                    <a:pt x="844" y="410"/>
                  </a:lnTo>
                  <a:lnTo>
                    <a:pt x="834" y="385"/>
                  </a:lnTo>
                  <a:lnTo>
                    <a:pt x="822" y="362"/>
                  </a:lnTo>
                  <a:lnTo>
                    <a:pt x="809" y="341"/>
                  </a:lnTo>
                  <a:lnTo>
                    <a:pt x="794" y="322"/>
                  </a:lnTo>
                  <a:lnTo>
                    <a:pt x="777" y="305"/>
                  </a:lnTo>
                  <a:lnTo>
                    <a:pt x="760" y="289"/>
                  </a:lnTo>
                  <a:lnTo>
                    <a:pt x="740" y="275"/>
                  </a:lnTo>
                  <a:lnTo>
                    <a:pt x="720" y="264"/>
                  </a:lnTo>
                  <a:lnTo>
                    <a:pt x="697" y="253"/>
                  </a:lnTo>
                  <a:lnTo>
                    <a:pt x="674" y="245"/>
                  </a:lnTo>
                  <a:lnTo>
                    <a:pt x="650" y="239"/>
                  </a:lnTo>
                  <a:lnTo>
                    <a:pt x="623" y="234"/>
                  </a:lnTo>
                  <a:lnTo>
                    <a:pt x="597" y="232"/>
                  </a:lnTo>
                  <a:lnTo>
                    <a:pt x="569" y="231"/>
                  </a:lnTo>
                  <a:lnTo>
                    <a:pt x="569" y="231"/>
                  </a:lnTo>
                  <a:lnTo>
                    <a:pt x="544" y="232"/>
                  </a:lnTo>
                  <a:lnTo>
                    <a:pt x="519" y="235"/>
                  </a:lnTo>
                  <a:lnTo>
                    <a:pt x="494" y="240"/>
                  </a:lnTo>
                  <a:lnTo>
                    <a:pt x="471" y="247"/>
                  </a:lnTo>
                  <a:lnTo>
                    <a:pt x="448" y="255"/>
                  </a:lnTo>
                  <a:lnTo>
                    <a:pt x="425" y="267"/>
                  </a:lnTo>
                  <a:lnTo>
                    <a:pt x="404" y="279"/>
                  </a:lnTo>
                  <a:lnTo>
                    <a:pt x="383" y="293"/>
                  </a:lnTo>
                  <a:lnTo>
                    <a:pt x="364" y="310"/>
                  </a:lnTo>
                  <a:lnTo>
                    <a:pt x="346" y="327"/>
                  </a:lnTo>
                  <a:lnTo>
                    <a:pt x="329" y="346"/>
                  </a:lnTo>
                  <a:lnTo>
                    <a:pt x="314" y="367"/>
                  </a:lnTo>
                  <a:lnTo>
                    <a:pt x="300" y="389"/>
                  </a:lnTo>
                  <a:lnTo>
                    <a:pt x="288" y="413"/>
                  </a:lnTo>
                  <a:lnTo>
                    <a:pt x="277" y="437"/>
                  </a:lnTo>
                  <a:lnTo>
                    <a:pt x="26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4"/>
            <p:cNvSpPr>
              <a:spLocks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1 w 1136"/>
                <a:gd name="T1" fmla="*/ 559 h 1181"/>
                <a:gd name="T2" fmla="*/ 11 w 1136"/>
                <a:gd name="T3" fmla="*/ 469 h 1181"/>
                <a:gd name="T4" fmla="*/ 34 w 1136"/>
                <a:gd name="T5" fmla="*/ 383 h 1181"/>
                <a:gd name="T6" fmla="*/ 68 w 1136"/>
                <a:gd name="T7" fmla="*/ 305 h 1181"/>
                <a:gd name="T8" fmla="*/ 113 w 1136"/>
                <a:gd name="T9" fmla="*/ 233 h 1181"/>
                <a:gd name="T10" fmla="*/ 168 w 1136"/>
                <a:gd name="T11" fmla="*/ 170 h 1181"/>
                <a:gd name="T12" fmla="*/ 231 w 1136"/>
                <a:gd name="T13" fmla="*/ 114 h 1181"/>
                <a:gd name="T14" fmla="*/ 302 w 1136"/>
                <a:gd name="T15" fmla="*/ 69 h 1181"/>
                <a:gd name="T16" fmla="*/ 381 w 1136"/>
                <a:gd name="T17" fmla="*/ 35 h 1181"/>
                <a:gd name="T18" fmla="*/ 466 w 1136"/>
                <a:gd name="T19" fmla="*/ 11 h 1181"/>
                <a:gd name="T20" fmla="*/ 557 w 1136"/>
                <a:gd name="T21" fmla="*/ 0 h 1181"/>
                <a:gd name="T22" fmla="*/ 617 w 1136"/>
                <a:gd name="T23" fmla="*/ 0 h 1181"/>
                <a:gd name="T24" fmla="*/ 702 w 1136"/>
                <a:gd name="T25" fmla="*/ 10 h 1181"/>
                <a:gd name="T26" fmla="*/ 781 w 1136"/>
                <a:gd name="T27" fmla="*/ 30 h 1181"/>
                <a:gd name="T28" fmla="*/ 853 w 1136"/>
                <a:gd name="T29" fmla="*/ 62 h 1181"/>
                <a:gd name="T30" fmla="*/ 918 w 1136"/>
                <a:gd name="T31" fmla="*/ 105 h 1181"/>
                <a:gd name="T32" fmla="*/ 975 w 1136"/>
                <a:gd name="T33" fmla="*/ 157 h 1181"/>
                <a:gd name="T34" fmla="*/ 1026 w 1136"/>
                <a:gd name="T35" fmla="*/ 220 h 1181"/>
                <a:gd name="T36" fmla="*/ 1067 w 1136"/>
                <a:gd name="T37" fmla="*/ 291 h 1181"/>
                <a:gd name="T38" fmla="*/ 1098 w 1136"/>
                <a:gd name="T39" fmla="*/ 371 h 1181"/>
                <a:gd name="T40" fmla="*/ 1121 w 1136"/>
                <a:gd name="T41" fmla="*/ 460 h 1181"/>
                <a:gd name="T42" fmla="*/ 1134 w 1136"/>
                <a:gd name="T43" fmla="*/ 556 h 1181"/>
                <a:gd name="T44" fmla="*/ 261 w 1136"/>
                <a:gd name="T45" fmla="*/ 658 h 1181"/>
                <a:gd name="T46" fmla="*/ 267 w 1136"/>
                <a:gd name="T47" fmla="*/ 689 h 1181"/>
                <a:gd name="T48" fmla="*/ 281 w 1136"/>
                <a:gd name="T49" fmla="*/ 731 h 1181"/>
                <a:gd name="T50" fmla="*/ 299 w 1136"/>
                <a:gd name="T51" fmla="*/ 770 h 1181"/>
                <a:gd name="T52" fmla="*/ 323 w 1136"/>
                <a:gd name="T53" fmla="*/ 806 h 1181"/>
                <a:gd name="T54" fmla="*/ 350 w 1136"/>
                <a:gd name="T55" fmla="*/ 837 h 1181"/>
                <a:gd name="T56" fmla="*/ 382 w 1136"/>
                <a:gd name="T57" fmla="*/ 865 h 1181"/>
                <a:gd name="T58" fmla="*/ 418 w 1136"/>
                <a:gd name="T59" fmla="*/ 887 h 1181"/>
                <a:gd name="T60" fmla="*/ 457 w 1136"/>
                <a:gd name="T61" fmla="*/ 907 h 1181"/>
                <a:gd name="T62" fmla="*/ 500 w 1136"/>
                <a:gd name="T63" fmla="*/ 920 h 1181"/>
                <a:gd name="T64" fmla="*/ 544 w 1136"/>
                <a:gd name="T65" fmla="*/ 928 h 1181"/>
                <a:gd name="T66" fmla="*/ 593 w 1136"/>
                <a:gd name="T67" fmla="*/ 931 h 1181"/>
                <a:gd name="T68" fmla="*/ 642 w 1136"/>
                <a:gd name="T69" fmla="*/ 928 h 1181"/>
                <a:gd name="T70" fmla="*/ 711 w 1136"/>
                <a:gd name="T71" fmla="*/ 914 h 1181"/>
                <a:gd name="T72" fmla="*/ 771 w 1136"/>
                <a:gd name="T73" fmla="*/ 891 h 1181"/>
                <a:gd name="T74" fmla="*/ 822 w 1136"/>
                <a:gd name="T75" fmla="*/ 861 h 1181"/>
                <a:gd name="T76" fmla="*/ 867 w 1136"/>
                <a:gd name="T77" fmla="*/ 825 h 1181"/>
                <a:gd name="T78" fmla="*/ 1061 w 1136"/>
                <a:gd name="T79" fmla="*/ 982 h 1181"/>
                <a:gd name="T80" fmla="*/ 1020 w 1136"/>
                <a:gd name="T81" fmla="*/ 1024 h 1181"/>
                <a:gd name="T82" fmla="*/ 949 w 1136"/>
                <a:gd name="T83" fmla="*/ 1079 h 1181"/>
                <a:gd name="T84" fmla="*/ 866 w 1136"/>
                <a:gd name="T85" fmla="*/ 1124 h 1181"/>
                <a:gd name="T86" fmla="*/ 770 w 1136"/>
                <a:gd name="T87" fmla="*/ 1157 h 1181"/>
                <a:gd name="T88" fmla="*/ 667 w 1136"/>
                <a:gd name="T89" fmla="*/ 1177 h 1181"/>
                <a:gd name="T90" fmla="*/ 593 w 1136"/>
                <a:gd name="T91" fmla="*/ 1181 h 1181"/>
                <a:gd name="T92" fmla="*/ 499 w 1136"/>
                <a:gd name="T93" fmla="*/ 1174 h 1181"/>
                <a:gd name="T94" fmla="*/ 411 w 1136"/>
                <a:gd name="T95" fmla="*/ 1155 h 1181"/>
                <a:gd name="T96" fmla="*/ 330 w 1136"/>
                <a:gd name="T97" fmla="*/ 1124 h 1181"/>
                <a:gd name="T98" fmla="*/ 255 w 1136"/>
                <a:gd name="T99" fmla="*/ 1082 h 1181"/>
                <a:gd name="T100" fmla="*/ 188 w 1136"/>
                <a:gd name="T101" fmla="*/ 1031 h 1181"/>
                <a:gd name="T102" fmla="*/ 131 w 1136"/>
                <a:gd name="T103" fmla="*/ 969 h 1181"/>
                <a:gd name="T104" fmla="*/ 83 w 1136"/>
                <a:gd name="T105" fmla="*/ 900 h 1181"/>
                <a:gd name="T106" fmla="*/ 45 w 1136"/>
                <a:gd name="T107" fmla="*/ 823 h 1181"/>
                <a:gd name="T108" fmla="*/ 17 w 1136"/>
                <a:gd name="T109" fmla="*/ 740 h 1181"/>
                <a:gd name="T110" fmla="*/ 3 w 1136"/>
                <a:gd name="T111" fmla="*/ 65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5"/>
            <p:cNvSpPr>
              <a:spLocks/>
            </p:cNvSpPr>
            <p:nvPr userDrawn="1"/>
          </p:nvSpPr>
          <p:spPr bwMode="auto">
            <a:xfrm>
              <a:off x="521" y="4099"/>
              <a:ext cx="39" cy="15"/>
            </a:xfrm>
            <a:custGeom>
              <a:avLst/>
              <a:gdLst>
                <a:gd name="T0" fmla="*/ 0 w 590"/>
                <a:gd name="T1" fmla="*/ 233 h 233"/>
                <a:gd name="T2" fmla="*/ 590 w 590"/>
                <a:gd name="T3" fmla="*/ 233 h 233"/>
                <a:gd name="T4" fmla="*/ 590 w 590"/>
                <a:gd name="T5" fmla="*/ 233 h 233"/>
                <a:gd name="T6" fmla="*/ 584 w 590"/>
                <a:gd name="T7" fmla="*/ 204 h 233"/>
                <a:gd name="T8" fmla="*/ 576 w 590"/>
                <a:gd name="T9" fmla="*/ 179 h 233"/>
                <a:gd name="T10" fmla="*/ 566 w 590"/>
                <a:gd name="T11" fmla="*/ 154 h 233"/>
                <a:gd name="T12" fmla="*/ 554 w 590"/>
                <a:gd name="T13" fmla="*/ 131 h 233"/>
                <a:gd name="T14" fmla="*/ 541 w 590"/>
                <a:gd name="T15" fmla="*/ 110 h 233"/>
                <a:gd name="T16" fmla="*/ 526 w 590"/>
                <a:gd name="T17" fmla="*/ 91 h 233"/>
                <a:gd name="T18" fmla="*/ 509 w 590"/>
                <a:gd name="T19" fmla="*/ 74 h 233"/>
                <a:gd name="T20" fmla="*/ 492 w 590"/>
                <a:gd name="T21" fmla="*/ 58 h 233"/>
                <a:gd name="T22" fmla="*/ 472 w 590"/>
                <a:gd name="T23" fmla="*/ 44 h 233"/>
                <a:gd name="T24" fmla="*/ 452 w 590"/>
                <a:gd name="T25" fmla="*/ 33 h 233"/>
                <a:gd name="T26" fmla="*/ 429 w 590"/>
                <a:gd name="T27" fmla="*/ 22 h 233"/>
                <a:gd name="T28" fmla="*/ 406 w 590"/>
                <a:gd name="T29" fmla="*/ 14 h 233"/>
                <a:gd name="T30" fmla="*/ 382 w 590"/>
                <a:gd name="T31" fmla="*/ 8 h 233"/>
                <a:gd name="T32" fmla="*/ 355 w 590"/>
                <a:gd name="T33" fmla="*/ 3 h 233"/>
                <a:gd name="T34" fmla="*/ 329 w 590"/>
                <a:gd name="T35" fmla="*/ 1 h 233"/>
                <a:gd name="T36" fmla="*/ 301 w 590"/>
                <a:gd name="T37" fmla="*/ 0 h 233"/>
                <a:gd name="T38" fmla="*/ 301 w 590"/>
                <a:gd name="T39" fmla="*/ 0 h 233"/>
                <a:gd name="T40" fmla="*/ 276 w 590"/>
                <a:gd name="T41" fmla="*/ 1 h 233"/>
                <a:gd name="T42" fmla="*/ 251 w 590"/>
                <a:gd name="T43" fmla="*/ 4 h 233"/>
                <a:gd name="T44" fmla="*/ 226 w 590"/>
                <a:gd name="T45" fmla="*/ 9 h 233"/>
                <a:gd name="T46" fmla="*/ 203 w 590"/>
                <a:gd name="T47" fmla="*/ 16 h 233"/>
                <a:gd name="T48" fmla="*/ 180 w 590"/>
                <a:gd name="T49" fmla="*/ 24 h 233"/>
                <a:gd name="T50" fmla="*/ 157 w 590"/>
                <a:gd name="T51" fmla="*/ 36 h 233"/>
                <a:gd name="T52" fmla="*/ 136 w 590"/>
                <a:gd name="T53" fmla="*/ 48 h 233"/>
                <a:gd name="T54" fmla="*/ 115 w 590"/>
                <a:gd name="T55" fmla="*/ 62 h 233"/>
                <a:gd name="T56" fmla="*/ 96 w 590"/>
                <a:gd name="T57" fmla="*/ 79 h 233"/>
                <a:gd name="T58" fmla="*/ 78 w 590"/>
                <a:gd name="T59" fmla="*/ 96 h 233"/>
                <a:gd name="T60" fmla="*/ 61 w 590"/>
                <a:gd name="T61" fmla="*/ 115 h 233"/>
                <a:gd name="T62" fmla="*/ 46 w 590"/>
                <a:gd name="T63" fmla="*/ 136 h 233"/>
                <a:gd name="T64" fmla="*/ 32 w 590"/>
                <a:gd name="T65" fmla="*/ 158 h 233"/>
                <a:gd name="T66" fmla="*/ 20 w 590"/>
                <a:gd name="T67" fmla="*/ 182 h 233"/>
                <a:gd name="T68" fmla="*/ 9 w 590"/>
                <a:gd name="T69" fmla="*/ 206 h 233"/>
                <a:gd name="T70" fmla="*/ 0 w 590"/>
                <a:gd name="T71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90" h="233">
                  <a:moveTo>
                    <a:pt x="0" y="233"/>
                  </a:moveTo>
                  <a:lnTo>
                    <a:pt x="590" y="233"/>
                  </a:lnTo>
                  <a:lnTo>
                    <a:pt x="590" y="233"/>
                  </a:lnTo>
                  <a:lnTo>
                    <a:pt x="584" y="204"/>
                  </a:lnTo>
                  <a:lnTo>
                    <a:pt x="576" y="179"/>
                  </a:lnTo>
                  <a:lnTo>
                    <a:pt x="566" y="154"/>
                  </a:lnTo>
                  <a:lnTo>
                    <a:pt x="554" y="131"/>
                  </a:lnTo>
                  <a:lnTo>
                    <a:pt x="541" y="110"/>
                  </a:lnTo>
                  <a:lnTo>
                    <a:pt x="526" y="91"/>
                  </a:lnTo>
                  <a:lnTo>
                    <a:pt x="509" y="74"/>
                  </a:lnTo>
                  <a:lnTo>
                    <a:pt x="492" y="58"/>
                  </a:lnTo>
                  <a:lnTo>
                    <a:pt x="472" y="44"/>
                  </a:lnTo>
                  <a:lnTo>
                    <a:pt x="452" y="33"/>
                  </a:lnTo>
                  <a:lnTo>
                    <a:pt x="429" y="22"/>
                  </a:lnTo>
                  <a:lnTo>
                    <a:pt x="406" y="14"/>
                  </a:lnTo>
                  <a:lnTo>
                    <a:pt x="382" y="8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276" y="1"/>
                  </a:lnTo>
                  <a:lnTo>
                    <a:pt x="251" y="4"/>
                  </a:lnTo>
                  <a:lnTo>
                    <a:pt x="226" y="9"/>
                  </a:lnTo>
                  <a:lnTo>
                    <a:pt x="203" y="16"/>
                  </a:lnTo>
                  <a:lnTo>
                    <a:pt x="180" y="24"/>
                  </a:lnTo>
                  <a:lnTo>
                    <a:pt x="157" y="36"/>
                  </a:lnTo>
                  <a:lnTo>
                    <a:pt x="136" y="48"/>
                  </a:lnTo>
                  <a:lnTo>
                    <a:pt x="115" y="62"/>
                  </a:lnTo>
                  <a:lnTo>
                    <a:pt x="96" y="79"/>
                  </a:lnTo>
                  <a:lnTo>
                    <a:pt x="78" y="96"/>
                  </a:lnTo>
                  <a:lnTo>
                    <a:pt x="61" y="115"/>
                  </a:lnTo>
                  <a:lnTo>
                    <a:pt x="46" y="136"/>
                  </a:lnTo>
                  <a:lnTo>
                    <a:pt x="32" y="158"/>
                  </a:lnTo>
                  <a:lnTo>
                    <a:pt x="20" y="182"/>
                  </a:lnTo>
                  <a:lnTo>
                    <a:pt x="9" y="206"/>
                  </a:lnTo>
                  <a:lnTo>
                    <a:pt x="0" y="2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6"/>
            <p:cNvSpPr>
              <a:spLocks/>
            </p:cNvSpPr>
            <p:nvPr userDrawn="1"/>
          </p:nvSpPr>
          <p:spPr bwMode="auto">
            <a:xfrm>
              <a:off x="588" y="4083"/>
              <a:ext cx="66" cy="79"/>
            </a:xfrm>
            <a:custGeom>
              <a:avLst/>
              <a:gdLst>
                <a:gd name="T0" fmla="*/ 720 w 988"/>
                <a:gd name="T1" fmla="*/ 1179 h 1179"/>
                <a:gd name="T2" fmla="*/ 720 w 988"/>
                <a:gd name="T3" fmla="*/ 493 h 1179"/>
                <a:gd name="T4" fmla="*/ 715 w 988"/>
                <a:gd name="T5" fmla="*/ 448 h 1179"/>
                <a:gd name="T6" fmla="*/ 702 w 988"/>
                <a:gd name="T7" fmla="*/ 405 h 1179"/>
                <a:gd name="T8" fmla="*/ 681 w 988"/>
                <a:gd name="T9" fmla="*/ 367 h 1179"/>
                <a:gd name="T10" fmla="*/ 654 w 988"/>
                <a:gd name="T11" fmla="*/ 333 h 1179"/>
                <a:gd name="T12" fmla="*/ 620 w 988"/>
                <a:gd name="T13" fmla="*/ 306 h 1179"/>
                <a:gd name="T14" fmla="*/ 582 w 988"/>
                <a:gd name="T15" fmla="*/ 285 h 1179"/>
                <a:gd name="T16" fmla="*/ 540 w 988"/>
                <a:gd name="T17" fmla="*/ 272 h 1179"/>
                <a:gd name="T18" fmla="*/ 493 w 988"/>
                <a:gd name="T19" fmla="*/ 268 h 1179"/>
                <a:gd name="T20" fmla="*/ 471 w 988"/>
                <a:gd name="T21" fmla="*/ 269 h 1179"/>
                <a:gd name="T22" fmla="*/ 427 w 988"/>
                <a:gd name="T23" fmla="*/ 278 h 1179"/>
                <a:gd name="T24" fmla="*/ 386 w 988"/>
                <a:gd name="T25" fmla="*/ 294 h 1179"/>
                <a:gd name="T26" fmla="*/ 350 w 988"/>
                <a:gd name="T27" fmla="*/ 319 h 1179"/>
                <a:gd name="T28" fmla="*/ 319 w 988"/>
                <a:gd name="T29" fmla="*/ 350 h 1179"/>
                <a:gd name="T30" fmla="*/ 295 w 988"/>
                <a:gd name="T31" fmla="*/ 385 h 1179"/>
                <a:gd name="T32" fmla="*/ 278 w 988"/>
                <a:gd name="T33" fmla="*/ 425 h 1179"/>
                <a:gd name="T34" fmla="*/ 269 w 988"/>
                <a:gd name="T35" fmla="*/ 469 h 1179"/>
                <a:gd name="T36" fmla="*/ 268 w 988"/>
                <a:gd name="T37" fmla="*/ 1179 h 1179"/>
                <a:gd name="T38" fmla="*/ 0 w 988"/>
                <a:gd name="T39" fmla="*/ 493 h 1179"/>
                <a:gd name="T40" fmla="*/ 0 w 988"/>
                <a:gd name="T41" fmla="*/ 467 h 1179"/>
                <a:gd name="T42" fmla="*/ 5 w 988"/>
                <a:gd name="T43" fmla="*/ 418 h 1179"/>
                <a:gd name="T44" fmla="*/ 15 w 988"/>
                <a:gd name="T45" fmla="*/ 370 h 1179"/>
                <a:gd name="T46" fmla="*/ 30 w 988"/>
                <a:gd name="T47" fmla="*/ 323 h 1179"/>
                <a:gd name="T48" fmla="*/ 48 w 988"/>
                <a:gd name="T49" fmla="*/ 279 h 1179"/>
                <a:gd name="T50" fmla="*/ 71 w 988"/>
                <a:gd name="T51" fmla="*/ 237 h 1179"/>
                <a:gd name="T52" fmla="*/ 97 w 988"/>
                <a:gd name="T53" fmla="*/ 198 h 1179"/>
                <a:gd name="T54" fmla="*/ 128 w 988"/>
                <a:gd name="T55" fmla="*/ 161 h 1179"/>
                <a:gd name="T56" fmla="*/ 162 w 988"/>
                <a:gd name="T57" fmla="*/ 129 h 1179"/>
                <a:gd name="T58" fmla="*/ 198 w 988"/>
                <a:gd name="T59" fmla="*/ 98 h 1179"/>
                <a:gd name="T60" fmla="*/ 238 w 988"/>
                <a:gd name="T61" fmla="*/ 71 h 1179"/>
                <a:gd name="T62" fmla="*/ 280 w 988"/>
                <a:gd name="T63" fmla="*/ 49 h 1179"/>
                <a:gd name="T64" fmla="*/ 324 w 988"/>
                <a:gd name="T65" fmla="*/ 30 h 1179"/>
                <a:gd name="T66" fmla="*/ 370 w 988"/>
                <a:gd name="T67" fmla="*/ 15 h 1179"/>
                <a:gd name="T68" fmla="*/ 419 w 988"/>
                <a:gd name="T69" fmla="*/ 6 h 1179"/>
                <a:gd name="T70" fmla="*/ 469 w 988"/>
                <a:gd name="T71" fmla="*/ 1 h 1179"/>
                <a:gd name="T72" fmla="*/ 493 w 988"/>
                <a:gd name="T73" fmla="*/ 0 h 1179"/>
                <a:gd name="T74" fmla="*/ 544 w 988"/>
                <a:gd name="T75" fmla="*/ 3 h 1179"/>
                <a:gd name="T76" fmla="*/ 593 w 988"/>
                <a:gd name="T77" fmla="*/ 10 h 1179"/>
                <a:gd name="T78" fmla="*/ 640 w 988"/>
                <a:gd name="T79" fmla="*/ 22 h 1179"/>
                <a:gd name="T80" fmla="*/ 686 w 988"/>
                <a:gd name="T81" fmla="*/ 39 h 1179"/>
                <a:gd name="T82" fmla="*/ 729 w 988"/>
                <a:gd name="T83" fmla="*/ 59 h 1179"/>
                <a:gd name="T84" fmla="*/ 769 w 988"/>
                <a:gd name="T85" fmla="*/ 85 h 1179"/>
                <a:gd name="T86" fmla="*/ 807 w 988"/>
                <a:gd name="T87" fmla="*/ 112 h 1179"/>
                <a:gd name="T88" fmla="*/ 843 w 988"/>
                <a:gd name="T89" fmla="*/ 145 h 1179"/>
                <a:gd name="T90" fmla="*/ 875 w 988"/>
                <a:gd name="T91" fmla="*/ 180 h 1179"/>
                <a:gd name="T92" fmla="*/ 904 w 988"/>
                <a:gd name="T93" fmla="*/ 218 h 1179"/>
                <a:gd name="T94" fmla="*/ 928 w 988"/>
                <a:gd name="T95" fmla="*/ 258 h 1179"/>
                <a:gd name="T96" fmla="*/ 949 w 988"/>
                <a:gd name="T97" fmla="*/ 301 h 1179"/>
                <a:gd name="T98" fmla="*/ 965 w 988"/>
                <a:gd name="T99" fmla="*/ 346 h 1179"/>
                <a:gd name="T100" fmla="*/ 978 w 988"/>
                <a:gd name="T101" fmla="*/ 393 h 1179"/>
                <a:gd name="T102" fmla="*/ 985 w 988"/>
                <a:gd name="T103" fmla="*/ 443 h 1179"/>
                <a:gd name="T104" fmla="*/ 988 w 988"/>
                <a:gd name="T105" fmla="*/ 493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88" h="1179">
                  <a:moveTo>
                    <a:pt x="988" y="1179"/>
                  </a:moveTo>
                  <a:lnTo>
                    <a:pt x="720" y="1179"/>
                  </a:lnTo>
                  <a:lnTo>
                    <a:pt x="720" y="493"/>
                  </a:lnTo>
                  <a:lnTo>
                    <a:pt x="720" y="493"/>
                  </a:lnTo>
                  <a:lnTo>
                    <a:pt x="718" y="469"/>
                  </a:lnTo>
                  <a:lnTo>
                    <a:pt x="715" y="448"/>
                  </a:lnTo>
                  <a:lnTo>
                    <a:pt x="710" y="425"/>
                  </a:lnTo>
                  <a:lnTo>
                    <a:pt x="702" y="405"/>
                  </a:lnTo>
                  <a:lnTo>
                    <a:pt x="692" y="385"/>
                  </a:lnTo>
                  <a:lnTo>
                    <a:pt x="681" y="367"/>
                  </a:lnTo>
                  <a:lnTo>
                    <a:pt x="668" y="350"/>
                  </a:lnTo>
                  <a:lnTo>
                    <a:pt x="654" y="333"/>
                  </a:lnTo>
                  <a:lnTo>
                    <a:pt x="637" y="319"/>
                  </a:lnTo>
                  <a:lnTo>
                    <a:pt x="620" y="306"/>
                  </a:lnTo>
                  <a:lnTo>
                    <a:pt x="601" y="294"/>
                  </a:lnTo>
                  <a:lnTo>
                    <a:pt x="582" y="285"/>
                  </a:lnTo>
                  <a:lnTo>
                    <a:pt x="561" y="278"/>
                  </a:lnTo>
                  <a:lnTo>
                    <a:pt x="540" y="272"/>
                  </a:lnTo>
                  <a:lnTo>
                    <a:pt x="517" y="269"/>
                  </a:lnTo>
                  <a:lnTo>
                    <a:pt x="493" y="268"/>
                  </a:lnTo>
                  <a:lnTo>
                    <a:pt x="493" y="268"/>
                  </a:lnTo>
                  <a:lnTo>
                    <a:pt x="471" y="269"/>
                  </a:lnTo>
                  <a:lnTo>
                    <a:pt x="448" y="272"/>
                  </a:lnTo>
                  <a:lnTo>
                    <a:pt x="427" y="278"/>
                  </a:lnTo>
                  <a:lnTo>
                    <a:pt x="406" y="285"/>
                  </a:lnTo>
                  <a:lnTo>
                    <a:pt x="386" y="294"/>
                  </a:lnTo>
                  <a:lnTo>
                    <a:pt x="367" y="306"/>
                  </a:lnTo>
                  <a:lnTo>
                    <a:pt x="350" y="319"/>
                  </a:lnTo>
                  <a:lnTo>
                    <a:pt x="334" y="333"/>
                  </a:lnTo>
                  <a:lnTo>
                    <a:pt x="319" y="350"/>
                  </a:lnTo>
                  <a:lnTo>
                    <a:pt x="307" y="367"/>
                  </a:lnTo>
                  <a:lnTo>
                    <a:pt x="295" y="385"/>
                  </a:lnTo>
                  <a:lnTo>
                    <a:pt x="285" y="405"/>
                  </a:lnTo>
                  <a:lnTo>
                    <a:pt x="278" y="425"/>
                  </a:lnTo>
                  <a:lnTo>
                    <a:pt x="273" y="448"/>
                  </a:lnTo>
                  <a:lnTo>
                    <a:pt x="269" y="469"/>
                  </a:lnTo>
                  <a:lnTo>
                    <a:pt x="268" y="493"/>
                  </a:lnTo>
                  <a:lnTo>
                    <a:pt x="268" y="1179"/>
                  </a:lnTo>
                  <a:lnTo>
                    <a:pt x="0" y="1179"/>
                  </a:lnTo>
                  <a:lnTo>
                    <a:pt x="0" y="493"/>
                  </a:lnTo>
                  <a:lnTo>
                    <a:pt x="0" y="493"/>
                  </a:lnTo>
                  <a:lnTo>
                    <a:pt x="0" y="467"/>
                  </a:lnTo>
                  <a:lnTo>
                    <a:pt x="2" y="443"/>
                  </a:lnTo>
                  <a:lnTo>
                    <a:pt x="5" y="418"/>
                  </a:lnTo>
                  <a:lnTo>
                    <a:pt x="9" y="393"/>
                  </a:lnTo>
                  <a:lnTo>
                    <a:pt x="15" y="370"/>
                  </a:lnTo>
                  <a:lnTo>
                    <a:pt x="21" y="346"/>
                  </a:lnTo>
                  <a:lnTo>
                    <a:pt x="30" y="323"/>
                  </a:lnTo>
                  <a:lnTo>
                    <a:pt x="39" y="301"/>
                  </a:lnTo>
                  <a:lnTo>
                    <a:pt x="48" y="279"/>
                  </a:lnTo>
                  <a:lnTo>
                    <a:pt x="59" y="258"/>
                  </a:lnTo>
                  <a:lnTo>
                    <a:pt x="71" y="237"/>
                  </a:lnTo>
                  <a:lnTo>
                    <a:pt x="84" y="218"/>
                  </a:lnTo>
                  <a:lnTo>
                    <a:pt x="97" y="198"/>
                  </a:lnTo>
                  <a:lnTo>
                    <a:pt x="113" y="180"/>
                  </a:lnTo>
                  <a:lnTo>
                    <a:pt x="128" y="161"/>
                  </a:lnTo>
                  <a:lnTo>
                    <a:pt x="145" y="145"/>
                  </a:lnTo>
                  <a:lnTo>
                    <a:pt x="162" y="129"/>
                  </a:lnTo>
                  <a:lnTo>
                    <a:pt x="179" y="112"/>
                  </a:lnTo>
                  <a:lnTo>
                    <a:pt x="198" y="98"/>
                  </a:lnTo>
                  <a:lnTo>
                    <a:pt x="217" y="85"/>
                  </a:lnTo>
                  <a:lnTo>
                    <a:pt x="238" y="71"/>
                  </a:lnTo>
                  <a:lnTo>
                    <a:pt x="258" y="59"/>
                  </a:lnTo>
                  <a:lnTo>
                    <a:pt x="280" y="49"/>
                  </a:lnTo>
                  <a:lnTo>
                    <a:pt x="302" y="39"/>
                  </a:lnTo>
                  <a:lnTo>
                    <a:pt x="324" y="30"/>
                  </a:lnTo>
                  <a:lnTo>
                    <a:pt x="347" y="22"/>
                  </a:lnTo>
                  <a:lnTo>
                    <a:pt x="370" y="15"/>
                  </a:lnTo>
                  <a:lnTo>
                    <a:pt x="394" y="10"/>
                  </a:lnTo>
                  <a:lnTo>
                    <a:pt x="419" y="6"/>
                  </a:lnTo>
                  <a:lnTo>
                    <a:pt x="443" y="3"/>
                  </a:lnTo>
                  <a:lnTo>
                    <a:pt x="469" y="1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519" y="1"/>
                  </a:lnTo>
                  <a:lnTo>
                    <a:pt x="544" y="3"/>
                  </a:lnTo>
                  <a:lnTo>
                    <a:pt x="569" y="6"/>
                  </a:lnTo>
                  <a:lnTo>
                    <a:pt x="593" y="10"/>
                  </a:lnTo>
                  <a:lnTo>
                    <a:pt x="618" y="15"/>
                  </a:lnTo>
                  <a:lnTo>
                    <a:pt x="640" y="22"/>
                  </a:lnTo>
                  <a:lnTo>
                    <a:pt x="664" y="30"/>
                  </a:lnTo>
                  <a:lnTo>
                    <a:pt x="686" y="39"/>
                  </a:lnTo>
                  <a:lnTo>
                    <a:pt x="708" y="49"/>
                  </a:lnTo>
                  <a:lnTo>
                    <a:pt x="729" y="59"/>
                  </a:lnTo>
                  <a:lnTo>
                    <a:pt x="750" y="71"/>
                  </a:lnTo>
                  <a:lnTo>
                    <a:pt x="769" y="85"/>
                  </a:lnTo>
                  <a:lnTo>
                    <a:pt x="789" y="98"/>
                  </a:lnTo>
                  <a:lnTo>
                    <a:pt x="807" y="112"/>
                  </a:lnTo>
                  <a:lnTo>
                    <a:pt x="826" y="129"/>
                  </a:lnTo>
                  <a:lnTo>
                    <a:pt x="843" y="145"/>
                  </a:lnTo>
                  <a:lnTo>
                    <a:pt x="860" y="161"/>
                  </a:lnTo>
                  <a:lnTo>
                    <a:pt x="875" y="180"/>
                  </a:lnTo>
                  <a:lnTo>
                    <a:pt x="889" y="198"/>
                  </a:lnTo>
                  <a:lnTo>
                    <a:pt x="904" y="218"/>
                  </a:lnTo>
                  <a:lnTo>
                    <a:pt x="916" y="237"/>
                  </a:lnTo>
                  <a:lnTo>
                    <a:pt x="928" y="258"/>
                  </a:lnTo>
                  <a:lnTo>
                    <a:pt x="939" y="279"/>
                  </a:lnTo>
                  <a:lnTo>
                    <a:pt x="949" y="301"/>
                  </a:lnTo>
                  <a:lnTo>
                    <a:pt x="958" y="323"/>
                  </a:lnTo>
                  <a:lnTo>
                    <a:pt x="965" y="346"/>
                  </a:lnTo>
                  <a:lnTo>
                    <a:pt x="973" y="370"/>
                  </a:lnTo>
                  <a:lnTo>
                    <a:pt x="978" y="393"/>
                  </a:lnTo>
                  <a:lnTo>
                    <a:pt x="982" y="418"/>
                  </a:lnTo>
                  <a:lnTo>
                    <a:pt x="985" y="443"/>
                  </a:lnTo>
                  <a:lnTo>
                    <a:pt x="987" y="467"/>
                  </a:lnTo>
                  <a:lnTo>
                    <a:pt x="988" y="493"/>
                  </a:lnTo>
                  <a:lnTo>
                    <a:pt x="988" y="11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7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8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927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&amp; 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jdelijke aanduiding voor tekst 9">
            <a:extLst>
              <a:ext uri="{FF2B5EF4-FFF2-40B4-BE49-F238E27FC236}">
                <a16:creationId xmlns:a16="http://schemas.microsoft.com/office/drawing/2014/main" id="{2F64FA00-F52F-4F8C-9ED0-8C00855A7D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66763" y="3647804"/>
            <a:ext cx="10661665" cy="2168795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ctr">
              <a:buFontTx/>
              <a:buNone/>
              <a:defRPr sz="360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defRPr>
            </a:lvl1pPr>
            <a:lvl2pPr marL="457200" indent="0">
              <a:buFontTx/>
              <a:buNone/>
              <a:defRPr>
                <a:latin typeface="+mj-lt"/>
              </a:defRPr>
            </a:lvl2pPr>
            <a:lvl3pPr marL="914400" indent="0">
              <a:buFontTx/>
              <a:buNone/>
              <a:defRPr>
                <a:latin typeface="+mj-lt"/>
              </a:defRPr>
            </a:lvl3pPr>
            <a:lvl4pPr marL="1371600" indent="0">
              <a:buFontTx/>
              <a:buNone/>
              <a:defRPr>
                <a:latin typeface="+mj-lt"/>
              </a:defRPr>
            </a:lvl4pPr>
            <a:lvl5pPr marL="1828800" indent="0">
              <a:buFontTx/>
              <a:buNone/>
              <a:defRPr>
                <a:latin typeface="+mj-lt"/>
              </a:defRPr>
            </a:lvl5pPr>
          </a:lstStyle>
          <a:p>
            <a:pPr lvl="0"/>
            <a:endParaRPr lang="nl-NL" dirty="0"/>
          </a:p>
        </p:txBody>
      </p:sp>
      <p:sp>
        <p:nvSpPr>
          <p:cNvPr id="17" name="Tijdelijke aanduiding voor afbeelding 3">
            <a:extLst>
              <a:ext uri="{FF2B5EF4-FFF2-40B4-BE49-F238E27FC236}">
                <a16:creationId xmlns:a16="http://schemas.microsoft.com/office/drawing/2014/main" id="{E2D5FF81-71AA-4A77-BAFA-7D04F841B05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67299" y="1905000"/>
            <a:ext cx="2160000" cy="13464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Tx/>
              <a:buNone/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add icon</a:t>
            </a:r>
          </a:p>
        </p:txBody>
      </p:sp>
      <p:sp>
        <p:nvSpPr>
          <p:cNvPr id="8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9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4"/>
          <p:cNvGrpSpPr>
            <a:grpSpLocks noChangeAspect="1"/>
          </p:cNvGrpSpPr>
          <p:nvPr userDrawn="1"/>
        </p:nvGrpSpPr>
        <p:grpSpPr bwMode="auto">
          <a:xfrm>
            <a:off x="304800" y="6440488"/>
            <a:ext cx="733425" cy="166687"/>
            <a:chOff x="192" y="4057"/>
            <a:chExt cx="462" cy="105"/>
          </a:xfrm>
        </p:grpSpPr>
        <p:sp>
          <p:nvSpPr>
            <p:cNvPr id="12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92" y="4057"/>
              <a:ext cx="46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5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6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7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/>
            </p:cNvSpPr>
            <p:nvPr userDrawn="1"/>
          </p:nvSpPr>
          <p:spPr bwMode="auto">
            <a:xfrm>
              <a:off x="351" y="4121"/>
              <a:ext cx="59" cy="41"/>
            </a:xfrm>
            <a:custGeom>
              <a:avLst/>
              <a:gdLst>
                <a:gd name="T0" fmla="*/ 884 w 884"/>
                <a:gd name="T1" fmla="*/ 618 h 618"/>
                <a:gd name="T2" fmla="*/ 339 w 884"/>
                <a:gd name="T3" fmla="*/ 0 h 618"/>
                <a:gd name="T4" fmla="*/ 0 w 884"/>
                <a:gd name="T5" fmla="*/ 0 h 618"/>
                <a:gd name="T6" fmla="*/ 539 w 884"/>
                <a:gd name="T7" fmla="*/ 618 h 618"/>
                <a:gd name="T8" fmla="*/ 884 w 884"/>
                <a:gd name="T9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4" h="618">
                  <a:moveTo>
                    <a:pt x="884" y="618"/>
                  </a:moveTo>
                  <a:lnTo>
                    <a:pt x="339" y="0"/>
                  </a:lnTo>
                  <a:lnTo>
                    <a:pt x="0" y="0"/>
                  </a:lnTo>
                  <a:lnTo>
                    <a:pt x="539" y="618"/>
                  </a:lnTo>
                  <a:lnTo>
                    <a:pt x="884" y="6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 userDrawn="1"/>
          </p:nvSpPr>
          <p:spPr bwMode="auto">
            <a:xfrm>
              <a:off x="330" y="4057"/>
              <a:ext cx="17" cy="105"/>
            </a:xfrm>
            <a:custGeom>
              <a:avLst/>
              <a:gdLst>
                <a:gd name="T0" fmla="*/ 0 w 253"/>
                <a:gd name="T1" fmla="*/ 0 h 1572"/>
                <a:gd name="T2" fmla="*/ 0 w 253"/>
                <a:gd name="T3" fmla="*/ 1572 h 1572"/>
                <a:gd name="T4" fmla="*/ 253 w 253"/>
                <a:gd name="T5" fmla="*/ 1572 h 1572"/>
                <a:gd name="T6" fmla="*/ 253 w 253"/>
                <a:gd name="T7" fmla="*/ 999 h 1572"/>
                <a:gd name="T8" fmla="*/ 253 w 253"/>
                <a:gd name="T9" fmla="*/ 1000 h 1572"/>
                <a:gd name="T10" fmla="*/ 253 w 253"/>
                <a:gd name="T11" fmla="*/ 941 h 1572"/>
                <a:gd name="T12" fmla="*/ 253 w 253"/>
                <a:gd name="T13" fmla="*/ 942 h 1572"/>
                <a:gd name="T14" fmla="*/ 253 w 253"/>
                <a:gd name="T15" fmla="*/ 0 h 1572"/>
                <a:gd name="T16" fmla="*/ 0 w 253"/>
                <a:gd name="T17" fmla="*/ 0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1572">
                  <a:moveTo>
                    <a:pt x="0" y="0"/>
                  </a:moveTo>
                  <a:lnTo>
                    <a:pt x="0" y="1572"/>
                  </a:lnTo>
                  <a:lnTo>
                    <a:pt x="253" y="1572"/>
                  </a:lnTo>
                  <a:lnTo>
                    <a:pt x="253" y="999"/>
                  </a:lnTo>
                  <a:lnTo>
                    <a:pt x="253" y="1000"/>
                  </a:lnTo>
                  <a:lnTo>
                    <a:pt x="253" y="941"/>
                  </a:lnTo>
                  <a:lnTo>
                    <a:pt x="253" y="942"/>
                  </a:lnTo>
                  <a:lnTo>
                    <a:pt x="2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3"/>
            <p:cNvSpPr>
              <a:spLocks noEditPoints="1"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3 w 1136"/>
                <a:gd name="T1" fmla="*/ 529 h 1181"/>
                <a:gd name="T2" fmla="*/ 25 w 1136"/>
                <a:gd name="T3" fmla="*/ 412 h 1181"/>
                <a:gd name="T4" fmla="*/ 68 w 1136"/>
                <a:gd name="T5" fmla="*/ 305 h 1181"/>
                <a:gd name="T6" fmla="*/ 130 w 1136"/>
                <a:gd name="T7" fmla="*/ 211 h 1181"/>
                <a:gd name="T8" fmla="*/ 209 w 1136"/>
                <a:gd name="T9" fmla="*/ 132 h 1181"/>
                <a:gd name="T10" fmla="*/ 302 w 1136"/>
                <a:gd name="T11" fmla="*/ 69 h 1181"/>
                <a:gd name="T12" fmla="*/ 409 w 1136"/>
                <a:gd name="T13" fmla="*/ 25 h 1181"/>
                <a:gd name="T14" fmla="*/ 526 w 1136"/>
                <a:gd name="T15" fmla="*/ 3 h 1181"/>
                <a:gd name="T16" fmla="*/ 617 w 1136"/>
                <a:gd name="T17" fmla="*/ 0 h 1181"/>
                <a:gd name="T18" fmla="*/ 729 w 1136"/>
                <a:gd name="T19" fmla="*/ 15 h 1181"/>
                <a:gd name="T20" fmla="*/ 830 w 1136"/>
                <a:gd name="T21" fmla="*/ 51 h 1181"/>
                <a:gd name="T22" fmla="*/ 918 w 1136"/>
                <a:gd name="T23" fmla="*/ 105 h 1181"/>
                <a:gd name="T24" fmla="*/ 993 w 1136"/>
                <a:gd name="T25" fmla="*/ 177 h 1181"/>
                <a:gd name="T26" fmla="*/ 1053 w 1136"/>
                <a:gd name="T27" fmla="*/ 266 h 1181"/>
                <a:gd name="T28" fmla="*/ 1098 w 1136"/>
                <a:gd name="T29" fmla="*/ 371 h 1181"/>
                <a:gd name="T30" fmla="*/ 1127 w 1136"/>
                <a:gd name="T31" fmla="*/ 491 h 1181"/>
                <a:gd name="T32" fmla="*/ 1136 w 1136"/>
                <a:gd name="T33" fmla="*/ 658 h 1181"/>
                <a:gd name="T34" fmla="*/ 267 w 1136"/>
                <a:gd name="T35" fmla="*/ 689 h 1181"/>
                <a:gd name="T36" fmla="*/ 287 w 1136"/>
                <a:gd name="T37" fmla="*/ 744 h 1181"/>
                <a:gd name="T38" fmla="*/ 315 w 1136"/>
                <a:gd name="T39" fmla="*/ 794 h 1181"/>
                <a:gd name="T40" fmla="*/ 350 w 1136"/>
                <a:gd name="T41" fmla="*/ 837 h 1181"/>
                <a:gd name="T42" fmla="*/ 395 w 1136"/>
                <a:gd name="T43" fmla="*/ 873 h 1181"/>
                <a:gd name="T44" fmla="*/ 444 w 1136"/>
                <a:gd name="T45" fmla="*/ 901 h 1181"/>
                <a:gd name="T46" fmla="*/ 500 w 1136"/>
                <a:gd name="T47" fmla="*/ 920 h 1181"/>
                <a:gd name="T48" fmla="*/ 561 w 1136"/>
                <a:gd name="T49" fmla="*/ 930 h 1181"/>
                <a:gd name="T50" fmla="*/ 617 w 1136"/>
                <a:gd name="T51" fmla="*/ 930 h 1181"/>
                <a:gd name="T52" fmla="*/ 711 w 1136"/>
                <a:gd name="T53" fmla="*/ 914 h 1181"/>
                <a:gd name="T54" fmla="*/ 789 w 1136"/>
                <a:gd name="T55" fmla="*/ 881 h 1181"/>
                <a:gd name="T56" fmla="*/ 853 w 1136"/>
                <a:gd name="T57" fmla="*/ 837 h 1181"/>
                <a:gd name="T58" fmla="*/ 1061 w 1136"/>
                <a:gd name="T59" fmla="*/ 982 h 1181"/>
                <a:gd name="T60" fmla="*/ 998 w 1136"/>
                <a:gd name="T61" fmla="*/ 1043 h 1181"/>
                <a:gd name="T62" fmla="*/ 894 w 1136"/>
                <a:gd name="T63" fmla="*/ 1110 h 1181"/>
                <a:gd name="T64" fmla="*/ 770 w 1136"/>
                <a:gd name="T65" fmla="*/ 1157 h 1181"/>
                <a:gd name="T66" fmla="*/ 630 w 1136"/>
                <a:gd name="T67" fmla="*/ 1180 h 1181"/>
                <a:gd name="T68" fmla="*/ 529 w 1136"/>
                <a:gd name="T69" fmla="*/ 1178 h 1181"/>
                <a:gd name="T70" fmla="*/ 411 w 1136"/>
                <a:gd name="T71" fmla="*/ 1155 h 1181"/>
                <a:gd name="T72" fmla="*/ 304 w 1136"/>
                <a:gd name="T73" fmla="*/ 1111 h 1181"/>
                <a:gd name="T74" fmla="*/ 210 w 1136"/>
                <a:gd name="T75" fmla="*/ 1048 h 1181"/>
                <a:gd name="T76" fmla="*/ 131 w 1136"/>
                <a:gd name="T77" fmla="*/ 969 h 1181"/>
                <a:gd name="T78" fmla="*/ 68 w 1136"/>
                <a:gd name="T79" fmla="*/ 875 h 1181"/>
                <a:gd name="T80" fmla="*/ 25 w 1136"/>
                <a:gd name="T81" fmla="*/ 769 h 1181"/>
                <a:gd name="T82" fmla="*/ 3 w 1136"/>
                <a:gd name="T83" fmla="*/ 652 h 1181"/>
                <a:gd name="T84" fmla="*/ 858 w 1136"/>
                <a:gd name="T85" fmla="*/ 464 h 1181"/>
                <a:gd name="T86" fmla="*/ 834 w 1136"/>
                <a:gd name="T87" fmla="*/ 385 h 1181"/>
                <a:gd name="T88" fmla="*/ 777 w 1136"/>
                <a:gd name="T89" fmla="*/ 305 h 1181"/>
                <a:gd name="T90" fmla="*/ 697 w 1136"/>
                <a:gd name="T91" fmla="*/ 253 h 1181"/>
                <a:gd name="T92" fmla="*/ 597 w 1136"/>
                <a:gd name="T93" fmla="*/ 232 h 1181"/>
                <a:gd name="T94" fmla="*/ 519 w 1136"/>
                <a:gd name="T95" fmla="*/ 235 h 1181"/>
                <a:gd name="T96" fmla="*/ 425 w 1136"/>
                <a:gd name="T97" fmla="*/ 267 h 1181"/>
                <a:gd name="T98" fmla="*/ 346 w 1136"/>
                <a:gd name="T99" fmla="*/ 327 h 1181"/>
                <a:gd name="T100" fmla="*/ 288 w 1136"/>
                <a:gd name="T101" fmla="*/ 413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  <a:moveTo>
                    <a:pt x="268" y="464"/>
                  </a:moveTo>
                  <a:lnTo>
                    <a:pt x="858" y="464"/>
                  </a:lnTo>
                  <a:lnTo>
                    <a:pt x="858" y="464"/>
                  </a:lnTo>
                  <a:lnTo>
                    <a:pt x="852" y="435"/>
                  </a:lnTo>
                  <a:lnTo>
                    <a:pt x="844" y="410"/>
                  </a:lnTo>
                  <a:lnTo>
                    <a:pt x="834" y="385"/>
                  </a:lnTo>
                  <a:lnTo>
                    <a:pt x="822" y="362"/>
                  </a:lnTo>
                  <a:lnTo>
                    <a:pt x="809" y="341"/>
                  </a:lnTo>
                  <a:lnTo>
                    <a:pt x="794" y="322"/>
                  </a:lnTo>
                  <a:lnTo>
                    <a:pt x="777" y="305"/>
                  </a:lnTo>
                  <a:lnTo>
                    <a:pt x="760" y="289"/>
                  </a:lnTo>
                  <a:lnTo>
                    <a:pt x="740" y="275"/>
                  </a:lnTo>
                  <a:lnTo>
                    <a:pt x="720" y="264"/>
                  </a:lnTo>
                  <a:lnTo>
                    <a:pt x="697" y="253"/>
                  </a:lnTo>
                  <a:lnTo>
                    <a:pt x="674" y="245"/>
                  </a:lnTo>
                  <a:lnTo>
                    <a:pt x="650" y="239"/>
                  </a:lnTo>
                  <a:lnTo>
                    <a:pt x="623" y="234"/>
                  </a:lnTo>
                  <a:lnTo>
                    <a:pt x="597" y="232"/>
                  </a:lnTo>
                  <a:lnTo>
                    <a:pt x="569" y="231"/>
                  </a:lnTo>
                  <a:lnTo>
                    <a:pt x="569" y="231"/>
                  </a:lnTo>
                  <a:lnTo>
                    <a:pt x="544" y="232"/>
                  </a:lnTo>
                  <a:lnTo>
                    <a:pt x="519" y="235"/>
                  </a:lnTo>
                  <a:lnTo>
                    <a:pt x="494" y="240"/>
                  </a:lnTo>
                  <a:lnTo>
                    <a:pt x="471" y="247"/>
                  </a:lnTo>
                  <a:lnTo>
                    <a:pt x="448" y="255"/>
                  </a:lnTo>
                  <a:lnTo>
                    <a:pt x="425" y="267"/>
                  </a:lnTo>
                  <a:lnTo>
                    <a:pt x="404" y="279"/>
                  </a:lnTo>
                  <a:lnTo>
                    <a:pt x="383" y="293"/>
                  </a:lnTo>
                  <a:lnTo>
                    <a:pt x="364" y="310"/>
                  </a:lnTo>
                  <a:lnTo>
                    <a:pt x="346" y="327"/>
                  </a:lnTo>
                  <a:lnTo>
                    <a:pt x="329" y="346"/>
                  </a:lnTo>
                  <a:lnTo>
                    <a:pt x="314" y="367"/>
                  </a:lnTo>
                  <a:lnTo>
                    <a:pt x="300" y="389"/>
                  </a:lnTo>
                  <a:lnTo>
                    <a:pt x="288" y="413"/>
                  </a:lnTo>
                  <a:lnTo>
                    <a:pt x="277" y="437"/>
                  </a:lnTo>
                  <a:lnTo>
                    <a:pt x="26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4"/>
            <p:cNvSpPr>
              <a:spLocks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1 w 1136"/>
                <a:gd name="T1" fmla="*/ 559 h 1181"/>
                <a:gd name="T2" fmla="*/ 11 w 1136"/>
                <a:gd name="T3" fmla="*/ 469 h 1181"/>
                <a:gd name="T4" fmla="*/ 34 w 1136"/>
                <a:gd name="T5" fmla="*/ 383 h 1181"/>
                <a:gd name="T6" fmla="*/ 68 w 1136"/>
                <a:gd name="T7" fmla="*/ 305 h 1181"/>
                <a:gd name="T8" fmla="*/ 113 w 1136"/>
                <a:gd name="T9" fmla="*/ 233 h 1181"/>
                <a:gd name="T10" fmla="*/ 168 w 1136"/>
                <a:gd name="T11" fmla="*/ 170 h 1181"/>
                <a:gd name="T12" fmla="*/ 231 w 1136"/>
                <a:gd name="T13" fmla="*/ 114 h 1181"/>
                <a:gd name="T14" fmla="*/ 302 w 1136"/>
                <a:gd name="T15" fmla="*/ 69 h 1181"/>
                <a:gd name="T16" fmla="*/ 381 w 1136"/>
                <a:gd name="T17" fmla="*/ 35 h 1181"/>
                <a:gd name="T18" fmla="*/ 466 w 1136"/>
                <a:gd name="T19" fmla="*/ 11 h 1181"/>
                <a:gd name="T20" fmla="*/ 557 w 1136"/>
                <a:gd name="T21" fmla="*/ 0 h 1181"/>
                <a:gd name="T22" fmla="*/ 617 w 1136"/>
                <a:gd name="T23" fmla="*/ 0 h 1181"/>
                <a:gd name="T24" fmla="*/ 702 w 1136"/>
                <a:gd name="T25" fmla="*/ 10 h 1181"/>
                <a:gd name="T26" fmla="*/ 781 w 1136"/>
                <a:gd name="T27" fmla="*/ 30 h 1181"/>
                <a:gd name="T28" fmla="*/ 853 w 1136"/>
                <a:gd name="T29" fmla="*/ 62 h 1181"/>
                <a:gd name="T30" fmla="*/ 918 w 1136"/>
                <a:gd name="T31" fmla="*/ 105 h 1181"/>
                <a:gd name="T32" fmla="*/ 975 w 1136"/>
                <a:gd name="T33" fmla="*/ 157 h 1181"/>
                <a:gd name="T34" fmla="*/ 1026 w 1136"/>
                <a:gd name="T35" fmla="*/ 220 h 1181"/>
                <a:gd name="T36" fmla="*/ 1067 w 1136"/>
                <a:gd name="T37" fmla="*/ 291 h 1181"/>
                <a:gd name="T38" fmla="*/ 1098 w 1136"/>
                <a:gd name="T39" fmla="*/ 371 h 1181"/>
                <a:gd name="T40" fmla="*/ 1121 w 1136"/>
                <a:gd name="T41" fmla="*/ 460 h 1181"/>
                <a:gd name="T42" fmla="*/ 1134 w 1136"/>
                <a:gd name="T43" fmla="*/ 556 h 1181"/>
                <a:gd name="T44" fmla="*/ 261 w 1136"/>
                <a:gd name="T45" fmla="*/ 658 h 1181"/>
                <a:gd name="T46" fmla="*/ 267 w 1136"/>
                <a:gd name="T47" fmla="*/ 689 h 1181"/>
                <a:gd name="T48" fmla="*/ 281 w 1136"/>
                <a:gd name="T49" fmla="*/ 731 h 1181"/>
                <a:gd name="T50" fmla="*/ 299 w 1136"/>
                <a:gd name="T51" fmla="*/ 770 h 1181"/>
                <a:gd name="T52" fmla="*/ 323 w 1136"/>
                <a:gd name="T53" fmla="*/ 806 h 1181"/>
                <a:gd name="T54" fmla="*/ 350 w 1136"/>
                <a:gd name="T55" fmla="*/ 837 h 1181"/>
                <a:gd name="T56" fmla="*/ 382 w 1136"/>
                <a:gd name="T57" fmla="*/ 865 h 1181"/>
                <a:gd name="T58" fmla="*/ 418 w 1136"/>
                <a:gd name="T59" fmla="*/ 887 h 1181"/>
                <a:gd name="T60" fmla="*/ 457 w 1136"/>
                <a:gd name="T61" fmla="*/ 907 h 1181"/>
                <a:gd name="T62" fmla="*/ 500 w 1136"/>
                <a:gd name="T63" fmla="*/ 920 h 1181"/>
                <a:gd name="T64" fmla="*/ 544 w 1136"/>
                <a:gd name="T65" fmla="*/ 928 h 1181"/>
                <a:gd name="T66" fmla="*/ 593 w 1136"/>
                <a:gd name="T67" fmla="*/ 931 h 1181"/>
                <a:gd name="T68" fmla="*/ 642 w 1136"/>
                <a:gd name="T69" fmla="*/ 928 h 1181"/>
                <a:gd name="T70" fmla="*/ 711 w 1136"/>
                <a:gd name="T71" fmla="*/ 914 h 1181"/>
                <a:gd name="T72" fmla="*/ 771 w 1136"/>
                <a:gd name="T73" fmla="*/ 891 h 1181"/>
                <a:gd name="T74" fmla="*/ 822 w 1136"/>
                <a:gd name="T75" fmla="*/ 861 h 1181"/>
                <a:gd name="T76" fmla="*/ 867 w 1136"/>
                <a:gd name="T77" fmla="*/ 825 h 1181"/>
                <a:gd name="T78" fmla="*/ 1061 w 1136"/>
                <a:gd name="T79" fmla="*/ 982 h 1181"/>
                <a:gd name="T80" fmla="*/ 1020 w 1136"/>
                <a:gd name="T81" fmla="*/ 1024 h 1181"/>
                <a:gd name="T82" fmla="*/ 949 w 1136"/>
                <a:gd name="T83" fmla="*/ 1079 h 1181"/>
                <a:gd name="T84" fmla="*/ 866 w 1136"/>
                <a:gd name="T85" fmla="*/ 1124 h 1181"/>
                <a:gd name="T86" fmla="*/ 770 w 1136"/>
                <a:gd name="T87" fmla="*/ 1157 h 1181"/>
                <a:gd name="T88" fmla="*/ 667 w 1136"/>
                <a:gd name="T89" fmla="*/ 1177 h 1181"/>
                <a:gd name="T90" fmla="*/ 593 w 1136"/>
                <a:gd name="T91" fmla="*/ 1181 h 1181"/>
                <a:gd name="T92" fmla="*/ 499 w 1136"/>
                <a:gd name="T93" fmla="*/ 1174 h 1181"/>
                <a:gd name="T94" fmla="*/ 411 w 1136"/>
                <a:gd name="T95" fmla="*/ 1155 h 1181"/>
                <a:gd name="T96" fmla="*/ 330 w 1136"/>
                <a:gd name="T97" fmla="*/ 1124 h 1181"/>
                <a:gd name="T98" fmla="*/ 255 w 1136"/>
                <a:gd name="T99" fmla="*/ 1082 h 1181"/>
                <a:gd name="T100" fmla="*/ 188 w 1136"/>
                <a:gd name="T101" fmla="*/ 1031 h 1181"/>
                <a:gd name="T102" fmla="*/ 131 w 1136"/>
                <a:gd name="T103" fmla="*/ 969 h 1181"/>
                <a:gd name="T104" fmla="*/ 83 w 1136"/>
                <a:gd name="T105" fmla="*/ 900 h 1181"/>
                <a:gd name="T106" fmla="*/ 45 w 1136"/>
                <a:gd name="T107" fmla="*/ 823 h 1181"/>
                <a:gd name="T108" fmla="*/ 17 w 1136"/>
                <a:gd name="T109" fmla="*/ 740 h 1181"/>
                <a:gd name="T110" fmla="*/ 3 w 1136"/>
                <a:gd name="T111" fmla="*/ 65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5"/>
            <p:cNvSpPr>
              <a:spLocks/>
            </p:cNvSpPr>
            <p:nvPr userDrawn="1"/>
          </p:nvSpPr>
          <p:spPr bwMode="auto">
            <a:xfrm>
              <a:off x="521" y="4099"/>
              <a:ext cx="39" cy="15"/>
            </a:xfrm>
            <a:custGeom>
              <a:avLst/>
              <a:gdLst>
                <a:gd name="T0" fmla="*/ 0 w 590"/>
                <a:gd name="T1" fmla="*/ 233 h 233"/>
                <a:gd name="T2" fmla="*/ 590 w 590"/>
                <a:gd name="T3" fmla="*/ 233 h 233"/>
                <a:gd name="T4" fmla="*/ 590 w 590"/>
                <a:gd name="T5" fmla="*/ 233 h 233"/>
                <a:gd name="T6" fmla="*/ 584 w 590"/>
                <a:gd name="T7" fmla="*/ 204 h 233"/>
                <a:gd name="T8" fmla="*/ 576 w 590"/>
                <a:gd name="T9" fmla="*/ 179 h 233"/>
                <a:gd name="T10" fmla="*/ 566 w 590"/>
                <a:gd name="T11" fmla="*/ 154 h 233"/>
                <a:gd name="T12" fmla="*/ 554 w 590"/>
                <a:gd name="T13" fmla="*/ 131 h 233"/>
                <a:gd name="T14" fmla="*/ 541 w 590"/>
                <a:gd name="T15" fmla="*/ 110 h 233"/>
                <a:gd name="T16" fmla="*/ 526 w 590"/>
                <a:gd name="T17" fmla="*/ 91 h 233"/>
                <a:gd name="T18" fmla="*/ 509 w 590"/>
                <a:gd name="T19" fmla="*/ 74 h 233"/>
                <a:gd name="T20" fmla="*/ 492 w 590"/>
                <a:gd name="T21" fmla="*/ 58 h 233"/>
                <a:gd name="T22" fmla="*/ 472 w 590"/>
                <a:gd name="T23" fmla="*/ 44 h 233"/>
                <a:gd name="T24" fmla="*/ 452 w 590"/>
                <a:gd name="T25" fmla="*/ 33 h 233"/>
                <a:gd name="T26" fmla="*/ 429 w 590"/>
                <a:gd name="T27" fmla="*/ 22 h 233"/>
                <a:gd name="T28" fmla="*/ 406 w 590"/>
                <a:gd name="T29" fmla="*/ 14 h 233"/>
                <a:gd name="T30" fmla="*/ 382 w 590"/>
                <a:gd name="T31" fmla="*/ 8 h 233"/>
                <a:gd name="T32" fmla="*/ 355 w 590"/>
                <a:gd name="T33" fmla="*/ 3 h 233"/>
                <a:gd name="T34" fmla="*/ 329 w 590"/>
                <a:gd name="T35" fmla="*/ 1 h 233"/>
                <a:gd name="T36" fmla="*/ 301 w 590"/>
                <a:gd name="T37" fmla="*/ 0 h 233"/>
                <a:gd name="T38" fmla="*/ 301 w 590"/>
                <a:gd name="T39" fmla="*/ 0 h 233"/>
                <a:gd name="T40" fmla="*/ 276 w 590"/>
                <a:gd name="T41" fmla="*/ 1 h 233"/>
                <a:gd name="T42" fmla="*/ 251 w 590"/>
                <a:gd name="T43" fmla="*/ 4 h 233"/>
                <a:gd name="T44" fmla="*/ 226 w 590"/>
                <a:gd name="T45" fmla="*/ 9 h 233"/>
                <a:gd name="T46" fmla="*/ 203 w 590"/>
                <a:gd name="T47" fmla="*/ 16 h 233"/>
                <a:gd name="T48" fmla="*/ 180 w 590"/>
                <a:gd name="T49" fmla="*/ 24 h 233"/>
                <a:gd name="T50" fmla="*/ 157 w 590"/>
                <a:gd name="T51" fmla="*/ 36 h 233"/>
                <a:gd name="T52" fmla="*/ 136 w 590"/>
                <a:gd name="T53" fmla="*/ 48 h 233"/>
                <a:gd name="T54" fmla="*/ 115 w 590"/>
                <a:gd name="T55" fmla="*/ 62 h 233"/>
                <a:gd name="T56" fmla="*/ 96 w 590"/>
                <a:gd name="T57" fmla="*/ 79 h 233"/>
                <a:gd name="T58" fmla="*/ 78 w 590"/>
                <a:gd name="T59" fmla="*/ 96 h 233"/>
                <a:gd name="T60" fmla="*/ 61 w 590"/>
                <a:gd name="T61" fmla="*/ 115 h 233"/>
                <a:gd name="T62" fmla="*/ 46 w 590"/>
                <a:gd name="T63" fmla="*/ 136 h 233"/>
                <a:gd name="T64" fmla="*/ 32 w 590"/>
                <a:gd name="T65" fmla="*/ 158 h 233"/>
                <a:gd name="T66" fmla="*/ 20 w 590"/>
                <a:gd name="T67" fmla="*/ 182 h 233"/>
                <a:gd name="T68" fmla="*/ 9 w 590"/>
                <a:gd name="T69" fmla="*/ 206 h 233"/>
                <a:gd name="T70" fmla="*/ 0 w 590"/>
                <a:gd name="T71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90" h="233">
                  <a:moveTo>
                    <a:pt x="0" y="233"/>
                  </a:moveTo>
                  <a:lnTo>
                    <a:pt x="590" y="233"/>
                  </a:lnTo>
                  <a:lnTo>
                    <a:pt x="590" y="233"/>
                  </a:lnTo>
                  <a:lnTo>
                    <a:pt x="584" y="204"/>
                  </a:lnTo>
                  <a:lnTo>
                    <a:pt x="576" y="179"/>
                  </a:lnTo>
                  <a:lnTo>
                    <a:pt x="566" y="154"/>
                  </a:lnTo>
                  <a:lnTo>
                    <a:pt x="554" y="131"/>
                  </a:lnTo>
                  <a:lnTo>
                    <a:pt x="541" y="110"/>
                  </a:lnTo>
                  <a:lnTo>
                    <a:pt x="526" y="91"/>
                  </a:lnTo>
                  <a:lnTo>
                    <a:pt x="509" y="74"/>
                  </a:lnTo>
                  <a:lnTo>
                    <a:pt x="492" y="58"/>
                  </a:lnTo>
                  <a:lnTo>
                    <a:pt x="472" y="44"/>
                  </a:lnTo>
                  <a:lnTo>
                    <a:pt x="452" y="33"/>
                  </a:lnTo>
                  <a:lnTo>
                    <a:pt x="429" y="22"/>
                  </a:lnTo>
                  <a:lnTo>
                    <a:pt x="406" y="14"/>
                  </a:lnTo>
                  <a:lnTo>
                    <a:pt x="382" y="8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276" y="1"/>
                  </a:lnTo>
                  <a:lnTo>
                    <a:pt x="251" y="4"/>
                  </a:lnTo>
                  <a:lnTo>
                    <a:pt x="226" y="9"/>
                  </a:lnTo>
                  <a:lnTo>
                    <a:pt x="203" y="16"/>
                  </a:lnTo>
                  <a:lnTo>
                    <a:pt x="180" y="24"/>
                  </a:lnTo>
                  <a:lnTo>
                    <a:pt x="157" y="36"/>
                  </a:lnTo>
                  <a:lnTo>
                    <a:pt x="136" y="48"/>
                  </a:lnTo>
                  <a:lnTo>
                    <a:pt x="115" y="62"/>
                  </a:lnTo>
                  <a:lnTo>
                    <a:pt x="96" y="79"/>
                  </a:lnTo>
                  <a:lnTo>
                    <a:pt x="78" y="96"/>
                  </a:lnTo>
                  <a:lnTo>
                    <a:pt x="61" y="115"/>
                  </a:lnTo>
                  <a:lnTo>
                    <a:pt x="46" y="136"/>
                  </a:lnTo>
                  <a:lnTo>
                    <a:pt x="32" y="158"/>
                  </a:lnTo>
                  <a:lnTo>
                    <a:pt x="20" y="182"/>
                  </a:lnTo>
                  <a:lnTo>
                    <a:pt x="9" y="206"/>
                  </a:lnTo>
                  <a:lnTo>
                    <a:pt x="0" y="2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6"/>
            <p:cNvSpPr>
              <a:spLocks/>
            </p:cNvSpPr>
            <p:nvPr userDrawn="1"/>
          </p:nvSpPr>
          <p:spPr bwMode="auto">
            <a:xfrm>
              <a:off x="588" y="4083"/>
              <a:ext cx="66" cy="79"/>
            </a:xfrm>
            <a:custGeom>
              <a:avLst/>
              <a:gdLst>
                <a:gd name="T0" fmla="*/ 720 w 988"/>
                <a:gd name="T1" fmla="*/ 1179 h 1179"/>
                <a:gd name="T2" fmla="*/ 720 w 988"/>
                <a:gd name="T3" fmla="*/ 493 h 1179"/>
                <a:gd name="T4" fmla="*/ 715 w 988"/>
                <a:gd name="T5" fmla="*/ 448 h 1179"/>
                <a:gd name="T6" fmla="*/ 702 w 988"/>
                <a:gd name="T7" fmla="*/ 405 h 1179"/>
                <a:gd name="T8" fmla="*/ 681 w 988"/>
                <a:gd name="T9" fmla="*/ 367 h 1179"/>
                <a:gd name="T10" fmla="*/ 654 w 988"/>
                <a:gd name="T11" fmla="*/ 333 h 1179"/>
                <a:gd name="T12" fmla="*/ 620 w 988"/>
                <a:gd name="T13" fmla="*/ 306 h 1179"/>
                <a:gd name="T14" fmla="*/ 582 w 988"/>
                <a:gd name="T15" fmla="*/ 285 h 1179"/>
                <a:gd name="T16" fmla="*/ 540 w 988"/>
                <a:gd name="T17" fmla="*/ 272 h 1179"/>
                <a:gd name="T18" fmla="*/ 493 w 988"/>
                <a:gd name="T19" fmla="*/ 268 h 1179"/>
                <a:gd name="T20" fmla="*/ 471 w 988"/>
                <a:gd name="T21" fmla="*/ 269 h 1179"/>
                <a:gd name="T22" fmla="*/ 427 w 988"/>
                <a:gd name="T23" fmla="*/ 278 h 1179"/>
                <a:gd name="T24" fmla="*/ 386 w 988"/>
                <a:gd name="T25" fmla="*/ 294 h 1179"/>
                <a:gd name="T26" fmla="*/ 350 w 988"/>
                <a:gd name="T27" fmla="*/ 319 h 1179"/>
                <a:gd name="T28" fmla="*/ 319 w 988"/>
                <a:gd name="T29" fmla="*/ 350 h 1179"/>
                <a:gd name="T30" fmla="*/ 295 w 988"/>
                <a:gd name="T31" fmla="*/ 385 h 1179"/>
                <a:gd name="T32" fmla="*/ 278 w 988"/>
                <a:gd name="T33" fmla="*/ 425 h 1179"/>
                <a:gd name="T34" fmla="*/ 269 w 988"/>
                <a:gd name="T35" fmla="*/ 469 h 1179"/>
                <a:gd name="T36" fmla="*/ 268 w 988"/>
                <a:gd name="T37" fmla="*/ 1179 h 1179"/>
                <a:gd name="T38" fmla="*/ 0 w 988"/>
                <a:gd name="T39" fmla="*/ 493 h 1179"/>
                <a:gd name="T40" fmla="*/ 0 w 988"/>
                <a:gd name="T41" fmla="*/ 467 h 1179"/>
                <a:gd name="T42" fmla="*/ 5 w 988"/>
                <a:gd name="T43" fmla="*/ 418 h 1179"/>
                <a:gd name="T44" fmla="*/ 15 w 988"/>
                <a:gd name="T45" fmla="*/ 370 h 1179"/>
                <a:gd name="T46" fmla="*/ 30 w 988"/>
                <a:gd name="T47" fmla="*/ 323 h 1179"/>
                <a:gd name="T48" fmla="*/ 48 w 988"/>
                <a:gd name="T49" fmla="*/ 279 h 1179"/>
                <a:gd name="T50" fmla="*/ 71 w 988"/>
                <a:gd name="T51" fmla="*/ 237 h 1179"/>
                <a:gd name="T52" fmla="*/ 97 w 988"/>
                <a:gd name="T53" fmla="*/ 198 h 1179"/>
                <a:gd name="T54" fmla="*/ 128 w 988"/>
                <a:gd name="T55" fmla="*/ 161 h 1179"/>
                <a:gd name="T56" fmla="*/ 162 w 988"/>
                <a:gd name="T57" fmla="*/ 129 h 1179"/>
                <a:gd name="T58" fmla="*/ 198 w 988"/>
                <a:gd name="T59" fmla="*/ 98 h 1179"/>
                <a:gd name="T60" fmla="*/ 238 w 988"/>
                <a:gd name="T61" fmla="*/ 71 h 1179"/>
                <a:gd name="T62" fmla="*/ 280 w 988"/>
                <a:gd name="T63" fmla="*/ 49 h 1179"/>
                <a:gd name="T64" fmla="*/ 324 w 988"/>
                <a:gd name="T65" fmla="*/ 30 h 1179"/>
                <a:gd name="T66" fmla="*/ 370 w 988"/>
                <a:gd name="T67" fmla="*/ 15 h 1179"/>
                <a:gd name="T68" fmla="*/ 419 w 988"/>
                <a:gd name="T69" fmla="*/ 6 h 1179"/>
                <a:gd name="T70" fmla="*/ 469 w 988"/>
                <a:gd name="T71" fmla="*/ 1 h 1179"/>
                <a:gd name="T72" fmla="*/ 493 w 988"/>
                <a:gd name="T73" fmla="*/ 0 h 1179"/>
                <a:gd name="T74" fmla="*/ 544 w 988"/>
                <a:gd name="T75" fmla="*/ 3 h 1179"/>
                <a:gd name="T76" fmla="*/ 593 w 988"/>
                <a:gd name="T77" fmla="*/ 10 h 1179"/>
                <a:gd name="T78" fmla="*/ 640 w 988"/>
                <a:gd name="T79" fmla="*/ 22 h 1179"/>
                <a:gd name="T80" fmla="*/ 686 w 988"/>
                <a:gd name="T81" fmla="*/ 39 h 1179"/>
                <a:gd name="T82" fmla="*/ 729 w 988"/>
                <a:gd name="T83" fmla="*/ 59 h 1179"/>
                <a:gd name="T84" fmla="*/ 769 w 988"/>
                <a:gd name="T85" fmla="*/ 85 h 1179"/>
                <a:gd name="T86" fmla="*/ 807 w 988"/>
                <a:gd name="T87" fmla="*/ 112 h 1179"/>
                <a:gd name="T88" fmla="*/ 843 w 988"/>
                <a:gd name="T89" fmla="*/ 145 h 1179"/>
                <a:gd name="T90" fmla="*/ 875 w 988"/>
                <a:gd name="T91" fmla="*/ 180 h 1179"/>
                <a:gd name="T92" fmla="*/ 904 w 988"/>
                <a:gd name="T93" fmla="*/ 218 h 1179"/>
                <a:gd name="T94" fmla="*/ 928 w 988"/>
                <a:gd name="T95" fmla="*/ 258 h 1179"/>
                <a:gd name="T96" fmla="*/ 949 w 988"/>
                <a:gd name="T97" fmla="*/ 301 h 1179"/>
                <a:gd name="T98" fmla="*/ 965 w 988"/>
                <a:gd name="T99" fmla="*/ 346 h 1179"/>
                <a:gd name="T100" fmla="*/ 978 w 988"/>
                <a:gd name="T101" fmla="*/ 393 h 1179"/>
                <a:gd name="T102" fmla="*/ 985 w 988"/>
                <a:gd name="T103" fmla="*/ 443 h 1179"/>
                <a:gd name="T104" fmla="*/ 988 w 988"/>
                <a:gd name="T105" fmla="*/ 493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88" h="1179">
                  <a:moveTo>
                    <a:pt x="988" y="1179"/>
                  </a:moveTo>
                  <a:lnTo>
                    <a:pt x="720" y="1179"/>
                  </a:lnTo>
                  <a:lnTo>
                    <a:pt x="720" y="493"/>
                  </a:lnTo>
                  <a:lnTo>
                    <a:pt x="720" y="493"/>
                  </a:lnTo>
                  <a:lnTo>
                    <a:pt x="718" y="469"/>
                  </a:lnTo>
                  <a:lnTo>
                    <a:pt x="715" y="448"/>
                  </a:lnTo>
                  <a:lnTo>
                    <a:pt x="710" y="425"/>
                  </a:lnTo>
                  <a:lnTo>
                    <a:pt x="702" y="405"/>
                  </a:lnTo>
                  <a:lnTo>
                    <a:pt x="692" y="385"/>
                  </a:lnTo>
                  <a:lnTo>
                    <a:pt x="681" y="367"/>
                  </a:lnTo>
                  <a:lnTo>
                    <a:pt x="668" y="350"/>
                  </a:lnTo>
                  <a:lnTo>
                    <a:pt x="654" y="333"/>
                  </a:lnTo>
                  <a:lnTo>
                    <a:pt x="637" y="319"/>
                  </a:lnTo>
                  <a:lnTo>
                    <a:pt x="620" y="306"/>
                  </a:lnTo>
                  <a:lnTo>
                    <a:pt x="601" y="294"/>
                  </a:lnTo>
                  <a:lnTo>
                    <a:pt x="582" y="285"/>
                  </a:lnTo>
                  <a:lnTo>
                    <a:pt x="561" y="278"/>
                  </a:lnTo>
                  <a:lnTo>
                    <a:pt x="540" y="272"/>
                  </a:lnTo>
                  <a:lnTo>
                    <a:pt x="517" y="269"/>
                  </a:lnTo>
                  <a:lnTo>
                    <a:pt x="493" y="268"/>
                  </a:lnTo>
                  <a:lnTo>
                    <a:pt x="493" y="268"/>
                  </a:lnTo>
                  <a:lnTo>
                    <a:pt x="471" y="269"/>
                  </a:lnTo>
                  <a:lnTo>
                    <a:pt x="448" y="272"/>
                  </a:lnTo>
                  <a:lnTo>
                    <a:pt x="427" y="278"/>
                  </a:lnTo>
                  <a:lnTo>
                    <a:pt x="406" y="285"/>
                  </a:lnTo>
                  <a:lnTo>
                    <a:pt x="386" y="294"/>
                  </a:lnTo>
                  <a:lnTo>
                    <a:pt x="367" y="306"/>
                  </a:lnTo>
                  <a:lnTo>
                    <a:pt x="350" y="319"/>
                  </a:lnTo>
                  <a:lnTo>
                    <a:pt x="334" y="333"/>
                  </a:lnTo>
                  <a:lnTo>
                    <a:pt x="319" y="350"/>
                  </a:lnTo>
                  <a:lnTo>
                    <a:pt x="307" y="367"/>
                  </a:lnTo>
                  <a:lnTo>
                    <a:pt x="295" y="385"/>
                  </a:lnTo>
                  <a:lnTo>
                    <a:pt x="285" y="405"/>
                  </a:lnTo>
                  <a:lnTo>
                    <a:pt x="278" y="425"/>
                  </a:lnTo>
                  <a:lnTo>
                    <a:pt x="273" y="448"/>
                  </a:lnTo>
                  <a:lnTo>
                    <a:pt x="269" y="469"/>
                  </a:lnTo>
                  <a:lnTo>
                    <a:pt x="268" y="493"/>
                  </a:lnTo>
                  <a:lnTo>
                    <a:pt x="268" y="1179"/>
                  </a:lnTo>
                  <a:lnTo>
                    <a:pt x="0" y="1179"/>
                  </a:lnTo>
                  <a:lnTo>
                    <a:pt x="0" y="493"/>
                  </a:lnTo>
                  <a:lnTo>
                    <a:pt x="0" y="493"/>
                  </a:lnTo>
                  <a:lnTo>
                    <a:pt x="0" y="467"/>
                  </a:lnTo>
                  <a:lnTo>
                    <a:pt x="2" y="443"/>
                  </a:lnTo>
                  <a:lnTo>
                    <a:pt x="5" y="418"/>
                  </a:lnTo>
                  <a:lnTo>
                    <a:pt x="9" y="393"/>
                  </a:lnTo>
                  <a:lnTo>
                    <a:pt x="15" y="370"/>
                  </a:lnTo>
                  <a:lnTo>
                    <a:pt x="21" y="346"/>
                  </a:lnTo>
                  <a:lnTo>
                    <a:pt x="30" y="323"/>
                  </a:lnTo>
                  <a:lnTo>
                    <a:pt x="39" y="301"/>
                  </a:lnTo>
                  <a:lnTo>
                    <a:pt x="48" y="279"/>
                  </a:lnTo>
                  <a:lnTo>
                    <a:pt x="59" y="258"/>
                  </a:lnTo>
                  <a:lnTo>
                    <a:pt x="71" y="237"/>
                  </a:lnTo>
                  <a:lnTo>
                    <a:pt x="84" y="218"/>
                  </a:lnTo>
                  <a:lnTo>
                    <a:pt x="97" y="198"/>
                  </a:lnTo>
                  <a:lnTo>
                    <a:pt x="113" y="180"/>
                  </a:lnTo>
                  <a:lnTo>
                    <a:pt x="128" y="161"/>
                  </a:lnTo>
                  <a:lnTo>
                    <a:pt x="145" y="145"/>
                  </a:lnTo>
                  <a:lnTo>
                    <a:pt x="162" y="129"/>
                  </a:lnTo>
                  <a:lnTo>
                    <a:pt x="179" y="112"/>
                  </a:lnTo>
                  <a:lnTo>
                    <a:pt x="198" y="98"/>
                  </a:lnTo>
                  <a:lnTo>
                    <a:pt x="217" y="85"/>
                  </a:lnTo>
                  <a:lnTo>
                    <a:pt x="238" y="71"/>
                  </a:lnTo>
                  <a:lnTo>
                    <a:pt x="258" y="59"/>
                  </a:lnTo>
                  <a:lnTo>
                    <a:pt x="280" y="49"/>
                  </a:lnTo>
                  <a:lnTo>
                    <a:pt x="302" y="39"/>
                  </a:lnTo>
                  <a:lnTo>
                    <a:pt x="324" y="30"/>
                  </a:lnTo>
                  <a:lnTo>
                    <a:pt x="347" y="22"/>
                  </a:lnTo>
                  <a:lnTo>
                    <a:pt x="370" y="15"/>
                  </a:lnTo>
                  <a:lnTo>
                    <a:pt x="394" y="10"/>
                  </a:lnTo>
                  <a:lnTo>
                    <a:pt x="419" y="6"/>
                  </a:lnTo>
                  <a:lnTo>
                    <a:pt x="443" y="3"/>
                  </a:lnTo>
                  <a:lnTo>
                    <a:pt x="469" y="1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519" y="1"/>
                  </a:lnTo>
                  <a:lnTo>
                    <a:pt x="544" y="3"/>
                  </a:lnTo>
                  <a:lnTo>
                    <a:pt x="569" y="6"/>
                  </a:lnTo>
                  <a:lnTo>
                    <a:pt x="593" y="10"/>
                  </a:lnTo>
                  <a:lnTo>
                    <a:pt x="618" y="15"/>
                  </a:lnTo>
                  <a:lnTo>
                    <a:pt x="640" y="22"/>
                  </a:lnTo>
                  <a:lnTo>
                    <a:pt x="664" y="30"/>
                  </a:lnTo>
                  <a:lnTo>
                    <a:pt x="686" y="39"/>
                  </a:lnTo>
                  <a:lnTo>
                    <a:pt x="708" y="49"/>
                  </a:lnTo>
                  <a:lnTo>
                    <a:pt x="729" y="59"/>
                  </a:lnTo>
                  <a:lnTo>
                    <a:pt x="750" y="71"/>
                  </a:lnTo>
                  <a:lnTo>
                    <a:pt x="769" y="85"/>
                  </a:lnTo>
                  <a:lnTo>
                    <a:pt x="789" y="98"/>
                  </a:lnTo>
                  <a:lnTo>
                    <a:pt x="807" y="112"/>
                  </a:lnTo>
                  <a:lnTo>
                    <a:pt x="826" y="129"/>
                  </a:lnTo>
                  <a:lnTo>
                    <a:pt x="843" y="145"/>
                  </a:lnTo>
                  <a:lnTo>
                    <a:pt x="860" y="161"/>
                  </a:lnTo>
                  <a:lnTo>
                    <a:pt x="875" y="180"/>
                  </a:lnTo>
                  <a:lnTo>
                    <a:pt x="889" y="198"/>
                  </a:lnTo>
                  <a:lnTo>
                    <a:pt x="904" y="218"/>
                  </a:lnTo>
                  <a:lnTo>
                    <a:pt x="916" y="237"/>
                  </a:lnTo>
                  <a:lnTo>
                    <a:pt x="928" y="258"/>
                  </a:lnTo>
                  <a:lnTo>
                    <a:pt x="939" y="279"/>
                  </a:lnTo>
                  <a:lnTo>
                    <a:pt x="949" y="301"/>
                  </a:lnTo>
                  <a:lnTo>
                    <a:pt x="958" y="323"/>
                  </a:lnTo>
                  <a:lnTo>
                    <a:pt x="965" y="346"/>
                  </a:lnTo>
                  <a:lnTo>
                    <a:pt x="973" y="370"/>
                  </a:lnTo>
                  <a:lnTo>
                    <a:pt x="978" y="393"/>
                  </a:lnTo>
                  <a:lnTo>
                    <a:pt x="982" y="418"/>
                  </a:lnTo>
                  <a:lnTo>
                    <a:pt x="985" y="443"/>
                  </a:lnTo>
                  <a:lnTo>
                    <a:pt x="987" y="467"/>
                  </a:lnTo>
                  <a:lnTo>
                    <a:pt x="988" y="493"/>
                  </a:lnTo>
                  <a:lnTo>
                    <a:pt x="988" y="11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7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8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8784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6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9092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28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304800" y="6440488"/>
            <a:ext cx="733425" cy="166687"/>
            <a:chOff x="192" y="4057"/>
            <a:chExt cx="462" cy="105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92" y="4057"/>
              <a:ext cx="46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51" y="4121"/>
              <a:ext cx="59" cy="41"/>
            </a:xfrm>
            <a:custGeom>
              <a:avLst/>
              <a:gdLst>
                <a:gd name="T0" fmla="*/ 884 w 884"/>
                <a:gd name="T1" fmla="*/ 618 h 618"/>
                <a:gd name="T2" fmla="*/ 339 w 884"/>
                <a:gd name="T3" fmla="*/ 0 h 618"/>
                <a:gd name="T4" fmla="*/ 0 w 884"/>
                <a:gd name="T5" fmla="*/ 0 h 618"/>
                <a:gd name="T6" fmla="*/ 539 w 884"/>
                <a:gd name="T7" fmla="*/ 618 h 618"/>
                <a:gd name="T8" fmla="*/ 884 w 884"/>
                <a:gd name="T9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4" h="618">
                  <a:moveTo>
                    <a:pt x="884" y="618"/>
                  </a:moveTo>
                  <a:lnTo>
                    <a:pt x="339" y="0"/>
                  </a:lnTo>
                  <a:lnTo>
                    <a:pt x="0" y="0"/>
                  </a:lnTo>
                  <a:lnTo>
                    <a:pt x="539" y="618"/>
                  </a:lnTo>
                  <a:lnTo>
                    <a:pt x="884" y="6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330" y="4057"/>
              <a:ext cx="17" cy="105"/>
            </a:xfrm>
            <a:custGeom>
              <a:avLst/>
              <a:gdLst>
                <a:gd name="T0" fmla="*/ 0 w 253"/>
                <a:gd name="T1" fmla="*/ 0 h 1572"/>
                <a:gd name="T2" fmla="*/ 0 w 253"/>
                <a:gd name="T3" fmla="*/ 1572 h 1572"/>
                <a:gd name="T4" fmla="*/ 253 w 253"/>
                <a:gd name="T5" fmla="*/ 1572 h 1572"/>
                <a:gd name="T6" fmla="*/ 253 w 253"/>
                <a:gd name="T7" fmla="*/ 999 h 1572"/>
                <a:gd name="T8" fmla="*/ 253 w 253"/>
                <a:gd name="T9" fmla="*/ 1000 h 1572"/>
                <a:gd name="T10" fmla="*/ 253 w 253"/>
                <a:gd name="T11" fmla="*/ 941 h 1572"/>
                <a:gd name="T12" fmla="*/ 253 w 253"/>
                <a:gd name="T13" fmla="*/ 942 h 1572"/>
                <a:gd name="T14" fmla="*/ 253 w 253"/>
                <a:gd name="T15" fmla="*/ 0 h 1572"/>
                <a:gd name="T16" fmla="*/ 0 w 253"/>
                <a:gd name="T17" fmla="*/ 0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1572">
                  <a:moveTo>
                    <a:pt x="0" y="0"/>
                  </a:moveTo>
                  <a:lnTo>
                    <a:pt x="0" y="1572"/>
                  </a:lnTo>
                  <a:lnTo>
                    <a:pt x="253" y="1572"/>
                  </a:lnTo>
                  <a:lnTo>
                    <a:pt x="253" y="999"/>
                  </a:lnTo>
                  <a:lnTo>
                    <a:pt x="253" y="1000"/>
                  </a:lnTo>
                  <a:lnTo>
                    <a:pt x="253" y="941"/>
                  </a:lnTo>
                  <a:lnTo>
                    <a:pt x="253" y="942"/>
                  </a:lnTo>
                  <a:lnTo>
                    <a:pt x="2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3 w 1136"/>
                <a:gd name="T1" fmla="*/ 529 h 1181"/>
                <a:gd name="T2" fmla="*/ 25 w 1136"/>
                <a:gd name="T3" fmla="*/ 412 h 1181"/>
                <a:gd name="T4" fmla="*/ 68 w 1136"/>
                <a:gd name="T5" fmla="*/ 305 h 1181"/>
                <a:gd name="T6" fmla="*/ 130 w 1136"/>
                <a:gd name="T7" fmla="*/ 211 h 1181"/>
                <a:gd name="T8" fmla="*/ 209 w 1136"/>
                <a:gd name="T9" fmla="*/ 132 h 1181"/>
                <a:gd name="T10" fmla="*/ 302 w 1136"/>
                <a:gd name="T11" fmla="*/ 69 h 1181"/>
                <a:gd name="T12" fmla="*/ 409 w 1136"/>
                <a:gd name="T13" fmla="*/ 25 h 1181"/>
                <a:gd name="T14" fmla="*/ 526 w 1136"/>
                <a:gd name="T15" fmla="*/ 3 h 1181"/>
                <a:gd name="T16" fmla="*/ 617 w 1136"/>
                <a:gd name="T17" fmla="*/ 0 h 1181"/>
                <a:gd name="T18" fmla="*/ 729 w 1136"/>
                <a:gd name="T19" fmla="*/ 15 h 1181"/>
                <a:gd name="T20" fmla="*/ 830 w 1136"/>
                <a:gd name="T21" fmla="*/ 51 h 1181"/>
                <a:gd name="T22" fmla="*/ 918 w 1136"/>
                <a:gd name="T23" fmla="*/ 105 h 1181"/>
                <a:gd name="T24" fmla="*/ 993 w 1136"/>
                <a:gd name="T25" fmla="*/ 177 h 1181"/>
                <a:gd name="T26" fmla="*/ 1053 w 1136"/>
                <a:gd name="T27" fmla="*/ 266 h 1181"/>
                <a:gd name="T28" fmla="*/ 1098 w 1136"/>
                <a:gd name="T29" fmla="*/ 371 h 1181"/>
                <a:gd name="T30" fmla="*/ 1127 w 1136"/>
                <a:gd name="T31" fmla="*/ 491 h 1181"/>
                <a:gd name="T32" fmla="*/ 1136 w 1136"/>
                <a:gd name="T33" fmla="*/ 658 h 1181"/>
                <a:gd name="T34" fmla="*/ 267 w 1136"/>
                <a:gd name="T35" fmla="*/ 689 h 1181"/>
                <a:gd name="T36" fmla="*/ 287 w 1136"/>
                <a:gd name="T37" fmla="*/ 744 h 1181"/>
                <a:gd name="T38" fmla="*/ 315 w 1136"/>
                <a:gd name="T39" fmla="*/ 794 h 1181"/>
                <a:gd name="T40" fmla="*/ 350 w 1136"/>
                <a:gd name="T41" fmla="*/ 837 h 1181"/>
                <a:gd name="T42" fmla="*/ 395 w 1136"/>
                <a:gd name="T43" fmla="*/ 873 h 1181"/>
                <a:gd name="T44" fmla="*/ 444 w 1136"/>
                <a:gd name="T45" fmla="*/ 901 h 1181"/>
                <a:gd name="T46" fmla="*/ 500 w 1136"/>
                <a:gd name="T47" fmla="*/ 920 h 1181"/>
                <a:gd name="T48" fmla="*/ 561 w 1136"/>
                <a:gd name="T49" fmla="*/ 930 h 1181"/>
                <a:gd name="T50" fmla="*/ 617 w 1136"/>
                <a:gd name="T51" fmla="*/ 930 h 1181"/>
                <a:gd name="T52" fmla="*/ 711 w 1136"/>
                <a:gd name="T53" fmla="*/ 914 h 1181"/>
                <a:gd name="T54" fmla="*/ 789 w 1136"/>
                <a:gd name="T55" fmla="*/ 881 h 1181"/>
                <a:gd name="T56" fmla="*/ 853 w 1136"/>
                <a:gd name="T57" fmla="*/ 837 h 1181"/>
                <a:gd name="T58" fmla="*/ 1061 w 1136"/>
                <a:gd name="T59" fmla="*/ 982 h 1181"/>
                <a:gd name="T60" fmla="*/ 998 w 1136"/>
                <a:gd name="T61" fmla="*/ 1043 h 1181"/>
                <a:gd name="T62" fmla="*/ 894 w 1136"/>
                <a:gd name="T63" fmla="*/ 1110 h 1181"/>
                <a:gd name="T64" fmla="*/ 770 w 1136"/>
                <a:gd name="T65" fmla="*/ 1157 h 1181"/>
                <a:gd name="T66" fmla="*/ 630 w 1136"/>
                <a:gd name="T67" fmla="*/ 1180 h 1181"/>
                <a:gd name="T68" fmla="*/ 529 w 1136"/>
                <a:gd name="T69" fmla="*/ 1178 h 1181"/>
                <a:gd name="T70" fmla="*/ 411 w 1136"/>
                <a:gd name="T71" fmla="*/ 1155 h 1181"/>
                <a:gd name="T72" fmla="*/ 304 w 1136"/>
                <a:gd name="T73" fmla="*/ 1111 h 1181"/>
                <a:gd name="T74" fmla="*/ 210 w 1136"/>
                <a:gd name="T75" fmla="*/ 1048 h 1181"/>
                <a:gd name="T76" fmla="*/ 131 w 1136"/>
                <a:gd name="T77" fmla="*/ 969 h 1181"/>
                <a:gd name="T78" fmla="*/ 68 w 1136"/>
                <a:gd name="T79" fmla="*/ 875 h 1181"/>
                <a:gd name="T80" fmla="*/ 25 w 1136"/>
                <a:gd name="T81" fmla="*/ 769 h 1181"/>
                <a:gd name="T82" fmla="*/ 3 w 1136"/>
                <a:gd name="T83" fmla="*/ 652 h 1181"/>
                <a:gd name="T84" fmla="*/ 858 w 1136"/>
                <a:gd name="T85" fmla="*/ 464 h 1181"/>
                <a:gd name="T86" fmla="*/ 834 w 1136"/>
                <a:gd name="T87" fmla="*/ 385 h 1181"/>
                <a:gd name="T88" fmla="*/ 777 w 1136"/>
                <a:gd name="T89" fmla="*/ 305 h 1181"/>
                <a:gd name="T90" fmla="*/ 697 w 1136"/>
                <a:gd name="T91" fmla="*/ 253 h 1181"/>
                <a:gd name="T92" fmla="*/ 597 w 1136"/>
                <a:gd name="T93" fmla="*/ 232 h 1181"/>
                <a:gd name="T94" fmla="*/ 519 w 1136"/>
                <a:gd name="T95" fmla="*/ 235 h 1181"/>
                <a:gd name="T96" fmla="*/ 425 w 1136"/>
                <a:gd name="T97" fmla="*/ 267 h 1181"/>
                <a:gd name="T98" fmla="*/ 346 w 1136"/>
                <a:gd name="T99" fmla="*/ 327 h 1181"/>
                <a:gd name="T100" fmla="*/ 288 w 1136"/>
                <a:gd name="T101" fmla="*/ 413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  <a:moveTo>
                    <a:pt x="268" y="464"/>
                  </a:moveTo>
                  <a:lnTo>
                    <a:pt x="858" y="464"/>
                  </a:lnTo>
                  <a:lnTo>
                    <a:pt x="858" y="464"/>
                  </a:lnTo>
                  <a:lnTo>
                    <a:pt x="852" y="435"/>
                  </a:lnTo>
                  <a:lnTo>
                    <a:pt x="844" y="410"/>
                  </a:lnTo>
                  <a:lnTo>
                    <a:pt x="834" y="385"/>
                  </a:lnTo>
                  <a:lnTo>
                    <a:pt x="822" y="362"/>
                  </a:lnTo>
                  <a:lnTo>
                    <a:pt x="809" y="341"/>
                  </a:lnTo>
                  <a:lnTo>
                    <a:pt x="794" y="322"/>
                  </a:lnTo>
                  <a:lnTo>
                    <a:pt x="777" y="305"/>
                  </a:lnTo>
                  <a:lnTo>
                    <a:pt x="760" y="289"/>
                  </a:lnTo>
                  <a:lnTo>
                    <a:pt x="740" y="275"/>
                  </a:lnTo>
                  <a:lnTo>
                    <a:pt x="720" y="264"/>
                  </a:lnTo>
                  <a:lnTo>
                    <a:pt x="697" y="253"/>
                  </a:lnTo>
                  <a:lnTo>
                    <a:pt x="674" y="245"/>
                  </a:lnTo>
                  <a:lnTo>
                    <a:pt x="650" y="239"/>
                  </a:lnTo>
                  <a:lnTo>
                    <a:pt x="623" y="234"/>
                  </a:lnTo>
                  <a:lnTo>
                    <a:pt x="597" y="232"/>
                  </a:lnTo>
                  <a:lnTo>
                    <a:pt x="569" y="231"/>
                  </a:lnTo>
                  <a:lnTo>
                    <a:pt x="569" y="231"/>
                  </a:lnTo>
                  <a:lnTo>
                    <a:pt x="544" y="232"/>
                  </a:lnTo>
                  <a:lnTo>
                    <a:pt x="519" y="235"/>
                  </a:lnTo>
                  <a:lnTo>
                    <a:pt x="494" y="240"/>
                  </a:lnTo>
                  <a:lnTo>
                    <a:pt x="471" y="247"/>
                  </a:lnTo>
                  <a:lnTo>
                    <a:pt x="448" y="255"/>
                  </a:lnTo>
                  <a:lnTo>
                    <a:pt x="425" y="267"/>
                  </a:lnTo>
                  <a:lnTo>
                    <a:pt x="404" y="279"/>
                  </a:lnTo>
                  <a:lnTo>
                    <a:pt x="383" y="293"/>
                  </a:lnTo>
                  <a:lnTo>
                    <a:pt x="364" y="310"/>
                  </a:lnTo>
                  <a:lnTo>
                    <a:pt x="346" y="327"/>
                  </a:lnTo>
                  <a:lnTo>
                    <a:pt x="329" y="346"/>
                  </a:lnTo>
                  <a:lnTo>
                    <a:pt x="314" y="367"/>
                  </a:lnTo>
                  <a:lnTo>
                    <a:pt x="300" y="389"/>
                  </a:lnTo>
                  <a:lnTo>
                    <a:pt x="288" y="413"/>
                  </a:lnTo>
                  <a:lnTo>
                    <a:pt x="277" y="437"/>
                  </a:lnTo>
                  <a:lnTo>
                    <a:pt x="26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1 w 1136"/>
                <a:gd name="T1" fmla="*/ 559 h 1181"/>
                <a:gd name="T2" fmla="*/ 11 w 1136"/>
                <a:gd name="T3" fmla="*/ 469 h 1181"/>
                <a:gd name="T4" fmla="*/ 34 w 1136"/>
                <a:gd name="T5" fmla="*/ 383 h 1181"/>
                <a:gd name="T6" fmla="*/ 68 w 1136"/>
                <a:gd name="T7" fmla="*/ 305 h 1181"/>
                <a:gd name="T8" fmla="*/ 113 w 1136"/>
                <a:gd name="T9" fmla="*/ 233 h 1181"/>
                <a:gd name="T10" fmla="*/ 168 w 1136"/>
                <a:gd name="T11" fmla="*/ 170 h 1181"/>
                <a:gd name="T12" fmla="*/ 231 w 1136"/>
                <a:gd name="T13" fmla="*/ 114 h 1181"/>
                <a:gd name="T14" fmla="*/ 302 w 1136"/>
                <a:gd name="T15" fmla="*/ 69 h 1181"/>
                <a:gd name="T16" fmla="*/ 381 w 1136"/>
                <a:gd name="T17" fmla="*/ 35 h 1181"/>
                <a:gd name="T18" fmla="*/ 466 w 1136"/>
                <a:gd name="T19" fmla="*/ 11 h 1181"/>
                <a:gd name="T20" fmla="*/ 557 w 1136"/>
                <a:gd name="T21" fmla="*/ 0 h 1181"/>
                <a:gd name="T22" fmla="*/ 617 w 1136"/>
                <a:gd name="T23" fmla="*/ 0 h 1181"/>
                <a:gd name="T24" fmla="*/ 702 w 1136"/>
                <a:gd name="T25" fmla="*/ 10 h 1181"/>
                <a:gd name="T26" fmla="*/ 781 w 1136"/>
                <a:gd name="T27" fmla="*/ 30 h 1181"/>
                <a:gd name="T28" fmla="*/ 853 w 1136"/>
                <a:gd name="T29" fmla="*/ 62 h 1181"/>
                <a:gd name="T30" fmla="*/ 918 w 1136"/>
                <a:gd name="T31" fmla="*/ 105 h 1181"/>
                <a:gd name="T32" fmla="*/ 975 w 1136"/>
                <a:gd name="T33" fmla="*/ 157 h 1181"/>
                <a:gd name="T34" fmla="*/ 1026 w 1136"/>
                <a:gd name="T35" fmla="*/ 220 h 1181"/>
                <a:gd name="T36" fmla="*/ 1067 w 1136"/>
                <a:gd name="T37" fmla="*/ 291 h 1181"/>
                <a:gd name="T38" fmla="*/ 1098 w 1136"/>
                <a:gd name="T39" fmla="*/ 371 h 1181"/>
                <a:gd name="T40" fmla="*/ 1121 w 1136"/>
                <a:gd name="T41" fmla="*/ 460 h 1181"/>
                <a:gd name="T42" fmla="*/ 1134 w 1136"/>
                <a:gd name="T43" fmla="*/ 556 h 1181"/>
                <a:gd name="T44" fmla="*/ 261 w 1136"/>
                <a:gd name="T45" fmla="*/ 658 h 1181"/>
                <a:gd name="T46" fmla="*/ 267 w 1136"/>
                <a:gd name="T47" fmla="*/ 689 h 1181"/>
                <a:gd name="T48" fmla="*/ 281 w 1136"/>
                <a:gd name="T49" fmla="*/ 731 h 1181"/>
                <a:gd name="T50" fmla="*/ 299 w 1136"/>
                <a:gd name="T51" fmla="*/ 770 h 1181"/>
                <a:gd name="T52" fmla="*/ 323 w 1136"/>
                <a:gd name="T53" fmla="*/ 806 h 1181"/>
                <a:gd name="T54" fmla="*/ 350 w 1136"/>
                <a:gd name="T55" fmla="*/ 837 h 1181"/>
                <a:gd name="T56" fmla="*/ 382 w 1136"/>
                <a:gd name="T57" fmla="*/ 865 h 1181"/>
                <a:gd name="T58" fmla="*/ 418 w 1136"/>
                <a:gd name="T59" fmla="*/ 887 h 1181"/>
                <a:gd name="T60" fmla="*/ 457 w 1136"/>
                <a:gd name="T61" fmla="*/ 907 h 1181"/>
                <a:gd name="T62" fmla="*/ 500 w 1136"/>
                <a:gd name="T63" fmla="*/ 920 h 1181"/>
                <a:gd name="T64" fmla="*/ 544 w 1136"/>
                <a:gd name="T65" fmla="*/ 928 h 1181"/>
                <a:gd name="T66" fmla="*/ 593 w 1136"/>
                <a:gd name="T67" fmla="*/ 931 h 1181"/>
                <a:gd name="T68" fmla="*/ 642 w 1136"/>
                <a:gd name="T69" fmla="*/ 928 h 1181"/>
                <a:gd name="T70" fmla="*/ 711 w 1136"/>
                <a:gd name="T71" fmla="*/ 914 h 1181"/>
                <a:gd name="T72" fmla="*/ 771 w 1136"/>
                <a:gd name="T73" fmla="*/ 891 h 1181"/>
                <a:gd name="T74" fmla="*/ 822 w 1136"/>
                <a:gd name="T75" fmla="*/ 861 h 1181"/>
                <a:gd name="T76" fmla="*/ 867 w 1136"/>
                <a:gd name="T77" fmla="*/ 825 h 1181"/>
                <a:gd name="T78" fmla="*/ 1061 w 1136"/>
                <a:gd name="T79" fmla="*/ 982 h 1181"/>
                <a:gd name="T80" fmla="*/ 1020 w 1136"/>
                <a:gd name="T81" fmla="*/ 1024 h 1181"/>
                <a:gd name="T82" fmla="*/ 949 w 1136"/>
                <a:gd name="T83" fmla="*/ 1079 h 1181"/>
                <a:gd name="T84" fmla="*/ 866 w 1136"/>
                <a:gd name="T85" fmla="*/ 1124 h 1181"/>
                <a:gd name="T86" fmla="*/ 770 w 1136"/>
                <a:gd name="T87" fmla="*/ 1157 h 1181"/>
                <a:gd name="T88" fmla="*/ 667 w 1136"/>
                <a:gd name="T89" fmla="*/ 1177 h 1181"/>
                <a:gd name="T90" fmla="*/ 593 w 1136"/>
                <a:gd name="T91" fmla="*/ 1181 h 1181"/>
                <a:gd name="T92" fmla="*/ 499 w 1136"/>
                <a:gd name="T93" fmla="*/ 1174 h 1181"/>
                <a:gd name="T94" fmla="*/ 411 w 1136"/>
                <a:gd name="T95" fmla="*/ 1155 h 1181"/>
                <a:gd name="T96" fmla="*/ 330 w 1136"/>
                <a:gd name="T97" fmla="*/ 1124 h 1181"/>
                <a:gd name="T98" fmla="*/ 255 w 1136"/>
                <a:gd name="T99" fmla="*/ 1082 h 1181"/>
                <a:gd name="T100" fmla="*/ 188 w 1136"/>
                <a:gd name="T101" fmla="*/ 1031 h 1181"/>
                <a:gd name="T102" fmla="*/ 131 w 1136"/>
                <a:gd name="T103" fmla="*/ 969 h 1181"/>
                <a:gd name="T104" fmla="*/ 83 w 1136"/>
                <a:gd name="T105" fmla="*/ 900 h 1181"/>
                <a:gd name="T106" fmla="*/ 45 w 1136"/>
                <a:gd name="T107" fmla="*/ 823 h 1181"/>
                <a:gd name="T108" fmla="*/ 17 w 1136"/>
                <a:gd name="T109" fmla="*/ 740 h 1181"/>
                <a:gd name="T110" fmla="*/ 3 w 1136"/>
                <a:gd name="T111" fmla="*/ 65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521" y="4099"/>
              <a:ext cx="39" cy="15"/>
            </a:xfrm>
            <a:custGeom>
              <a:avLst/>
              <a:gdLst>
                <a:gd name="T0" fmla="*/ 0 w 590"/>
                <a:gd name="T1" fmla="*/ 233 h 233"/>
                <a:gd name="T2" fmla="*/ 590 w 590"/>
                <a:gd name="T3" fmla="*/ 233 h 233"/>
                <a:gd name="T4" fmla="*/ 590 w 590"/>
                <a:gd name="T5" fmla="*/ 233 h 233"/>
                <a:gd name="T6" fmla="*/ 584 w 590"/>
                <a:gd name="T7" fmla="*/ 204 h 233"/>
                <a:gd name="T8" fmla="*/ 576 w 590"/>
                <a:gd name="T9" fmla="*/ 179 h 233"/>
                <a:gd name="T10" fmla="*/ 566 w 590"/>
                <a:gd name="T11" fmla="*/ 154 h 233"/>
                <a:gd name="T12" fmla="*/ 554 w 590"/>
                <a:gd name="T13" fmla="*/ 131 h 233"/>
                <a:gd name="T14" fmla="*/ 541 w 590"/>
                <a:gd name="T15" fmla="*/ 110 h 233"/>
                <a:gd name="T16" fmla="*/ 526 w 590"/>
                <a:gd name="T17" fmla="*/ 91 h 233"/>
                <a:gd name="T18" fmla="*/ 509 w 590"/>
                <a:gd name="T19" fmla="*/ 74 h 233"/>
                <a:gd name="T20" fmla="*/ 492 w 590"/>
                <a:gd name="T21" fmla="*/ 58 h 233"/>
                <a:gd name="T22" fmla="*/ 472 w 590"/>
                <a:gd name="T23" fmla="*/ 44 h 233"/>
                <a:gd name="T24" fmla="*/ 452 w 590"/>
                <a:gd name="T25" fmla="*/ 33 h 233"/>
                <a:gd name="T26" fmla="*/ 429 w 590"/>
                <a:gd name="T27" fmla="*/ 22 h 233"/>
                <a:gd name="T28" fmla="*/ 406 w 590"/>
                <a:gd name="T29" fmla="*/ 14 h 233"/>
                <a:gd name="T30" fmla="*/ 382 w 590"/>
                <a:gd name="T31" fmla="*/ 8 h 233"/>
                <a:gd name="T32" fmla="*/ 355 w 590"/>
                <a:gd name="T33" fmla="*/ 3 h 233"/>
                <a:gd name="T34" fmla="*/ 329 w 590"/>
                <a:gd name="T35" fmla="*/ 1 h 233"/>
                <a:gd name="T36" fmla="*/ 301 w 590"/>
                <a:gd name="T37" fmla="*/ 0 h 233"/>
                <a:gd name="T38" fmla="*/ 301 w 590"/>
                <a:gd name="T39" fmla="*/ 0 h 233"/>
                <a:gd name="T40" fmla="*/ 276 w 590"/>
                <a:gd name="T41" fmla="*/ 1 h 233"/>
                <a:gd name="T42" fmla="*/ 251 w 590"/>
                <a:gd name="T43" fmla="*/ 4 h 233"/>
                <a:gd name="T44" fmla="*/ 226 w 590"/>
                <a:gd name="T45" fmla="*/ 9 h 233"/>
                <a:gd name="T46" fmla="*/ 203 w 590"/>
                <a:gd name="T47" fmla="*/ 16 h 233"/>
                <a:gd name="T48" fmla="*/ 180 w 590"/>
                <a:gd name="T49" fmla="*/ 24 h 233"/>
                <a:gd name="T50" fmla="*/ 157 w 590"/>
                <a:gd name="T51" fmla="*/ 36 h 233"/>
                <a:gd name="T52" fmla="*/ 136 w 590"/>
                <a:gd name="T53" fmla="*/ 48 h 233"/>
                <a:gd name="T54" fmla="*/ 115 w 590"/>
                <a:gd name="T55" fmla="*/ 62 h 233"/>
                <a:gd name="T56" fmla="*/ 96 w 590"/>
                <a:gd name="T57" fmla="*/ 79 h 233"/>
                <a:gd name="T58" fmla="*/ 78 w 590"/>
                <a:gd name="T59" fmla="*/ 96 h 233"/>
                <a:gd name="T60" fmla="*/ 61 w 590"/>
                <a:gd name="T61" fmla="*/ 115 h 233"/>
                <a:gd name="T62" fmla="*/ 46 w 590"/>
                <a:gd name="T63" fmla="*/ 136 h 233"/>
                <a:gd name="T64" fmla="*/ 32 w 590"/>
                <a:gd name="T65" fmla="*/ 158 h 233"/>
                <a:gd name="T66" fmla="*/ 20 w 590"/>
                <a:gd name="T67" fmla="*/ 182 h 233"/>
                <a:gd name="T68" fmla="*/ 9 w 590"/>
                <a:gd name="T69" fmla="*/ 206 h 233"/>
                <a:gd name="T70" fmla="*/ 0 w 590"/>
                <a:gd name="T71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90" h="233">
                  <a:moveTo>
                    <a:pt x="0" y="233"/>
                  </a:moveTo>
                  <a:lnTo>
                    <a:pt x="590" y="233"/>
                  </a:lnTo>
                  <a:lnTo>
                    <a:pt x="590" y="233"/>
                  </a:lnTo>
                  <a:lnTo>
                    <a:pt x="584" y="204"/>
                  </a:lnTo>
                  <a:lnTo>
                    <a:pt x="576" y="179"/>
                  </a:lnTo>
                  <a:lnTo>
                    <a:pt x="566" y="154"/>
                  </a:lnTo>
                  <a:lnTo>
                    <a:pt x="554" y="131"/>
                  </a:lnTo>
                  <a:lnTo>
                    <a:pt x="541" y="110"/>
                  </a:lnTo>
                  <a:lnTo>
                    <a:pt x="526" y="91"/>
                  </a:lnTo>
                  <a:lnTo>
                    <a:pt x="509" y="74"/>
                  </a:lnTo>
                  <a:lnTo>
                    <a:pt x="492" y="58"/>
                  </a:lnTo>
                  <a:lnTo>
                    <a:pt x="472" y="44"/>
                  </a:lnTo>
                  <a:lnTo>
                    <a:pt x="452" y="33"/>
                  </a:lnTo>
                  <a:lnTo>
                    <a:pt x="429" y="22"/>
                  </a:lnTo>
                  <a:lnTo>
                    <a:pt x="406" y="14"/>
                  </a:lnTo>
                  <a:lnTo>
                    <a:pt x="382" y="8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276" y="1"/>
                  </a:lnTo>
                  <a:lnTo>
                    <a:pt x="251" y="4"/>
                  </a:lnTo>
                  <a:lnTo>
                    <a:pt x="226" y="9"/>
                  </a:lnTo>
                  <a:lnTo>
                    <a:pt x="203" y="16"/>
                  </a:lnTo>
                  <a:lnTo>
                    <a:pt x="180" y="24"/>
                  </a:lnTo>
                  <a:lnTo>
                    <a:pt x="157" y="36"/>
                  </a:lnTo>
                  <a:lnTo>
                    <a:pt x="136" y="48"/>
                  </a:lnTo>
                  <a:lnTo>
                    <a:pt x="115" y="62"/>
                  </a:lnTo>
                  <a:lnTo>
                    <a:pt x="96" y="79"/>
                  </a:lnTo>
                  <a:lnTo>
                    <a:pt x="78" y="96"/>
                  </a:lnTo>
                  <a:lnTo>
                    <a:pt x="61" y="115"/>
                  </a:lnTo>
                  <a:lnTo>
                    <a:pt x="46" y="136"/>
                  </a:lnTo>
                  <a:lnTo>
                    <a:pt x="32" y="158"/>
                  </a:lnTo>
                  <a:lnTo>
                    <a:pt x="20" y="182"/>
                  </a:lnTo>
                  <a:lnTo>
                    <a:pt x="9" y="206"/>
                  </a:lnTo>
                  <a:lnTo>
                    <a:pt x="0" y="2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588" y="4083"/>
              <a:ext cx="66" cy="79"/>
            </a:xfrm>
            <a:custGeom>
              <a:avLst/>
              <a:gdLst>
                <a:gd name="T0" fmla="*/ 720 w 988"/>
                <a:gd name="T1" fmla="*/ 1179 h 1179"/>
                <a:gd name="T2" fmla="*/ 720 w 988"/>
                <a:gd name="T3" fmla="*/ 493 h 1179"/>
                <a:gd name="T4" fmla="*/ 715 w 988"/>
                <a:gd name="T5" fmla="*/ 448 h 1179"/>
                <a:gd name="T6" fmla="*/ 702 w 988"/>
                <a:gd name="T7" fmla="*/ 405 h 1179"/>
                <a:gd name="T8" fmla="*/ 681 w 988"/>
                <a:gd name="T9" fmla="*/ 367 h 1179"/>
                <a:gd name="T10" fmla="*/ 654 w 988"/>
                <a:gd name="T11" fmla="*/ 333 h 1179"/>
                <a:gd name="T12" fmla="*/ 620 w 988"/>
                <a:gd name="T13" fmla="*/ 306 h 1179"/>
                <a:gd name="T14" fmla="*/ 582 w 988"/>
                <a:gd name="T15" fmla="*/ 285 h 1179"/>
                <a:gd name="T16" fmla="*/ 540 w 988"/>
                <a:gd name="T17" fmla="*/ 272 h 1179"/>
                <a:gd name="T18" fmla="*/ 493 w 988"/>
                <a:gd name="T19" fmla="*/ 268 h 1179"/>
                <a:gd name="T20" fmla="*/ 471 w 988"/>
                <a:gd name="T21" fmla="*/ 269 h 1179"/>
                <a:gd name="T22" fmla="*/ 427 w 988"/>
                <a:gd name="T23" fmla="*/ 278 h 1179"/>
                <a:gd name="T24" fmla="*/ 386 w 988"/>
                <a:gd name="T25" fmla="*/ 294 h 1179"/>
                <a:gd name="T26" fmla="*/ 350 w 988"/>
                <a:gd name="T27" fmla="*/ 319 h 1179"/>
                <a:gd name="T28" fmla="*/ 319 w 988"/>
                <a:gd name="T29" fmla="*/ 350 h 1179"/>
                <a:gd name="T30" fmla="*/ 295 w 988"/>
                <a:gd name="T31" fmla="*/ 385 h 1179"/>
                <a:gd name="T32" fmla="*/ 278 w 988"/>
                <a:gd name="T33" fmla="*/ 425 h 1179"/>
                <a:gd name="T34" fmla="*/ 269 w 988"/>
                <a:gd name="T35" fmla="*/ 469 h 1179"/>
                <a:gd name="T36" fmla="*/ 268 w 988"/>
                <a:gd name="T37" fmla="*/ 1179 h 1179"/>
                <a:gd name="T38" fmla="*/ 0 w 988"/>
                <a:gd name="T39" fmla="*/ 493 h 1179"/>
                <a:gd name="T40" fmla="*/ 0 w 988"/>
                <a:gd name="T41" fmla="*/ 467 h 1179"/>
                <a:gd name="T42" fmla="*/ 5 w 988"/>
                <a:gd name="T43" fmla="*/ 418 h 1179"/>
                <a:gd name="T44" fmla="*/ 15 w 988"/>
                <a:gd name="T45" fmla="*/ 370 h 1179"/>
                <a:gd name="T46" fmla="*/ 30 w 988"/>
                <a:gd name="T47" fmla="*/ 323 h 1179"/>
                <a:gd name="T48" fmla="*/ 48 w 988"/>
                <a:gd name="T49" fmla="*/ 279 h 1179"/>
                <a:gd name="T50" fmla="*/ 71 w 988"/>
                <a:gd name="T51" fmla="*/ 237 h 1179"/>
                <a:gd name="T52" fmla="*/ 97 w 988"/>
                <a:gd name="T53" fmla="*/ 198 h 1179"/>
                <a:gd name="T54" fmla="*/ 128 w 988"/>
                <a:gd name="T55" fmla="*/ 161 h 1179"/>
                <a:gd name="T56" fmla="*/ 162 w 988"/>
                <a:gd name="T57" fmla="*/ 129 h 1179"/>
                <a:gd name="T58" fmla="*/ 198 w 988"/>
                <a:gd name="T59" fmla="*/ 98 h 1179"/>
                <a:gd name="T60" fmla="*/ 238 w 988"/>
                <a:gd name="T61" fmla="*/ 71 h 1179"/>
                <a:gd name="T62" fmla="*/ 280 w 988"/>
                <a:gd name="T63" fmla="*/ 49 h 1179"/>
                <a:gd name="T64" fmla="*/ 324 w 988"/>
                <a:gd name="T65" fmla="*/ 30 h 1179"/>
                <a:gd name="T66" fmla="*/ 370 w 988"/>
                <a:gd name="T67" fmla="*/ 15 h 1179"/>
                <a:gd name="T68" fmla="*/ 419 w 988"/>
                <a:gd name="T69" fmla="*/ 6 h 1179"/>
                <a:gd name="T70" fmla="*/ 469 w 988"/>
                <a:gd name="T71" fmla="*/ 1 h 1179"/>
                <a:gd name="T72" fmla="*/ 493 w 988"/>
                <a:gd name="T73" fmla="*/ 0 h 1179"/>
                <a:gd name="T74" fmla="*/ 544 w 988"/>
                <a:gd name="T75" fmla="*/ 3 h 1179"/>
                <a:gd name="T76" fmla="*/ 593 w 988"/>
                <a:gd name="T77" fmla="*/ 10 h 1179"/>
                <a:gd name="T78" fmla="*/ 640 w 988"/>
                <a:gd name="T79" fmla="*/ 22 h 1179"/>
                <a:gd name="T80" fmla="*/ 686 w 988"/>
                <a:gd name="T81" fmla="*/ 39 h 1179"/>
                <a:gd name="T82" fmla="*/ 729 w 988"/>
                <a:gd name="T83" fmla="*/ 59 h 1179"/>
                <a:gd name="T84" fmla="*/ 769 w 988"/>
                <a:gd name="T85" fmla="*/ 85 h 1179"/>
                <a:gd name="T86" fmla="*/ 807 w 988"/>
                <a:gd name="T87" fmla="*/ 112 h 1179"/>
                <a:gd name="T88" fmla="*/ 843 w 988"/>
                <a:gd name="T89" fmla="*/ 145 h 1179"/>
                <a:gd name="T90" fmla="*/ 875 w 988"/>
                <a:gd name="T91" fmla="*/ 180 h 1179"/>
                <a:gd name="T92" fmla="*/ 904 w 988"/>
                <a:gd name="T93" fmla="*/ 218 h 1179"/>
                <a:gd name="T94" fmla="*/ 928 w 988"/>
                <a:gd name="T95" fmla="*/ 258 h 1179"/>
                <a:gd name="T96" fmla="*/ 949 w 988"/>
                <a:gd name="T97" fmla="*/ 301 h 1179"/>
                <a:gd name="T98" fmla="*/ 965 w 988"/>
                <a:gd name="T99" fmla="*/ 346 h 1179"/>
                <a:gd name="T100" fmla="*/ 978 w 988"/>
                <a:gd name="T101" fmla="*/ 393 h 1179"/>
                <a:gd name="T102" fmla="*/ 985 w 988"/>
                <a:gd name="T103" fmla="*/ 443 h 1179"/>
                <a:gd name="T104" fmla="*/ 988 w 988"/>
                <a:gd name="T105" fmla="*/ 493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88" h="1179">
                  <a:moveTo>
                    <a:pt x="988" y="1179"/>
                  </a:moveTo>
                  <a:lnTo>
                    <a:pt x="720" y="1179"/>
                  </a:lnTo>
                  <a:lnTo>
                    <a:pt x="720" y="493"/>
                  </a:lnTo>
                  <a:lnTo>
                    <a:pt x="720" y="493"/>
                  </a:lnTo>
                  <a:lnTo>
                    <a:pt x="718" y="469"/>
                  </a:lnTo>
                  <a:lnTo>
                    <a:pt x="715" y="448"/>
                  </a:lnTo>
                  <a:lnTo>
                    <a:pt x="710" y="425"/>
                  </a:lnTo>
                  <a:lnTo>
                    <a:pt x="702" y="405"/>
                  </a:lnTo>
                  <a:lnTo>
                    <a:pt x="692" y="385"/>
                  </a:lnTo>
                  <a:lnTo>
                    <a:pt x="681" y="367"/>
                  </a:lnTo>
                  <a:lnTo>
                    <a:pt x="668" y="350"/>
                  </a:lnTo>
                  <a:lnTo>
                    <a:pt x="654" y="333"/>
                  </a:lnTo>
                  <a:lnTo>
                    <a:pt x="637" y="319"/>
                  </a:lnTo>
                  <a:lnTo>
                    <a:pt x="620" y="306"/>
                  </a:lnTo>
                  <a:lnTo>
                    <a:pt x="601" y="294"/>
                  </a:lnTo>
                  <a:lnTo>
                    <a:pt x="582" y="285"/>
                  </a:lnTo>
                  <a:lnTo>
                    <a:pt x="561" y="278"/>
                  </a:lnTo>
                  <a:lnTo>
                    <a:pt x="540" y="272"/>
                  </a:lnTo>
                  <a:lnTo>
                    <a:pt x="517" y="269"/>
                  </a:lnTo>
                  <a:lnTo>
                    <a:pt x="493" y="268"/>
                  </a:lnTo>
                  <a:lnTo>
                    <a:pt x="493" y="268"/>
                  </a:lnTo>
                  <a:lnTo>
                    <a:pt x="471" y="269"/>
                  </a:lnTo>
                  <a:lnTo>
                    <a:pt x="448" y="272"/>
                  </a:lnTo>
                  <a:lnTo>
                    <a:pt x="427" y="278"/>
                  </a:lnTo>
                  <a:lnTo>
                    <a:pt x="406" y="285"/>
                  </a:lnTo>
                  <a:lnTo>
                    <a:pt x="386" y="294"/>
                  </a:lnTo>
                  <a:lnTo>
                    <a:pt x="367" y="306"/>
                  </a:lnTo>
                  <a:lnTo>
                    <a:pt x="350" y="319"/>
                  </a:lnTo>
                  <a:lnTo>
                    <a:pt x="334" y="333"/>
                  </a:lnTo>
                  <a:lnTo>
                    <a:pt x="319" y="350"/>
                  </a:lnTo>
                  <a:lnTo>
                    <a:pt x="307" y="367"/>
                  </a:lnTo>
                  <a:lnTo>
                    <a:pt x="295" y="385"/>
                  </a:lnTo>
                  <a:lnTo>
                    <a:pt x="285" y="405"/>
                  </a:lnTo>
                  <a:lnTo>
                    <a:pt x="278" y="425"/>
                  </a:lnTo>
                  <a:lnTo>
                    <a:pt x="273" y="448"/>
                  </a:lnTo>
                  <a:lnTo>
                    <a:pt x="269" y="469"/>
                  </a:lnTo>
                  <a:lnTo>
                    <a:pt x="268" y="493"/>
                  </a:lnTo>
                  <a:lnTo>
                    <a:pt x="268" y="1179"/>
                  </a:lnTo>
                  <a:lnTo>
                    <a:pt x="0" y="1179"/>
                  </a:lnTo>
                  <a:lnTo>
                    <a:pt x="0" y="493"/>
                  </a:lnTo>
                  <a:lnTo>
                    <a:pt x="0" y="493"/>
                  </a:lnTo>
                  <a:lnTo>
                    <a:pt x="0" y="467"/>
                  </a:lnTo>
                  <a:lnTo>
                    <a:pt x="2" y="443"/>
                  </a:lnTo>
                  <a:lnTo>
                    <a:pt x="5" y="418"/>
                  </a:lnTo>
                  <a:lnTo>
                    <a:pt x="9" y="393"/>
                  </a:lnTo>
                  <a:lnTo>
                    <a:pt x="15" y="370"/>
                  </a:lnTo>
                  <a:lnTo>
                    <a:pt x="21" y="346"/>
                  </a:lnTo>
                  <a:lnTo>
                    <a:pt x="30" y="323"/>
                  </a:lnTo>
                  <a:lnTo>
                    <a:pt x="39" y="301"/>
                  </a:lnTo>
                  <a:lnTo>
                    <a:pt x="48" y="279"/>
                  </a:lnTo>
                  <a:lnTo>
                    <a:pt x="59" y="258"/>
                  </a:lnTo>
                  <a:lnTo>
                    <a:pt x="71" y="237"/>
                  </a:lnTo>
                  <a:lnTo>
                    <a:pt x="84" y="218"/>
                  </a:lnTo>
                  <a:lnTo>
                    <a:pt x="97" y="198"/>
                  </a:lnTo>
                  <a:lnTo>
                    <a:pt x="113" y="180"/>
                  </a:lnTo>
                  <a:lnTo>
                    <a:pt x="128" y="161"/>
                  </a:lnTo>
                  <a:lnTo>
                    <a:pt x="145" y="145"/>
                  </a:lnTo>
                  <a:lnTo>
                    <a:pt x="162" y="129"/>
                  </a:lnTo>
                  <a:lnTo>
                    <a:pt x="179" y="112"/>
                  </a:lnTo>
                  <a:lnTo>
                    <a:pt x="198" y="98"/>
                  </a:lnTo>
                  <a:lnTo>
                    <a:pt x="217" y="85"/>
                  </a:lnTo>
                  <a:lnTo>
                    <a:pt x="238" y="71"/>
                  </a:lnTo>
                  <a:lnTo>
                    <a:pt x="258" y="59"/>
                  </a:lnTo>
                  <a:lnTo>
                    <a:pt x="280" y="49"/>
                  </a:lnTo>
                  <a:lnTo>
                    <a:pt x="302" y="39"/>
                  </a:lnTo>
                  <a:lnTo>
                    <a:pt x="324" y="30"/>
                  </a:lnTo>
                  <a:lnTo>
                    <a:pt x="347" y="22"/>
                  </a:lnTo>
                  <a:lnTo>
                    <a:pt x="370" y="15"/>
                  </a:lnTo>
                  <a:lnTo>
                    <a:pt x="394" y="10"/>
                  </a:lnTo>
                  <a:lnTo>
                    <a:pt x="419" y="6"/>
                  </a:lnTo>
                  <a:lnTo>
                    <a:pt x="443" y="3"/>
                  </a:lnTo>
                  <a:lnTo>
                    <a:pt x="469" y="1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519" y="1"/>
                  </a:lnTo>
                  <a:lnTo>
                    <a:pt x="544" y="3"/>
                  </a:lnTo>
                  <a:lnTo>
                    <a:pt x="569" y="6"/>
                  </a:lnTo>
                  <a:lnTo>
                    <a:pt x="593" y="10"/>
                  </a:lnTo>
                  <a:lnTo>
                    <a:pt x="618" y="15"/>
                  </a:lnTo>
                  <a:lnTo>
                    <a:pt x="640" y="22"/>
                  </a:lnTo>
                  <a:lnTo>
                    <a:pt x="664" y="30"/>
                  </a:lnTo>
                  <a:lnTo>
                    <a:pt x="686" y="39"/>
                  </a:lnTo>
                  <a:lnTo>
                    <a:pt x="708" y="49"/>
                  </a:lnTo>
                  <a:lnTo>
                    <a:pt x="729" y="59"/>
                  </a:lnTo>
                  <a:lnTo>
                    <a:pt x="750" y="71"/>
                  </a:lnTo>
                  <a:lnTo>
                    <a:pt x="769" y="85"/>
                  </a:lnTo>
                  <a:lnTo>
                    <a:pt x="789" y="98"/>
                  </a:lnTo>
                  <a:lnTo>
                    <a:pt x="807" y="112"/>
                  </a:lnTo>
                  <a:lnTo>
                    <a:pt x="826" y="129"/>
                  </a:lnTo>
                  <a:lnTo>
                    <a:pt x="843" y="145"/>
                  </a:lnTo>
                  <a:lnTo>
                    <a:pt x="860" y="161"/>
                  </a:lnTo>
                  <a:lnTo>
                    <a:pt x="875" y="180"/>
                  </a:lnTo>
                  <a:lnTo>
                    <a:pt x="889" y="198"/>
                  </a:lnTo>
                  <a:lnTo>
                    <a:pt x="904" y="218"/>
                  </a:lnTo>
                  <a:lnTo>
                    <a:pt x="916" y="237"/>
                  </a:lnTo>
                  <a:lnTo>
                    <a:pt x="928" y="258"/>
                  </a:lnTo>
                  <a:lnTo>
                    <a:pt x="939" y="279"/>
                  </a:lnTo>
                  <a:lnTo>
                    <a:pt x="949" y="301"/>
                  </a:lnTo>
                  <a:lnTo>
                    <a:pt x="958" y="323"/>
                  </a:lnTo>
                  <a:lnTo>
                    <a:pt x="965" y="346"/>
                  </a:lnTo>
                  <a:lnTo>
                    <a:pt x="973" y="370"/>
                  </a:lnTo>
                  <a:lnTo>
                    <a:pt x="978" y="393"/>
                  </a:lnTo>
                  <a:lnTo>
                    <a:pt x="982" y="418"/>
                  </a:lnTo>
                  <a:lnTo>
                    <a:pt x="985" y="443"/>
                  </a:lnTo>
                  <a:lnTo>
                    <a:pt x="987" y="467"/>
                  </a:lnTo>
                  <a:lnTo>
                    <a:pt x="988" y="493"/>
                  </a:lnTo>
                  <a:lnTo>
                    <a:pt x="988" y="11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6609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bg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26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4"/>
          <p:cNvGrpSpPr>
            <a:grpSpLocks noChangeAspect="1"/>
          </p:cNvGrpSpPr>
          <p:nvPr userDrawn="1"/>
        </p:nvGrpSpPr>
        <p:grpSpPr bwMode="auto">
          <a:xfrm>
            <a:off x="304800" y="6440488"/>
            <a:ext cx="733425" cy="166687"/>
            <a:chOff x="192" y="4057"/>
            <a:chExt cx="462" cy="105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92" y="4057"/>
              <a:ext cx="46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192" y="4083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253" y="4083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351" y="4121"/>
              <a:ext cx="59" cy="41"/>
            </a:xfrm>
            <a:custGeom>
              <a:avLst/>
              <a:gdLst>
                <a:gd name="T0" fmla="*/ 884 w 884"/>
                <a:gd name="T1" fmla="*/ 618 h 618"/>
                <a:gd name="T2" fmla="*/ 339 w 884"/>
                <a:gd name="T3" fmla="*/ 0 h 618"/>
                <a:gd name="T4" fmla="*/ 0 w 884"/>
                <a:gd name="T5" fmla="*/ 0 h 618"/>
                <a:gd name="T6" fmla="*/ 539 w 884"/>
                <a:gd name="T7" fmla="*/ 618 h 618"/>
                <a:gd name="T8" fmla="*/ 884 w 884"/>
                <a:gd name="T9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4" h="618">
                  <a:moveTo>
                    <a:pt x="884" y="618"/>
                  </a:moveTo>
                  <a:lnTo>
                    <a:pt x="339" y="0"/>
                  </a:lnTo>
                  <a:lnTo>
                    <a:pt x="0" y="0"/>
                  </a:lnTo>
                  <a:lnTo>
                    <a:pt x="539" y="618"/>
                  </a:lnTo>
                  <a:lnTo>
                    <a:pt x="884" y="61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 userDrawn="1"/>
          </p:nvSpPr>
          <p:spPr bwMode="auto">
            <a:xfrm>
              <a:off x="330" y="4057"/>
              <a:ext cx="17" cy="105"/>
            </a:xfrm>
            <a:custGeom>
              <a:avLst/>
              <a:gdLst>
                <a:gd name="T0" fmla="*/ 0 w 253"/>
                <a:gd name="T1" fmla="*/ 0 h 1572"/>
                <a:gd name="T2" fmla="*/ 0 w 253"/>
                <a:gd name="T3" fmla="*/ 1572 h 1572"/>
                <a:gd name="T4" fmla="*/ 253 w 253"/>
                <a:gd name="T5" fmla="*/ 1572 h 1572"/>
                <a:gd name="T6" fmla="*/ 253 w 253"/>
                <a:gd name="T7" fmla="*/ 999 h 1572"/>
                <a:gd name="T8" fmla="*/ 253 w 253"/>
                <a:gd name="T9" fmla="*/ 1000 h 1572"/>
                <a:gd name="T10" fmla="*/ 253 w 253"/>
                <a:gd name="T11" fmla="*/ 941 h 1572"/>
                <a:gd name="T12" fmla="*/ 253 w 253"/>
                <a:gd name="T13" fmla="*/ 942 h 1572"/>
                <a:gd name="T14" fmla="*/ 253 w 253"/>
                <a:gd name="T15" fmla="*/ 0 h 1572"/>
                <a:gd name="T16" fmla="*/ 0 w 253"/>
                <a:gd name="T17" fmla="*/ 0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1572">
                  <a:moveTo>
                    <a:pt x="0" y="0"/>
                  </a:moveTo>
                  <a:lnTo>
                    <a:pt x="0" y="1572"/>
                  </a:lnTo>
                  <a:lnTo>
                    <a:pt x="253" y="1572"/>
                  </a:lnTo>
                  <a:lnTo>
                    <a:pt x="253" y="999"/>
                  </a:lnTo>
                  <a:lnTo>
                    <a:pt x="253" y="1000"/>
                  </a:lnTo>
                  <a:lnTo>
                    <a:pt x="253" y="941"/>
                  </a:lnTo>
                  <a:lnTo>
                    <a:pt x="253" y="942"/>
                  </a:lnTo>
                  <a:lnTo>
                    <a:pt x="2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433" y="4083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3 w 1136"/>
                <a:gd name="T1" fmla="*/ 529 h 1181"/>
                <a:gd name="T2" fmla="*/ 25 w 1136"/>
                <a:gd name="T3" fmla="*/ 412 h 1181"/>
                <a:gd name="T4" fmla="*/ 68 w 1136"/>
                <a:gd name="T5" fmla="*/ 305 h 1181"/>
                <a:gd name="T6" fmla="*/ 130 w 1136"/>
                <a:gd name="T7" fmla="*/ 211 h 1181"/>
                <a:gd name="T8" fmla="*/ 209 w 1136"/>
                <a:gd name="T9" fmla="*/ 132 h 1181"/>
                <a:gd name="T10" fmla="*/ 302 w 1136"/>
                <a:gd name="T11" fmla="*/ 69 h 1181"/>
                <a:gd name="T12" fmla="*/ 409 w 1136"/>
                <a:gd name="T13" fmla="*/ 25 h 1181"/>
                <a:gd name="T14" fmla="*/ 526 w 1136"/>
                <a:gd name="T15" fmla="*/ 3 h 1181"/>
                <a:gd name="T16" fmla="*/ 617 w 1136"/>
                <a:gd name="T17" fmla="*/ 0 h 1181"/>
                <a:gd name="T18" fmla="*/ 729 w 1136"/>
                <a:gd name="T19" fmla="*/ 15 h 1181"/>
                <a:gd name="T20" fmla="*/ 830 w 1136"/>
                <a:gd name="T21" fmla="*/ 51 h 1181"/>
                <a:gd name="T22" fmla="*/ 918 w 1136"/>
                <a:gd name="T23" fmla="*/ 105 h 1181"/>
                <a:gd name="T24" fmla="*/ 993 w 1136"/>
                <a:gd name="T25" fmla="*/ 177 h 1181"/>
                <a:gd name="T26" fmla="*/ 1053 w 1136"/>
                <a:gd name="T27" fmla="*/ 266 h 1181"/>
                <a:gd name="T28" fmla="*/ 1098 w 1136"/>
                <a:gd name="T29" fmla="*/ 371 h 1181"/>
                <a:gd name="T30" fmla="*/ 1127 w 1136"/>
                <a:gd name="T31" fmla="*/ 491 h 1181"/>
                <a:gd name="T32" fmla="*/ 1136 w 1136"/>
                <a:gd name="T33" fmla="*/ 658 h 1181"/>
                <a:gd name="T34" fmla="*/ 267 w 1136"/>
                <a:gd name="T35" fmla="*/ 689 h 1181"/>
                <a:gd name="T36" fmla="*/ 287 w 1136"/>
                <a:gd name="T37" fmla="*/ 744 h 1181"/>
                <a:gd name="T38" fmla="*/ 315 w 1136"/>
                <a:gd name="T39" fmla="*/ 794 h 1181"/>
                <a:gd name="T40" fmla="*/ 350 w 1136"/>
                <a:gd name="T41" fmla="*/ 837 h 1181"/>
                <a:gd name="T42" fmla="*/ 395 w 1136"/>
                <a:gd name="T43" fmla="*/ 873 h 1181"/>
                <a:gd name="T44" fmla="*/ 444 w 1136"/>
                <a:gd name="T45" fmla="*/ 901 h 1181"/>
                <a:gd name="T46" fmla="*/ 500 w 1136"/>
                <a:gd name="T47" fmla="*/ 920 h 1181"/>
                <a:gd name="T48" fmla="*/ 561 w 1136"/>
                <a:gd name="T49" fmla="*/ 930 h 1181"/>
                <a:gd name="T50" fmla="*/ 617 w 1136"/>
                <a:gd name="T51" fmla="*/ 930 h 1181"/>
                <a:gd name="T52" fmla="*/ 711 w 1136"/>
                <a:gd name="T53" fmla="*/ 914 h 1181"/>
                <a:gd name="T54" fmla="*/ 789 w 1136"/>
                <a:gd name="T55" fmla="*/ 881 h 1181"/>
                <a:gd name="T56" fmla="*/ 853 w 1136"/>
                <a:gd name="T57" fmla="*/ 837 h 1181"/>
                <a:gd name="T58" fmla="*/ 1061 w 1136"/>
                <a:gd name="T59" fmla="*/ 982 h 1181"/>
                <a:gd name="T60" fmla="*/ 998 w 1136"/>
                <a:gd name="T61" fmla="*/ 1043 h 1181"/>
                <a:gd name="T62" fmla="*/ 894 w 1136"/>
                <a:gd name="T63" fmla="*/ 1110 h 1181"/>
                <a:gd name="T64" fmla="*/ 770 w 1136"/>
                <a:gd name="T65" fmla="*/ 1157 h 1181"/>
                <a:gd name="T66" fmla="*/ 630 w 1136"/>
                <a:gd name="T67" fmla="*/ 1180 h 1181"/>
                <a:gd name="T68" fmla="*/ 529 w 1136"/>
                <a:gd name="T69" fmla="*/ 1178 h 1181"/>
                <a:gd name="T70" fmla="*/ 411 w 1136"/>
                <a:gd name="T71" fmla="*/ 1155 h 1181"/>
                <a:gd name="T72" fmla="*/ 304 w 1136"/>
                <a:gd name="T73" fmla="*/ 1111 h 1181"/>
                <a:gd name="T74" fmla="*/ 210 w 1136"/>
                <a:gd name="T75" fmla="*/ 1048 h 1181"/>
                <a:gd name="T76" fmla="*/ 131 w 1136"/>
                <a:gd name="T77" fmla="*/ 969 h 1181"/>
                <a:gd name="T78" fmla="*/ 68 w 1136"/>
                <a:gd name="T79" fmla="*/ 875 h 1181"/>
                <a:gd name="T80" fmla="*/ 25 w 1136"/>
                <a:gd name="T81" fmla="*/ 769 h 1181"/>
                <a:gd name="T82" fmla="*/ 3 w 1136"/>
                <a:gd name="T83" fmla="*/ 652 h 1181"/>
                <a:gd name="T84" fmla="*/ 858 w 1136"/>
                <a:gd name="T85" fmla="*/ 464 h 1181"/>
                <a:gd name="T86" fmla="*/ 834 w 1136"/>
                <a:gd name="T87" fmla="*/ 385 h 1181"/>
                <a:gd name="T88" fmla="*/ 777 w 1136"/>
                <a:gd name="T89" fmla="*/ 305 h 1181"/>
                <a:gd name="T90" fmla="*/ 697 w 1136"/>
                <a:gd name="T91" fmla="*/ 253 h 1181"/>
                <a:gd name="T92" fmla="*/ 597 w 1136"/>
                <a:gd name="T93" fmla="*/ 232 h 1181"/>
                <a:gd name="T94" fmla="*/ 519 w 1136"/>
                <a:gd name="T95" fmla="*/ 235 h 1181"/>
                <a:gd name="T96" fmla="*/ 425 w 1136"/>
                <a:gd name="T97" fmla="*/ 267 h 1181"/>
                <a:gd name="T98" fmla="*/ 346 w 1136"/>
                <a:gd name="T99" fmla="*/ 327 h 1181"/>
                <a:gd name="T100" fmla="*/ 288 w 1136"/>
                <a:gd name="T101" fmla="*/ 413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  <a:moveTo>
                    <a:pt x="268" y="464"/>
                  </a:moveTo>
                  <a:lnTo>
                    <a:pt x="858" y="464"/>
                  </a:lnTo>
                  <a:lnTo>
                    <a:pt x="858" y="464"/>
                  </a:lnTo>
                  <a:lnTo>
                    <a:pt x="852" y="435"/>
                  </a:lnTo>
                  <a:lnTo>
                    <a:pt x="844" y="410"/>
                  </a:lnTo>
                  <a:lnTo>
                    <a:pt x="834" y="385"/>
                  </a:lnTo>
                  <a:lnTo>
                    <a:pt x="822" y="362"/>
                  </a:lnTo>
                  <a:lnTo>
                    <a:pt x="809" y="341"/>
                  </a:lnTo>
                  <a:lnTo>
                    <a:pt x="794" y="322"/>
                  </a:lnTo>
                  <a:lnTo>
                    <a:pt x="777" y="305"/>
                  </a:lnTo>
                  <a:lnTo>
                    <a:pt x="760" y="289"/>
                  </a:lnTo>
                  <a:lnTo>
                    <a:pt x="740" y="275"/>
                  </a:lnTo>
                  <a:lnTo>
                    <a:pt x="720" y="264"/>
                  </a:lnTo>
                  <a:lnTo>
                    <a:pt x="697" y="253"/>
                  </a:lnTo>
                  <a:lnTo>
                    <a:pt x="674" y="245"/>
                  </a:lnTo>
                  <a:lnTo>
                    <a:pt x="650" y="239"/>
                  </a:lnTo>
                  <a:lnTo>
                    <a:pt x="623" y="234"/>
                  </a:lnTo>
                  <a:lnTo>
                    <a:pt x="597" y="232"/>
                  </a:lnTo>
                  <a:lnTo>
                    <a:pt x="569" y="231"/>
                  </a:lnTo>
                  <a:lnTo>
                    <a:pt x="569" y="231"/>
                  </a:lnTo>
                  <a:lnTo>
                    <a:pt x="544" y="232"/>
                  </a:lnTo>
                  <a:lnTo>
                    <a:pt x="519" y="235"/>
                  </a:lnTo>
                  <a:lnTo>
                    <a:pt x="494" y="240"/>
                  </a:lnTo>
                  <a:lnTo>
                    <a:pt x="471" y="247"/>
                  </a:lnTo>
                  <a:lnTo>
                    <a:pt x="448" y="255"/>
                  </a:lnTo>
                  <a:lnTo>
                    <a:pt x="425" y="267"/>
                  </a:lnTo>
                  <a:lnTo>
                    <a:pt x="404" y="279"/>
                  </a:lnTo>
                  <a:lnTo>
                    <a:pt x="383" y="293"/>
                  </a:lnTo>
                  <a:lnTo>
                    <a:pt x="364" y="310"/>
                  </a:lnTo>
                  <a:lnTo>
                    <a:pt x="346" y="327"/>
                  </a:lnTo>
                  <a:lnTo>
                    <a:pt x="329" y="346"/>
                  </a:lnTo>
                  <a:lnTo>
                    <a:pt x="314" y="367"/>
                  </a:lnTo>
                  <a:lnTo>
                    <a:pt x="300" y="389"/>
                  </a:lnTo>
                  <a:lnTo>
                    <a:pt x="288" y="413"/>
                  </a:lnTo>
                  <a:lnTo>
                    <a:pt x="277" y="437"/>
                  </a:lnTo>
                  <a:lnTo>
                    <a:pt x="268" y="46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503" y="4083"/>
              <a:ext cx="76" cy="79"/>
            </a:xfrm>
            <a:custGeom>
              <a:avLst/>
              <a:gdLst>
                <a:gd name="T0" fmla="*/ 1 w 1136"/>
                <a:gd name="T1" fmla="*/ 559 h 1181"/>
                <a:gd name="T2" fmla="*/ 11 w 1136"/>
                <a:gd name="T3" fmla="*/ 469 h 1181"/>
                <a:gd name="T4" fmla="*/ 34 w 1136"/>
                <a:gd name="T5" fmla="*/ 383 h 1181"/>
                <a:gd name="T6" fmla="*/ 68 w 1136"/>
                <a:gd name="T7" fmla="*/ 305 h 1181"/>
                <a:gd name="T8" fmla="*/ 113 w 1136"/>
                <a:gd name="T9" fmla="*/ 233 h 1181"/>
                <a:gd name="T10" fmla="*/ 168 w 1136"/>
                <a:gd name="T11" fmla="*/ 170 h 1181"/>
                <a:gd name="T12" fmla="*/ 231 w 1136"/>
                <a:gd name="T13" fmla="*/ 114 h 1181"/>
                <a:gd name="T14" fmla="*/ 302 w 1136"/>
                <a:gd name="T15" fmla="*/ 69 h 1181"/>
                <a:gd name="T16" fmla="*/ 381 w 1136"/>
                <a:gd name="T17" fmla="*/ 35 h 1181"/>
                <a:gd name="T18" fmla="*/ 466 w 1136"/>
                <a:gd name="T19" fmla="*/ 11 h 1181"/>
                <a:gd name="T20" fmla="*/ 557 w 1136"/>
                <a:gd name="T21" fmla="*/ 0 h 1181"/>
                <a:gd name="T22" fmla="*/ 617 w 1136"/>
                <a:gd name="T23" fmla="*/ 0 h 1181"/>
                <a:gd name="T24" fmla="*/ 702 w 1136"/>
                <a:gd name="T25" fmla="*/ 10 h 1181"/>
                <a:gd name="T26" fmla="*/ 781 w 1136"/>
                <a:gd name="T27" fmla="*/ 30 h 1181"/>
                <a:gd name="T28" fmla="*/ 853 w 1136"/>
                <a:gd name="T29" fmla="*/ 62 h 1181"/>
                <a:gd name="T30" fmla="*/ 918 w 1136"/>
                <a:gd name="T31" fmla="*/ 105 h 1181"/>
                <a:gd name="T32" fmla="*/ 975 w 1136"/>
                <a:gd name="T33" fmla="*/ 157 h 1181"/>
                <a:gd name="T34" fmla="*/ 1026 w 1136"/>
                <a:gd name="T35" fmla="*/ 220 h 1181"/>
                <a:gd name="T36" fmla="*/ 1067 w 1136"/>
                <a:gd name="T37" fmla="*/ 291 h 1181"/>
                <a:gd name="T38" fmla="*/ 1098 w 1136"/>
                <a:gd name="T39" fmla="*/ 371 h 1181"/>
                <a:gd name="T40" fmla="*/ 1121 w 1136"/>
                <a:gd name="T41" fmla="*/ 460 h 1181"/>
                <a:gd name="T42" fmla="*/ 1134 w 1136"/>
                <a:gd name="T43" fmla="*/ 556 h 1181"/>
                <a:gd name="T44" fmla="*/ 261 w 1136"/>
                <a:gd name="T45" fmla="*/ 658 h 1181"/>
                <a:gd name="T46" fmla="*/ 267 w 1136"/>
                <a:gd name="T47" fmla="*/ 689 h 1181"/>
                <a:gd name="T48" fmla="*/ 281 w 1136"/>
                <a:gd name="T49" fmla="*/ 731 h 1181"/>
                <a:gd name="T50" fmla="*/ 299 w 1136"/>
                <a:gd name="T51" fmla="*/ 770 h 1181"/>
                <a:gd name="T52" fmla="*/ 323 w 1136"/>
                <a:gd name="T53" fmla="*/ 806 h 1181"/>
                <a:gd name="T54" fmla="*/ 350 w 1136"/>
                <a:gd name="T55" fmla="*/ 837 h 1181"/>
                <a:gd name="T56" fmla="*/ 382 w 1136"/>
                <a:gd name="T57" fmla="*/ 865 h 1181"/>
                <a:gd name="T58" fmla="*/ 418 w 1136"/>
                <a:gd name="T59" fmla="*/ 887 h 1181"/>
                <a:gd name="T60" fmla="*/ 457 w 1136"/>
                <a:gd name="T61" fmla="*/ 907 h 1181"/>
                <a:gd name="T62" fmla="*/ 500 w 1136"/>
                <a:gd name="T63" fmla="*/ 920 h 1181"/>
                <a:gd name="T64" fmla="*/ 544 w 1136"/>
                <a:gd name="T65" fmla="*/ 928 h 1181"/>
                <a:gd name="T66" fmla="*/ 593 w 1136"/>
                <a:gd name="T67" fmla="*/ 931 h 1181"/>
                <a:gd name="T68" fmla="*/ 642 w 1136"/>
                <a:gd name="T69" fmla="*/ 928 h 1181"/>
                <a:gd name="T70" fmla="*/ 711 w 1136"/>
                <a:gd name="T71" fmla="*/ 914 h 1181"/>
                <a:gd name="T72" fmla="*/ 771 w 1136"/>
                <a:gd name="T73" fmla="*/ 891 h 1181"/>
                <a:gd name="T74" fmla="*/ 822 w 1136"/>
                <a:gd name="T75" fmla="*/ 861 h 1181"/>
                <a:gd name="T76" fmla="*/ 867 w 1136"/>
                <a:gd name="T77" fmla="*/ 825 h 1181"/>
                <a:gd name="T78" fmla="*/ 1061 w 1136"/>
                <a:gd name="T79" fmla="*/ 982 h 1181"/>
                <a:gd name="T80" fmla="*/ 1020 w 1136"/>
                <a:gd name="T81" fmla="*/ 1024 h 1181"/>
                <a:gd name="T82" fmla="*/ 949 w 1136"/>
                <a:gd name="T83" fmla="*/ 1079 h 1181"/>
                <a:gd name="T84" fmla="*/ 866 w 1136"/>
                <a:gd name="T85" fmla="*/ 1124 h 1181"/>
                <a:gd name="T86" fmla="*/ 770 w 1136"/>
                <a:gd name="T87" fmla="*/ 1157 h 1181"/>
                <a:gd name="T88" fmla="*/ 667 w 1136"/>
                <a:gd name="T89" fmla="*/ 1177 h 1181"/>
                <a:gd name="T90" fmla="*/ 593 w 1136"/>
                <a:gd name="T91" fmla="*/ 1181 h 1181"/>
                <a:gd name="T92" fmla="*/ 499 w 1136"/>
                <a:gd name="T93" fmla="*/ 1174 h 1181"/>
                <a:gd name="T94" fmla="*/ 411 w 1136"/>
                <a:gd name="T95" fmla="*/ 1155 h 1181"/>
                <a:gd name="T96" fmla="*/ 330 w 1136"/>
                <a:gd name="T97" fmla="*/ 1124 h 1181"/>
                <a:gd name="T98" fmla="*/ 255 w 1136"/>
                <a:gd name="T99" fmla="*/ 1082 h 1181"/>
                <a:gd name="T100" fmla="*/ 188 w 1136"/>
                <a:gd name="T101" fmla="*/ 1031 h 1181"/>
                <a:gd name="T102" fmla="*/ 131 w 1136"/>
                <a:gd name="T103" fmla="*/ 969 h 1181"/>
                <a:gd name="T104" fmla="*/ 83 w 1136"/>
                <a:gd name="T105" fmla="*/ 900 h 1181"/>
                <a:gd name="T106" fmla="*/ 45 w 1136"/>
                <a:gd name="T107" fmla="*/ 823 h 1181"/>
                <a:gd name="T108" fmla="*/ 17 w 1136"/>
                <a:gd name="T109" fmla="*/ 740 h 1181"/>
                <a:gd name="T110" fmla="*/ 3 w 1136"/>
                <a:gd name="T111" fmla="*/ 65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/>
            <p:cNvSpPr>
              <a:spLocks/>
            </p:cNvSpPr>
            <p:nvPr userDrawn="1"/>
          </p:nvSpPr>
          <p:spPr bwMode="auto">
            <a:xfrm>
              <a:off x="521" y="4099"/>
              <a:ext cx="39" cy="15"/>
            </a:xfrm>
            <a:custGeom>
              <a:avLst/>
              <a:gdLst>
                <a:gd name="T0" fmla="*/ 0 w 590"/>
                <a:gd name="T1" fmla="*/ 233 h 233"/>
                <a:gd name="T2" fmla="*/ 590 w 590"/>
                <a:gd name="T3" fmla="*/ 233 h 233"/>
                <a:gd name="T4" fmla="*/ 590 w 590"/>
                <a:gd name="T5" fmla="*/ 233 h 233"/>
                <a:gd name="T6" fmla="*/ 584 w 590"/>
                <a:gd name="T7" fmla="*/ 204 h 233"/>
                <a:gd name="T8" fmla="*/ 576 w 590"/>
                <a:gd name="T9" fmla="*/ 179 h 233"/>
                <a:gd name="T10" fmla="*/ 566 w 590"/>
                <a:gd name="T11" fmla="*/ 154 h 233"/>
                <a:gd name="T12" fmla="*/ 554 w 590"/>
                <a:gd name="T13" fmla="*/ 131 h 233"/>
                <a:gd name="T14" fmla="*/ 541 w 590"/>
                <a:gd name="T15" fmla="*/ 110 h 233"/>
                <a:gd name="T16" fmla="*/ 526 w 590"/>
                <a:gd name="T17" fmla="*/ 91 h 233"/>
                <a:gd name="T18" fmla="*/ 509 w 590"/>
                <a:gd name="T19" fmla="*/ 74 h 233"/>
                <a:gd name="T20" fmla="*/ 492 w 590"/>
                <a:gd name="T21" fmla="*/ 58 h 233"/>
                <a:gd name="T22" fmla="*/ 472 w 590"/>
                <a:gd name="T23" fmla="*/ 44 h 233"/>
                <a:gd name="T24" fmla="*/ 452 w 590"/>
                <a:gd name="T25" fmla="*/ 33 h 233"/>
                <a:gd name="T26" fmla="*/ 429 w 590"/>
                <a:gd name="T27" fmla="*/ 22 h 233"/>
                <a:gd name="T28" fmla="*/ 406 w 590"/>
                <a:gd name="T29" fmla="*/ 14 h 233"/>
                <a:gd name="T30" fmla="*/ 382 w 590"/>
                <a:gd name="T31" fmla="*/ 8 h 233"/>
                <a:gd name="T32" fmla="*/ 355 w 590"/>
                <a:gd name="T33" fmla="*/ 3 h 233"/>
                <a:gd name="T34" fmla="*/ 329 w 590"/>
                <a:gd name="T35" fmla="*/ 1 h 233"/>
                <a:gd name="T36" fmla="*/ 301 w 590"/>
                <a:gd name="T37" fmla="*/ 0 h 233"/>
                <a:gd name="T38" fmla="*/ 301 w 590"/>
                <a:gd name="T39" fmla="*/ 0 h 233"/>
                <a:gd name="T40" fmla="*/ 276 w 590"/>
                <a:gd name="T41" fmla="*/ 1 h 233"/>
                <a:gd name="T42" fmla="*/ 251 w 590"/>
                <a:gd name="T43" fmla="*/ 4 h 233"/>
                <a:gd name="T44" fmla="*/ 226 w 590"/>
                <a:gd name="T45" fmla="*/ 9 h 233"/>
                <a:gd name="T46" fmla="*/ 203 w 590"/>
                <a:gd name="T47" fmla="*/ 16 h 233"/>
                <a:gd name="T48" fmla="*/ 180 w 590"/>
                <a:gd name="T49" fmla="*/ 24 h 233"/>
                <a:gd name="T50" fmla="*/ 157 w 590"/>
                <a:gd name="T51" fmla="*/ 36 h 233"/>
                <a:gd name="T52" fmla="*/ 136 w 590"/>
                <a:gd name="T53" fmla="*/ 48 h 233"/>
                <a:gd name="T54" fmla="*/ 115 w 590"/>
                <a:gd name="T55" fmla="*/ 62 h 233"/>
                <a:gd name="T56" fmla="*/ 96 w 590"/>
                <a:gd name="T57" fmla="*/ 79 h 233"/>
                <a:gd name="T58" fmla="*/ 78 w 590"/>
                <a:gd name="T59" fmla="*/ 96 h 233"/>
                <a:gd name="T60" fmla="*/ 61 w 590"/>
                <a:gd name="T61" fmla="*/ 115 h 233"/>
                <a:gd name="T62" fmla="*/ 46 w 590"/>
                <a:gd name="T63" fmla="*/ 136 h 233"/>
                <a:gd name="T64" fmla="*/ 32 w 590"/>
                <a:gd name="T65" fmla="*/ 158 h 233"/>
                <a:gd name="T66" fmla="*/ 20 w 590"/>
                <a:gd name="T67" fmla="*/ 182 h 233"/>
                <a:gd name="T68" fmla="*/ 9 w 590"/>
                <a:gd name="T69" fmla="*/ 206 h 233"/>
                <a:gd name="T70" fmla="*/ 0 w 590"/>
                <a:gd name="T71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90" h="233">
                  <a:moveTo>
                    <a:pt x="0" y="233"/>
                  </a:moveTo>
                  <a:lnTo>
                    <a:pt x="590" y="233"/>
                  </a:lnTo>
                  <a:lnTo>
                    <a:pt x="590" y="233"/>
                  </a:lnTo>
                  <a:lnTo>
                    <a:pt x="584" y="204"/>
                  </a:lnTo>
                  <a:lnTo>
                    <a:pt x="576" y="179"/>
                  </a:lnTo>
                  <a:lnTo>
                    <a:pt x="566" y="154"/>
                  </a:lnTo>
                  <a:lnTo>
                    <a:pt x="554" y="131"/>
                  </a:lnTo>
                  <a:lnTo>
                    <a:pt x="541" y="110"/>
                  </a:lnTo>
                  <a:lnTo>
                    <a:pt x="526" y="91"/>
                  </a:lnTo>
                  <a:lnTo>
                    <a:pt x="509" y="74"/>
                  </a:lnTo>
                  <a:lnTo>
                    <a:pt x="492" y="58"/>
                  </a:lnTo>
                  <a:lnTo>
                    <a:pt x="472" y="44"/>
                  </a:lnTo>
                  <a:lnTo>
                    <a:pt x="452" y="33"/>
                  </a:lnTo>
                  <a:lnTo>
                    <a:pt x="429" y="22"/>
                  </a:lnTo>
                  <a:lnTo>
                    <a:pt x="406" y="14"/>
                  </a:lnTo>
                  <a:lnTo>
                    <a:pt x="382" y="8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276" y="1"/>
                  </a:lnTo>
                  <a:lnTo>
                    <a:pt x="251" y="4"/>
                  </a:lnTo>
                  <a:lnTo>
                    <a:pt x="226" y="9"/>
                  </a:lnTo>
                  <a:lnTo>
                    <a:pt x="203" y="16"/>
                  </a:lnTo>
                  <a:lnTo>
                    <a:pt x="180" y="24"/>
                  </a:lnTo>
                  <a:lnTo>
                    <a:pt x="157" y="36"/>
                  </a:lnTo>
                  <a:lnTo>
                    <a:pt x="136" y="48"/>
                  </a:lnTo>
                  <a:lnTo>
                    <a:pt x="115" y="62"/>
                  </a:lnTo>
                  <a:lnTo>
                    <a:pt x="96" y="79"/>
                  </a:lnTo>
                  <a:lnTo>
                    <a:pt x="78" y="96"/>
                  </a:lnTo>
                  <a:lnTo>
                    <a:pt x="61" y="115"/>
                  </a:lnTo>
                  <a:lnTo>
                    <a:pt x="46" y="136"/>
                  </a:lnTo>
                  <a:lnTo>
                    <a:pt x="32" y="158"/>
                  </a:lnTo>
                  <a:lnTo>
                    <a:pt x="20" y="182"/>
                  </a:lnTo>
                  <a:lnTo>
                    <a:pt x="9" y="206"/>
                  </a:lnTo>
                  <a:lnTo>
                    <a:pt x="0" y="2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/>
            <p:cNvSpPr>
              <a:spLocks/>
            </p:cNvSpPr>
            <p:nvPr userDrawn="1"/>
          </p:nvSpPr>
          <p:spPr bwMode="auto">
            <a:xfrm>
              <a:off x="588" y="4083"/>
              <a:ext cx="66" cy="79"/>
            </a:xfrm>
            <a:custGeom>
              <a:avLst/>
              <a:gdLst>
                <a:gd name="T0" fmla="*/ 720 w 988"/>
                <a:gd name="T1" fmla="*/ 1179 h 1179"/>
                <a:gd name="T2" fmla="*/ 720 w 988"/>
                <a:gd name="T3" fmla="*/ 493 h 1179"/>
                <a:gd name="T4" fmla="*/ 715 w 988"/>
                <a:gd name="T5" fmla="*/ 448 h 1179"/>
                <a:gd name="T6" fmla="*/ 702 w 988"/>
                <a:gd name="T7" fmla="*/ 405 h 1179"/>
                <a:gd name="T8" fmla="*/ 681 w 988"/>
                <a:gd name="T9" fmla="*/ 367 h 1179"/>
                <a:gd name="T10" fmla="*/ 654 w 988"/>
                <a:gd name="T11" fmla="*/ 333 h 1179"/>
                <a:gd name="T12" fmla="*/ 620 w 988"/>
                <a:gd name="T13" fmla="*/ 306 h 1179"/>
                <a:gd name="T14" fmla="*/ 582 w 988"/>
                <a:gd name="T15" fmla="*/ 285 h 1179"/>
                <a:gd name="T16" fmla="*/ 540 w 988"/>
                <a:gd name="T17" fmla="*/ 272 h 1179"/>
                <a:gd name="T18" fmla="*/ 493 w 988"/>
                <a:gd name="T19" fmla="*/ 268 h 1179"/>
                <a:gd name="T20" fmla="*/ 471 w 988"/>
                <a:gd name="T21" fmla="*/ 269 h 1179"/>
                <a:gd name="T22" fmla="*/ 427 w 988"/>
                <a:gd name="T23" fmla="*/ 278 h 1179"/>
                <a:gd name="T24" fmla="*/ 386 w 988"/>
                <a:gd name="T25" fmla="*/ 294 h 1179"/>
                <a:gd name="T26" fmla="*/ 350 w 988"/>
                <a:gd name="T27" fmla="*/ 319 h 1179"/>
                <a:gd name="T28" fmla="*/ 319 w 988"/>
                <a:gd name="T29" fmla="*/ 350 h 1179"/>
                <a:gd name="T30" fmla="*/ 295 w 988"/>
                <a:gd name="T31" fmla="*/ 385 h 1179"/>
                <a:gd name="T32" fmla="*/ 278 w 988"/>
                <a:gd name="T33" fmla="*/ 425 h 1179"/>
                <a:gd name="T34" fmla="*/ 269 w 988"/>
                <a:gd name="T35" fmla="*/ 469 h 1179"/>
                <a:gd name="T36" fmla="*/ 268 w 988"/>
                <a:gd name="T37" fmla="*/ 1179 h 1179"/>
                <a:gd name="T38" fmla="*/ 0 w 988"/>
                <a:gd name="T39" fmla="*/ 493 h 1179"/>
                <a:gd name="T40" fmla="*/ 0 w 988"/>
                <a:gd name="T41" fmla="*/ 467 h 1179"/>
                <a:gd name="T42" fmla="*/ 5 w 988"/>
                <a:gd name="T43" fmla="*/ 418 h 1179"/>
                <a:gd name="T44" fmla="*/ 15 w 988"/>
                <a:gd name="T45" fmla="*/ 370 h 1179"/>
                <a:gd name="T46" fmla="*/ 30 w 988"/>
                <a:gd name="T47" fmla="*/ 323 h 1179"/>
                <a:gd name="T48" fmla="*/ 48 w 988"/>
                <a:gd name="T49" fmla="*/ 279 h 1179"/>
                <a:gd name="T50" fmla="*/ 71 w 988"/>
                <a:gd name="T51" fmla="*/ 237 h 1179"/>
                <a:gd name="T52" fmla="*/ 97 w 988"/>
                <a:gd name="T53" fmla="*/ 198 h 1179"/>
                <a:gd name="T54" fmla="*/ 128 w 988"/>
                <a:gd name="T55" fmla="*/ 161 h 1179"/>
                <a:gd name="T56" fmla="*/ 162 w 988"/>
                <a:gd name="T57" fmla="*/ 129 h 1179"/>
                <a:gd name="T58" fmla="*/ 198 w 988"/>
                <a:gd name="T59" fmla="*/ 98 h 1179"/>
                <a:gd name="T60" fmla="*/ 238 w 988"/>
                <a:gd name="T61" fmla="*/ 71 h 1179"/>
                <a:gd name="T62" fmla="*/ 280 w 988"/>
                <a:gd name="T63" fmla="*/ 49 h 1179"/>
                <a:gd name="T64" fmla="*/ 324 w 988"/>
                <a:gd name="T65" fmla="*/ 30 h 1179"/>
                <a:gd name="T66" fmla="*/ 370 w 988"/>
                <a:gd name="T67" fmla="*/ 15 h 1179"/>
                <a:gd name="T68" fmla="*/ 419 w 988"/>
                <a:gd name="T69" fmla="*/ 6 h 1179"/>
                <a:gd name="T70" fmla="*/ 469 w 988"/>
                <a:gd name="T71" fmla="*/ 1 h 1179"/>
                <a:gd name="T72" fmla="*/ 493 w 988"/>
                <a:gd name="T73" fmla="*/ 0 h 1179"/>
                <a:gd name="T74" fmla="*/ 544 w 988"/>
                <a:gd name="T75" fmla="*/ 3 h 1179"/>
                <a:gd name="T76" fmla="*/ 593 w 988"/>
                <a:gd name="T77" fmla="*/ 10 h 1179"/>
                <a:gd name="T78" fmla="*/ 640 w 988"/>
                <a:gd name="T79" fmla="*/ 22 h 1179"/>
                <a:gd name="T80" fmla="*/ 686 w 988"/>
                <a:gd name="T81" fmla="*/ 39 h 1179"/>
                <a:gd name="T82" fmla="*/ 729 w 988"/>
                <a:gd name="T83" fmla="*/ 59 h 1179"/>
                <a:gd name="T84" fmla="*/ 769 w 988"/>
                <a:gd name="T85" fmla="*/ 85 h 1179"/>
                <a:gd name="T86" fmla="*/ 807 w 988"/>
                <a:gd name="T87" fmla="*/ 112 h 1179"/>
                <a:gd name="T88" fmla="*/ 843 w 988"/>
                <a:gd name="T89" fmla="*/ 145 h 1179"/>
                <a:gd name="T90" fmla="*/ 875 w 988"/>
                <a:gd name="T91" fmla="*/ 180 h 1179"/>
                <a:gd name="T92" fmla="*/ 904 w 988"/>
                <a:gd name="T93" fmla="*/ 218 h 1179"/>
                <a:gd name="T94" fmla="*/ 928 w 988"/>
                <a:gd name="T95" fmla="*/ 258 h 1179"/>
                <a:gd name="T96" fmla="*/ 949 w 988"/>
                <a:gd name="T97" fmla="*/ 301 h 1179"/>
                <a:gd name="T98" fmla="*/ 965 w 988"/>
                <a:gd name="T99" fmla="*/ 346 h 1179"/>
                <a:gd name="T100" fmla="*/ 978 w 988"/>
                <a:gd name="T101" fmla="*/ 393 h 1179"/>
                <a:gd name="T102" fmla="*/ 985 w 988"/>
                <a:gd name="T103" fmla="*/ 443 h 1179"/>
                <a:gd name="T104" fmla="*/ 988 w 988"/>
                <a:gd name="T105" fmla="*/ 493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88" h="1179">
                  <a:moveTo>
                    <a:pt x="988" y="1179"/>
                  </a:moveTo>
                  <a:lnTo>
                    <a:pt x="720" y="1179"/>
                  </a:lnTo>
                  <a:lnTo>
                    <a:pt x="720" y="493"/>
                  </a:lnTo>
                  <a:lnTo>
                    <a:pt x="720" y="493"/>
                  </a:lnTo>
                  <a:lnTo>
                    <a:pt x="718" y="469"/>
                  </a:lnTo>
                  <a:lnTo>
                    <a:pt x="715" y="448"/>
                  </a:lnTo>
                  <a:lnTo>
                    <a:pt x="710" y="425"/>
                  </a:lnTo>
                  <a:lnTo>
                    <a:pt x="702" y="405"/>
                  </a:lnTo>
                  <a:lnTo>
                    <a:pt x="692" y="385"/>
                  </a:lnTo>
                  <a:lnTo>
                    <a:pt x="681" y="367"/>
                  </a:lnTo>
                  <a:lnTo>
                    <a:pt x="668" y="350"/>
                  </a:lnTo>
                  <a:lnTo>
                    <a:pt x="654" y="333"/>
                  </a:lnTo>
                  <a:lnTo>
                    <a:pt x="637" y="319"/>
                  </a:lnTo>
                  <a:lnTo>
                    <a:pt x="620" y="306"/>
                  </a:lnTo>
                  <a:lnTo>
                    <a:pt x="601" y="294"/>
                  </a:lnTo>
                  <a:lnTo>
                    <a:pt x="582" y="285"/>
                  </a:lnTo>
                  <a:lnTo>
                    <a:pt x="561" y="278"/>
                  </a:lnTo>
                  <a:lnTo>
                    <a:pt x="540" y="272"/>
                  </a:lnTo>
                  <a:lnTo>
                    <a:pt x="517" y="269"/>
                  </a:lnTo>
                  <a:lnTo>
                    <a:pt x="493" y="268"/>
                  </a:lnTo>
                  <a:lnTo>
                    <a:pt x="493" y="268"/>
                  </a:lnTo>
                  <a:lnTo>
                    <a:pt x="471" y="269"/>
                  </a:lnTo>
                  <a:lnTo>
                    <a:pt x="448" y="272"/>
                  </a:lnTo>
                  <a:lnTo>
                    <a:pt x="427" y="278"/>
                  </a:lnTo>
                  <a:lnTo>
                    <a:pt x="406" y="285"/>
                  </a:lnTo>
                  <a:lnTo>
                    <a:pt x="386" y="294"/>
                  </a:lnTo>
                  <a:lnTo>
                    <a:pt x="367" y="306"/>
                  </a:lnTo>
                  <a:lnTo>
                    <a:pt x="350" y="319"/>
                  </a:lnTo>
                  <a:lnTo>
                    <a:pt x="334" y="333"/>
                  </a:lnTo>
                  <a:lnTo>
                    <a:pt x="319" y="350"/>
                  </a:lnTo>
                  <a:lnTo>
                    <a:pt x="307" y="367"/>
                  </a:lnTo>
                  <a:lnTo>
                    <a:pt x="295" y="385"/>
                  </a:lnTo>
                  <a:lnTo>
                    <a:pt x="285" y="405"/>
                  </a:lnTo>
                  <a:lnTo>
                    <a:pt x="278" y="425"/>
                  </a:lnTo>
                  <a:lnTo>
                    <a:pt x="273" y="448"/>
                  </a:lnTo>
                  <a:lnTo>
                    <a:pt x="269" y="469"/>
                  </a:lnTo>
                  <a:lnTo>
                    <a:pt x="268" y="493"/>
                  </a:lnTo>
                  <a:lnTo>
                    <a:pt x="268" y="1179"/>
                  </a:lnTo>
                  <a:lnTo>
                    <a:pt x="0" y="1179"/>
                  </a:lnTo>
                  <a:lnTo>
                    <a:pt x="0" y="493"/>
                  </a:lnTo>
                  <a:lnTo>
                    <a:pt x="0" y="493"/>
                  </a:lnTo>
                  <a:lnTo>
                    <a:pt x="0" y="467"/>
                  </a:lnTo>
                  <a:lnTo>
                    <a:pt x="2" y="443"/>
                  </a:lnTo>
                  <a:lnTo>
                    <a:pt x="5" y="418"/>
                  </a:lnTo>
                  <a:lnTo>
                    <a:pt x="9" y="393"/>
                  </a:lnTo>
                  <a:lnTo>
                    <a:pt x="15" y="370"/>
                  </a:lnTo>
                  <a:lnTo>
                    <a:pt x="21" y="346"/>
                  </a:lnTo>
                  <a:lnTo>
                    <a:pt x="30" y="323"/>
                  </a:lnTo>
                  <a:lnTo>
                    <a:pt x="39" y="301"/>
                  </a:lnTo>
                  <a:lnTo>
                    <a:pt x="48" y="279"/>
                  </a:lnTo>
                  <a:lnTo>
                    <a:pt x="59" y="258"/>
                  </a:lnTo>
                  <a:lnTo>
                    <a:pt x="71" y="237"/>
                  </a:lnTo>
                  <a:lnTo>
                    <a:pt x="84" y="218"/>
                  </a:lnTo>
                  <a:lnTo>
                    <a:pt x="97" y="198"/>
                  </a:lnTo>
                  <a:lnTo>
                    <a:pt x="113" y="180"/>
                  </a:lnTo>
                  <a:lnTo>
                    <a:pt x="128" y="161"/>
                  </a:lnTo>
                  <a:lnTo>
                    <a:pt x="145" y="145"/>
                  </a:lnTo>
                  <a:lnTo>
                    <a:pt x="162" y="129"/>
                  </a:lnTo>
                  <a:lnTo>
                    <a:pt x="179" y="112"/>
                  </a:lnTo>
                  <a:lnTo>
                    <a:pt x="198" y="98"/>
                  </a:lnTo>
                  <a:lnTo>
                    <a:pt x="217" y="85"/>
                  </a:lnTo>
                  <a:lnTo>
                    <a:pt x="238" y="71"/>
                  </a:lnTo>
                  <a:lnTo>
                    <a:pt x="258" y="59"/>
                  </a:lnTo>
                  <a:lnTo>
                    <a:pt x="280" y="49"/>
                  </a:lnTo>
                  <a:lnTo>
                    <a:pt x="302" y="39"/>
                  </a:lnTo>
                  <a:lnTo>
                    <a:pt x="324" y="30"/>
                  </a:lnTo>
                  <a:lnTo>
                    <a:pt x="347" y="22"/>
                  </a:lnTo>
                  <a:lnTo>
                    <a:pt x="370" y="15"/>
                  </a:lnTo>
                  <a:lnTo>
                    <a:pt x="394" y="10"/>
                  </a:lnTo>
                  <a:lnTo>
                    <a:pt x="419" y="6"/>
                  </a:lnTo>
                  <a:lnTo>
                    <a:pt x="443" y="3"/>
                  </a:lnTo>
                  <a:lnTo>
                    <a:pt x="469" y="1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519" y="1"/>
                  </a:lnTo>
                  <a:lnTo>
                    <a:pt x="544" y="3"/>
                  </a:lnTo>
                  <a:lnTo>
                    <a:pt x="569" y="6"/>
                  </a:lnTo>
                  <a:lnTo>
                    <a:pt x="593" y="10"/>
                  </a:lnTo>
                  <a:lnTo>
                    <a:pt x="618" y="15"/>
                  </a:lnTo>
                  <a:lnTo>
                    <a:pt x="640" y="22"/>
                  </a:lnTo>
                  <a:lnTo>
                    <a:pt x="664" y="30"/>
                  </a:lnTo>
                  <a:lnTo>
                    <a:pt x="686" y="39"/>
                  </a:lnTo>
                  <a:lnTo>
                    <a:pt x="708" y="49"/>
                  </a:lnTo>
                  <a:lnTo>
                    <a:pt x="729" y="59"/>
                  </a:lnTo>
                  <a:lnTo>
                    <a:pt x="750" y="71"/>
                  </a:lnTo>
                  <a:lnTo>
                    <a:pt x="769" y="85"/>
                  </a:lnTo>
                  <a:lnTo>
                    <a:pt x="789" y="98"/>
                  </a:lnTo>
                  <a:lnTo>
                    <a:pt x="807" y="112"/>
                  </a:lnTo>
                  <a:lnTo>
                    <a:pt x="826" y="129"/>
                  </a:lnTo>
                  <a:lnTo>
                    <a:pt x="843" y="145"/>
                  </a:lnTo>
                  <a:lnTo>
                    <a:pt x="860" y="161"/>
                  </a:lnTo>
                  <a:lnTo>
                    <a:pt x="875" y="180"/>
                  </a:lnTo>
                  <a:lnTo>
                    <a:pt x="889" y="198"/>
                  </a:lnTo>
                  <a:lnTo>
                    <a:pt x="904" y="218"/>
                  </a:lnTo>
                  <a:lnTo>
                    <a:pt x="916" y="237"/>
                  </a:lnTo>
                  <a:lnTo>
                    <a:pt x="928" y="258"/>
                  </a:lnTo>
                  <a:lnTo>
                    <a:pt x="939" y="279"/>
                  </a:lnTo>
                  <a:lnTo>
                    <a:pt x="949" y="301"/>
                  </a:lnTo>
                  <a:lnTo>
                    <a:pt x="958" y="323"/>
                  </a:lnTo>
                  <a:lnTo>
                    <a:pt x="965" y="346"/>
                  </a:lnTo>
                  <a:lnTo>
                    <a:pt x="973" y="370"/>
                  </a:lnTo>
                  <a:lnTo>
                    <a:pt x="978" y="393"/>
                  </a:lnTo>
                  <a:lnTo>
                    <a:pt x="982" y="418"/>
                  </a:lnTo>
                  <a:lnTo>
                    <a:pt x="985" y="443"/>
                  </a:lnTo>
                  <a:lnTo>
                    <a:pt x="987" y="467"/>
                  </a:lnTo>
                  <a:lnTo>
                    <a:pt x="988" y="493"/>
                  </a:lnTo>
                  <a:lnTo>
                    <a:pt x="988" y="117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/>
            <p:cNvSpPr>
              <a:spLocks/>
            </p:cNvSpPr>
            <p:nvPr userDrawn="1"/>
          </p:nvSpPr>
          <p:spPr bwMode="auto">
            <a:xfrm>
              <a:off x="366" y="4083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03323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 with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182337" y="5309722"/>
            <a:ext cx="11827325" cy="1418431"/>
            <a:chOff x="182336" y="7877294"/>
            <a:chExt cx="11827325" cy="1418431"/>
          </a:xfrm>
        </p:grpSpPr>
        <p:sp>
          <p:nvSpPr>
            <p:cNvPr id="6" name="Oval 5"/>
            <p:cNvSpPr/>
            <p:nvPr/>
          </p:nvSpPr>
          <p:spPr>
            <a:xfrm rot="5400000">
              <a:off x="182336" y="787729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/>
            <p:cNvSpPr/>
            <p:nvPr/>
          </p:nvSpPr>
          <p:spPr>
            <a:xfrm rot="5400000">
              <a:off x="182336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/>
            <p:cNvSpPr/>
            <p:nvPr/>
          </p:nvSpPr>
          <p:spPr>
            <a:xfrm rot="5400000">
              <a:off x="18233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 rot="5400000">
              <a:off x="483961" y="817495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 rot="5400000">
              <a:off x="483961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 rot="5400000">
              <a:off x="48396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 rot="5400000">
              <a:off x="77860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/>
            <p:cNvSpPr/>
            <p:nvPr/>
          </p:nvSpPr>
          <p:spPr>
            <a:xfrm rot="5400000">
              <a:off x="13709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/>
            <p:cNvSpPr/>
            <p:nvPr/>
          </p:nvSpPr>
          <p:spPr>
            <a:xfrm rot="5400000">
              <a:off x="16693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/>
          </p:nvSpPr>
          <p:spPr>
            <a:xfrm rot="5400000">
              <a:off x="226694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/>
            <p:cNvSpPr/>
            <p:nvPr/>
          </p:nvSpPr>
          <p:spPr>
            <a:xfrm rot="5400000">
              <a:off x="256538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/>
            <p:cNvSpPr/>
            <p:nvPr/>
          </p:nvSpPr>
          <p:spPr>
            <a:xfrm rot="5400000">
              <a:off x="256538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/>
            <p:cNvSpPr/>
            <p:nvPr/>
          </p:nvSpPr>
          <p:spPr>
            <a:xfrm rot="5400000">
              <a:off x="285983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/>
            <p:cNvSpPr/>
            <p:nvPr/>
          </p:nvSpPr>
          <p:spPr>
            <a:xfrm rot="5400000">
              <a:off x="285983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/>
            <p:cNvSpPr/>
            <p:nvPr/>
          </p:nvSpPr>
          <p:spPr>
            <a:xfrm rot="5400000">
              <a:off x="316365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/>
            <p:nvPr/>
          </p:nvSpPr>
          <p:spPr>
            <a:xfrm rot="5400000">
              <a:off x="316365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/>
            <p:cNvSpPr/>
            <p:nvPr/>
          </p:nvSpPr>
          <p:spPr>
            <a:xfrm rot="5400000">
              <a:off x="346092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/>
            <p:cNvSpPr/>
            <p:nvPr/>
          </p:nvSpPr>
          <p:spPr>
            <a:xfrm rot="5400000">
              <a:off x="374899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/>
            <p:cNvSpPr/>
            <p:nvPr/>
          </p:nvSpPr>
          <p:spPr>
            <a:xfrm rot="5400000">
              <a:off x="374899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/>
            <p:cNvSpPr/>
            <p:nvPr/>
          </p:nvSpPr>
          <p:spPr>
            <a:xfrm rot="5400000">
              <a:off x="404811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/>
            <p:cNvSpPr/>
            <p:nvPr/>
          </p:nvSpPr>
          <p:spPr>
            <a:xfrm rot="5400000">
              <a:off x="404811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 rot="5400000">
              <a:off x="434656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 rot="5400000">
              <a:off x="434656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 rot="5400000">
              <a:off x="464100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/>
            <p:cNvSpPr/>
            <p:nvPr/>
          </p:nvSpPr>
          <p:spPr>
            <a:xfrm rot="5400000">
              <a:off x="494482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 rot="5400000">
              <a:off x="494482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 rot="5400000">
              <a:off x="524209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 rot="5400000">
              <a:off x="553538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/>
            <p:cNvSpPr/>
            <p:nvPr/>
          </p:nvSpPr>
          <p:spPr>
            <a:xfrm rot="5400000">
              <a:off x="553538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 rot="5400000">
              <a:off x="583701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/>
            <p:cNvSpPr/>
            <p:nvPr/>
          </p:nvSpPr>
          <p:spPr>
            <a:xfrm rot="5400000">
              <a:off x="583701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/>
            <p:cNvSpPr/>
            <p:nvPr/>
          </p:nvSpPr>
          <p:spPr>
            <a:xfrm rot="5400000">
              <a:off x="613165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 rot="5400000">
              <a:off x="613165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/>
            <p:cNvSpPr/>
            <p:nvPr/>
          </p:nvSpPr>
          <p:spPr>
            <a:xfrm rot="5400000">
              <a:off x="6428922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 rot="5400000">
              <a:off x="67239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/>
            <p:cNvSpPr/>
            <p:nvPr/>
          </p:nvSpPr>
          <p:spPr>
            <a:xfrm rot="5400000">
              <a:off x="672397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Oval 49"/>
            <p:cNvSpPr/>
            <p:nvPr/>
          </p:nvSpPr>
          <p:spPr>
            <a:xfrm rot="5400000">
              <a:off x="70224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/>
            <p:cNvSpPr/>
            <p:nvPr/>
          </p:nvSpPr>
          <p:spPr>
            <a:xfrm rot="5400000">
              <a:off x="702242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/>
            <p:cNvSpPr/>
            <p:nvPr/>
          </p:nvSpPr>
          <p:spPr>
            <a:xfrm rot="5400000">
              <a:off x="732086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/>
            <p:cNvSpPr/>
            <p:nvPr/>
          </p:nvSpPr>
          <p:spPr>
            <a:xfrm rot="5400000">
              <a:off x="761999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/>
            <p:cNvSpPr/>
            <p:nvPr/>
          </p:nvSpPr>
          <p:spPr>
            <a:xfrm rot="5400000">
              <a:off x="761999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/>
            <p:cNvSpPr/>
            <p:nvPr/>
          </p:nvSpPr>
          <p:spPr>
            <a:xfrm rot="5400000">
              <a:off x="791843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/>
            <p:cNvSpPr/>
            <p:nvPr/>
          </p:nvSpPr>
          <p:spPr>
            <a:xfrm rot="5400000">
              <a:off x="791843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/>
            <p:cNvSpPr/>
            <p:nvPr/>
          </p:nvSpPr>
          <p:spPr>
            <a:xfrm rot="5400000">
              <a:off x="821288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/>
            <p:cNvSpPr/>
            <p:nvPr/>
          </p:nvSpPr>
          <p:spPr>
            <a:xfrm rot="5400000">
              <a:off x="821288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Oval 58"/>
            <p:cNvSpPr/>
            <p:nvPr/>
          </p:nvSpPr>
          <p:spPr>
            <a:xfrm rot="5400000">
              <a:off x="851670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/>
            <p:cNvSpPr/>
            <p:nvPr/>
          </p:nvSpPr>
          <p:spPr>
            <a:xfrm rot="5400000">
              <a:off x="851670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 rot="5400000">
              <a:off x="881397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/>
          </p:nvSpPr>
          <p:spPr>
            <a:xfrm rot="5400000">
              <a:off x="910204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Oval 62"/>
            <p:cNvSpPr/>
            <p:nvPr/>
          </p:nvSpPr>
          <p:spPr>
            <a:xfrm rot="5400000">
              <a:off x="910204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Oval 63"/>
            <p:cNvSpPr/>
            <p:nvPr/>
          </p:nvSpPr>
          <p:spPr>
            <a:xfrm rot="5400000">
              <a:off x="940116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Oval 64"/>
            <p:cNvSpPr/>
            <p:nvPr/>
          </p:nvSpPr>
          <p:spPr>
            <a:xfrm rot="5400000">
              <a:off x="940116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Oval 65"/>
            <p:cNvSpPr/>
            <p:nvPr/>
          </p:nvSpPr>
          <p:spPr>
            <a:xfrm rot="5400000">
              <a:off x="969961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/>
          </p:nvSpPr>
          <p:spPr>
            <a:xfrm rot="5400000">
              <a:off x="969961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67"/>
            <p:cNvSpPr/>
            <p:nvPr/>
          </p:nvSpPr>
          <p:spPr>
            <a:xfrm rot="5400000">
              <a:off x="999405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/>
            <p:cNvSpPr/>
            <p:nvPr/>
          </p:nvSpPr>
          <p:spPr>
            <a:xfrm rot="5400000">
              <a:off x="1029787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/>
            <p:cNvSpPr/>
            <p:nvPr/>
          </p:nvSpPr>
          <p:spPr>
            <a:xfrm rot="5400000">
              <a:off x="1029787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70"/>
            <p:cNvSpPr/>
            <p:nvPr/>
          </p:nvSpPr>
          <p:spPr>
            <a:xfrm rot="5400000">
              <a:off x="1059514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/>
            <p:cNvSpPr/>
            <p:nvPr/>
          </p:nvSpPr>
          <p:spPr>
            <a:xfrm rot="5400000">
              <a:off x="10888318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/>
            <p:cNvSpPr/>
            <p:nvPr/>
          </p:nvSpPr>
          <p:spPr>
            <a:xfrm rot="5400000">
              <a:off x="1118994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Oval 75"/>
            <p:cNvSpPr/>
            <p:nvPr/>
          </p:nvSpPr>
          <p:spPr>
            <a:xfrm rot="5400000">
              <a:off x="11484583" y="787729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Oval 76"/>
            <p:cNvSpPr/>
            <p:nvPr userDrawn="1"/>
          </p:nvSpPr>
          <p:spPr>
            <a:xfrm rot="5400000">
              <a:off x="11484583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/>
            <p:cNvSpPr/>
            <p:nvPr/>
          </p:nvSpPr>
          <p:spPr>
            <a:xfrm rot="5400000">
              <a:off x="1148458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/>
            <p:cNvSpPr/>
            <p:nvPr/>
          </p:nvSpPr>
          <p:spPr>
            <a:xfrm rot="5400000">
              <a:off x="11781854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1" name="Rectangle 80"/>
          <p:cNvSpPr/>
          <p:nvPr/>
        </p:nvSpPr>
        <p:spPr>
          <a:xfrm>
            <a:off x="4621527" y="800100"/>
            <a:ext cx="2948946" cy="525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/>
        </p:nvSpPr>
        <p:spPr>
          <a:xfrm>
            <a:off x="773726" y="800100"/>
            <a:ext cx="2948946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8486060" y="800100"/>
            <a:ext cx="2948946" cy="5257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Picture Placeholder 94"/>
          <p:cNvSpPr>
            <a:spLocks noGrp="1"/>
          </p:cNvSpPr>
          <p:nvPr>
            <p:ph type="pic" sz="quarter" idx="10"/>
          </p:nvPr>
        </p:nvSpPr>
        <p:spPr>
          <a:xfrm>
            <a:off x="871538" y="1897062"/>
            <a:ext cx="2754312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9" name="Text Placeholder 97"/>
          <p:cNvSpPr>
            <a:spLocks noGrp="1"/>
          </p:cNvSpPr>
          <p:nvPr>
            <p:ph type="body" sz="quarter" idx="11"/>
          </p:nvPr>
        </p:nvSpPr>
        <p:spPr>
          <a:xfrm>
            <a:off x="871538" y="982663"/>
            <a:ext cx="2754312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1" name="Text Placeholder 97"/>
          <p:cNvSpPr>
            <a:spLocks noGrp="1"/>
          </p:cNvSpPr>
          <p:nvPr>
            <p:ph type="body" sz="quarter" idx="12"/>
          </p:nvPr>
        </p:nvSpPr>
        <p:spPr>
          <a:xfrm>
            <a:off x="871538" y="5162550"/>
            <a:ext cx="2754312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2" name="Picture Placeholder 94"/>
          <p:cNvSpPr>
            <a:spLocks noGrp="1"/>
          </p:cNvSpPr>
          <p:nvPr>
            <p:ph type="pic" sz="quarter" idx="13"/>
          </p:nvPr>
        </p:nvSpPr>
        <p:spPr>
          <a:xfrm>
            <a:off x="4718844" y="1897062"/>
            <a:ext cx="2754312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3" name="Text Placeholder 97"/>
          <p:cNvSpPr>
            <a:spLocks noGrp="1"/>
          </p:cNvSpPr>
          <p:nvPr>
            <p:ph type="body" sz="quarter" idx="14"/>
          </p:nvPr>
        </p:nvSpPr>
        <p:spPr>
          <a:xfrm>
            <a:off x="4718844" y="982663"/>
            <a:ext cx="2754312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4" name="Text Placeholder 97"/>
          <p:cNvSpPr>
            <a:spLocks noGrp="1"/>
          </p:cNvSpPr>
          <p:nvPr>
            <p:ph type="body" sz="quarter" idx="15"/>
          </p:nvPr>
        </p:nvSpPr>
        <p:spPr>
          <a:xfrm>
            <a:off x="4718844" y="5162550"/>
            <a:ext cx="2754312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5" name="Picture Placeholder 94"/>
          <p:cNvSpPr>
            <a:spLocks noGrp="1"/>
          </p:cNvSpPr>
          <p:nvPr>
            <p:ph type="pic" sz="quarter" idx="16"/>
          </p:nvPr>
        </p:nvSpPr>
        <p:spPr>
          <a:xfrm>
            <a:off x="8588326" y="1897062"/>
            <a:ext cx="2754312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6" name="Text Placeholder 97"/>
          <p:cNvSpPr>
            <a:spLocks noGrp="1"/>
          </p:cNvSpPr>
          <p:nvPr>
            <p:ph type="body" sz="quarter" idx="17"/>
          </p:nvPr>
        </p:nvSpPr>
        <p:spPr>
          <a:xfrm>
            <a:off x="8588326" y="982663"/>
            <a:ext cx="2754312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7" name="Text Placeholder 97"/>
          <p:cNvSpPr>
            <a:spLocks noGrp="1"/>
          </p:cNvSpPr>
          <p:nvPr>
            <p:ph type="body" sz="quarter" idx="18"/>
          </p:nvPr>
        </p:nvSpPr>
        <p:spPr>
          <a:xfrm>
            <a:off x="8588326" y="5162550"/>
            <a:ext cx="2754312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92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93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56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6131311" y="1028737"/>
            <a:ext cx="5491988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6288022" y="1141545"/>
            <a:ext cx="514325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1" y="1028737"/>
            <a:ext cx="5491988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1141545"/>
            <a:ext cx="514325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3859309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 with inf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182338" y="5291600"/>
            <a:ext cx="11827325" cy="1418431"/>
            <a:chOff x="182336" y="7877294"/>
            <a:chExt cx="11827325" cy="1418431"/>
          </a:xfrm>
        </p:grpSpPr>
        <p:sp>
          <p:nvSpPr>
            <p:cNvPr id="6" name="Oval 5"/>
            <p:cNvSpPr/>
            <p:nvPr/>
          </p:nvSpPr>
          <p:spPr>
            <a:xfrm rot="5400000">
              <a:off x="182336" y="787729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Oval 6"/>
            <p:cNvSpPr/>
            <p:nvPr/>
          </p:nvSpPr>
          <p:spPr>
            <a:xfrm rot="5400000">
              <a:off x="182336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Oval 7"/>
            <p:cNvSpPr/>
            <p:nvPr/>
          </p:nvSpPr>
          <p:spPr>
            <a:xfrm rot="5400000">
              <a:off x="18233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 rot="5400000">
              <a:off x="483961" y="8174950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Oval 10"/>
            <p:cNvSpPr/>
            <p:nvPr/>
          </p:nvSpPr>
          <p:spPr>
            <a:xfrm rot="5400000">
              <a:off x="483961" y="847260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 rot="5400000">
              <a:off x="48396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Oval 13"/>
            <p:cNvSpPr/>
            <p:nvPr/>
          </p:nvSpPr>
          <p:spPr>
            <a:xfrm rot="5400000">
              <a:off x="77860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/>
            <p:cNvSpPr/>
            <p:nvPr/>
          </p:nvSpPr>
          <p:spPr>
            <a:xfrm rot="5400000">
              <a:off x="13709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Oval 18"/>
            <p:cNvSpPr/>
            <p:nvPr/>
          </p:nvSpPr>
          <p:spPr>
            <a:xfrm rot="5400000">
              <a:off x="16693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/>
            <p:cNvSpPr/>
            <p:nvPr/>
          </p:nvSpPr>
          <p:spPr>
            <a:xfrm rot="5400000">
              <a:off x="226694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/>
            <p:cNvSpPr/>
            <p:nvPr/>
          </p:nvSpPr>
          <p:spPr>
            <a:xfrm rot="5400000">
              <a:off x="256538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/>
            <p:cNvSpPr/>
            <p:nvPr/>
          </p:nvSpPr>
          <p:spPr>
            <a:xfrm rot="5400000">
              <a:off x="256538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Oval 25"/>
            <p:cNvSpPr/>
            <p:nvPr/>
          </p:nvSpPr>
          <p:spPr>
            <a:xfrm rot="5400000">
              <a:off x="285983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/>
            <p:cNvSpPr/>
            <p:nvPr/>
          </p:nvSpPr>
          <p:spPr>
            <a:xfrm rot="5400000">
              <a:off x="285983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Oval 27"/>
            <p:cNvSpPr/>
            <p:nvPr/>
          </p:nvSpPr>
          <p:spPr>
            <a:xfrm rot="5400000">
              <a:off x="316365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Oval 28"/>
            <p:cNvSpPr/>
            <p:nvPr/>
          </p:nvSpPr>
          <p:spPr>
            <a:xfrm rot="5400000">
              <a:off x="316365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Oval 29"/>
            <p:cNvSpPr/>
            <p:nvPr/>
          </p:nvSpPr>
          <p:spPr>
            <a:xfrm rot="5400000">
              <a:off x="346092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Oval 30"/>
            <p:cNvSpPr/>
            <p:nvPr/>
          </p:nvSpPr>
          <p:spPr>
            <a:xfrm rot="5400000">
              <a:off x="374899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/>
            <p:cNvSpPr/>
            <p:nvPr/>
          </p:nvSpPr>
          <p:spPr>
            <a:xfrm rot="5400000">
              <a:off x="374899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/>
            <p:cNvSpPr/>
            <p:nvPr/>
          </p:nvSpPr>
          <p:spPr>
            <a:xfrm rot="5400000">
              <a:off x="404811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/>
            <p:cNvSpPr/>
            <p:nvPr/>
          </p:nvSpPr>
          <p:spPr>
            <a:xfrm rot="5400000">
              <a:off x="404811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 rot="5400000">
              <a:off x="434656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 rot="5400000">
              <a:off x="434656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Oval 36"/>
            <p:cNvSpPr/>
            <p:nvPr/>
          </p:nvSpPr>
          <p:spPr>
            <a:xfrm rot="5400000">
              <a:off x="464100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Oval 37"/>
            <p:cNvSpPr/>
            <p:nvPr/>
          </p:nvSpPr>
          <p:spPr>
            <a:xfrm rot="5400000">
              <a:off x="494482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Oval 38"/>
            <p:cNvSpPr/>
            <p:nvPr/>
          </p:nvSpPr>
          <p:spPr>
            <a:xfrm rot="5400000">
              <a:off x="494482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Oval 39"/>
            <p:cNvSpPr/>
            <p:nvPr/>
          </p:nvSpPr>
          <p:spPr>
            <a:xfrm rot="5400000">
              <a:off x="524209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Oval 40"/>
            <p:cNvSpPr/>
            <p:nvPr/>
          </p:nvSpPr>
          <p:spPr>
            <a:xfrm rot="5400000">
              <a:off x="5535386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Oval 41"/>
            <p:cNvSpPr/>
            <p:nvPr/>
          </p:nvSpPr>
          <p:spPr>
            <a:xfrm rot="5400000">
              <a:off x="553538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Oval 42"/>
            <p:cNvSpPr/>
            <p:nvPr/>
          </p:nvSpPr>
          <p:spPr>
            <a:xfrm rot="5400000">
              <a:off x="583701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Oval 43"/>
            <p:cNvSpPr/>
            <p:nvPr/>
          </p:nvSpPr>
          <p:spPr>
            <a:xfrm rot="5400000">
              <a:off x="583701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5" name="Oval 44"/>
            <p:cNvSpPr/>
            <p:nvPr/>
          </p:nvSpPr>
          <p:spPr>
            <a:xfrm rot="5400000">
              <a:off x="613165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 rot="5400000">
              <a:off x="6131651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Oval 46"/>
            <p:cNvSpPr/>
            <p:nvPr/>
          </p:nvSpPr>
          <p:spPr>
            <a:xfrm rot="5400000">
              <a:off x="6428922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8" name="Oval 47"/>
            <p:cNvSpPr/>
            <p:nvPr/>
          </p:nvSpPr>
          <p:spPr>
            <a:xfrm rot="5400000">
              <a:off x="672397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/>
            <p:cNvSpPr/>
            <p:nvPr/>
          </p:nvSpPr>
          <p:spPr>
            <a:xfrm rot="5400000">
              <a:off x="672397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Oval 49"/>
            <p:cNvSpPr/>
            <p:nvPr/>
          </p:nvSpPr>
          <p:spPr>
            <a:xfrm rot="5400000">
              <a:off x="702242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Oval 50"/>
            <p:cNvSpPr/>
            <p:nvPr/>
          </p:nvSpPr>
          <p:spPr>
            <a:xfrm rot="5400000">
              <a:off x="702242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/>
            <p:cNvSpPr/>
            <p:nvPr/>
          </p:nvSpPr>
          <p:spPr>
            <a:xfrm rot="5400000">
              <a:off x="732086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Oval 52"/>
            <p:cNvSpPr/>
            <p:nvPr/>
          </p:nvSpPr>
          <p:spPr>
            <a:xfrm rot="5400000">
              <a:off x="761999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Oval 53"/>
            <p:cNvSpPr/>
            <p:nvPr/>
          </p:nvSpPr>
          <p:spPr>
            <a:xfrm rot="5400000">
              <a:off x="761999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/>
            <p:cNvSpPr/>
            <p:nvPr/>
          </p:nvSpPr>
          <p:spPr>
            <a:xfrm rot="5400000">
              <a:off x="791843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Oval 55"/>
            <p:cNvSpPr/>
            <p:nvPr/>
          </p:nvSpPr>
          <p:spPr>
            <a:xfrm rot="5400000">
              <a:off x="791843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Oval 56"/>
            <p:cNvSpPr/>
            <p:nvPr/>
          </p:nvSpPr>
          <p:spPr>
            <a:xfrm rot="5400000">
              <a:off x="821288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/>
            <p:cNvSpPr/>
            <p:nvPr/>
          </p:nvSpPr>
          <p:spPr>
            <a:xfrm rot="5400000">
              <a:off x="821288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Oval 58"/>
            <p:cNvSpPr/>
            <p:nvPr/>
          </p:nvSpPr>
          <p:spPr>
            <a:xfrm rot="5400000">
              <a:off x="851670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/>
            <p:cNvSpPr/>
            <p:nvPr/>
          </p:nvSpPr>
          <p:spPr>
            <a:xfrm rot="5400000">
              <a:off x="851670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 rot="5400000">
              <a:off x="8813971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/>
            <p:cNvSpPr/>
            <p:nvPr/>
          </p:nvSpPr>
          <p:spPr>
            <a:xfrm rot="5400000">
              <a:off x="9102040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Oval 62"/>
            <p:cNvSpPr/>
            <p:nvPr/>
          </p:nvSpPr>
          <p:spPr>
            <a:xfrm rot="5400000">
              <a:off x="9102040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Oval 63"/>
            <p:cNvSpPr/>
            <p:nvPr/>
          </p:nvSpPr>
          <p:spPr>
            <a:xfrm rot="5400000">
              <a:off x="9401169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Oval 64"/>
            <p:cNvSpPr/>
            <p:nvPr/>
          </p:nvSpPr>
          <p:spPr>
            <a:xfrm rot="5400000">
              <a:off x="9401169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Oval 65"/>
            <p:cNvSpPr/>
            <p:nvPr/>
          </p:nvSpPr>
          <p:spPr>
            <a:xfrm rot="5400000">
              <a:off x="9699614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/>
          </p:nvSpPr>
          <p:spPr>
            <a:xfrm rot="5400000">
              <a:off x="9699614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Oval 67"/>
            <p:cNvSpPr/>
            <p:nvPr/>
          </p:nvSpPr>
          <p:spPr>
            <a:xfrm rot="5400000">
              <a:off x="999405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Oval 68"/>
            <p:cNvSpPr/>
            <p:nvPr/>
          </p:nvSpPr>
          <p:spPr>
            <a:xfrm rot="5400000">
              <a:off x="10297875" y="877026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/>
            <p:cNvSpPr/>
            <p:nvPr/>
          </p:nvSpPr>
          <p:spPr>
            <a:xfrm rot="5400000">
              <a:off x="10297875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Oval 70"/>
            <p:cNvSpPr/>
            <p:nvPr/>
          </p:nvSpPr>
          <p:spPr>
            <a:xfrm rot="5400000">
              <a:off x="10595146" y="9067918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2" name="Oval 71"/>
            <p:cNvSpPr/>
            <p:nvPr/>
          </p:nvSpPr>
          <p:spPr>
            <a:xfrm rot="5400000">
              <a:off x="10888318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/>
            <p:cNvSpPr/>
            <p:nvPr/>
          </p:nvSpPr>
          <p:spPr>
            <a:xfrm rot="5400000">
              <a:off x="1118994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Oval 75"/>
            <p:cNvSpPr/>
            <p:nvPr/>
          </p:nvSpPr>
          <p:spPr>
            <a:xfrm rot="5400000">
              <a:off x="11484583" y="7877296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Oval 76"/>
            <p:cNvSpPr/>
            <p:nvPr userDrawn="1"/>
          </p:nvSpPr>
          <p:spPr>
            <a:xfrm rot="5400000">
              <a:off x="11484583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Oval 77"/>
            <p:cNvSpPr/>
            <p:nvPr/>
          </p:nvSpPr>
          <p:spPr>
            <a:xfrm rot="5400000">
              <a:off x="11484583" y="8770264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Oval 78"/>
            <p:cNvSpPr/>
            <p:nvPr/>
          </p:nvSpPr>
          <p:spPr>
            <a:xfrm rot="5400000">
              <a:off x="11781854" y="8174952"/>
              <a:ext cx="227807" cy="227807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1" name="Rectangle 80"/>
          <p:cNvSpPr/>
          <p:nvPr/>
        </p:nvSpPr>
        <p:spPr>
          <a:xfrm>
            <a:off x="3485781" y="800100"/>
            <a:ext cx="2574956" cy="525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Rectangle 85"/>
          <p:cNvSpPr/>
          <p:nvPr/>
        </p:nvSpPr>
        <p:spPr>
          <a:xfrm>
            <a:off x="773727" y="800100"/>
            <a:ext cx="2574956" cy="525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Rectangle 90"/>
          <p:cNvSpPr/>
          <p:nvPr/>
        </p:nvSpPr>
        <p:spPr>
          <a:xfrm>
            <a:off x="6181893" y="800100"/>
            <a:ext cx="2574956" cy="5257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Picture Placeholder 94"/>
          <p:cNvSpPr>
            <a:spLocks noGrp="1"/>
          </p:cNvSpPr>
          <p:nvPr>
            <p:ph type="pic" sz="quarter" idx="10"/>
          </p:nvPr>
        </p:nvSpPr>
        <p:spPr>
          <a:xfrm>
            <a:off x="856548" y="1897062"/>
            <a:ext cx="2405005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9" name="Text Placeholder 97"/>
          <p:cNvSpPr>
            <a:spLocks noGrp="1"/>
          </p:cNvSpPr>
          <p:nvPr>
            <p:ph type="body" sz="quarter" idx="11"/>
          </p:nvPr>
        </p:nvSpPr>
        <p:spPr>
          <a:xfrm>
            <a:off x="856548" y="982663"/>
            <a:ext cx="2405005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1" name="Text Placeholder 97"/>
          <p:cNvSpPr>
            <a:spLocks noGrp="1"/>
          </p:cNvSpPr>
          <p:nvPr>
            <p:ph type="body" sz="quarter" idx="12"/>
          </p:nvPr>
        </p:nvSpPr>
        <p:spPr>
          <a:xfrm>
            <a:off x="856548" y="5162550"/>
            <a:ext cx="2405005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2" name="Picture Placeholder 94"/>
          <p:cNvSpPr>
            <a:spLocks noGrp="1"/>
          </p:cNvSpPr>
          <p:nvPr>
            <p:ph type="pic" sz="quarter" idx="13"/>
          </p:nvPr>
        </p:nvSpPr>
        <p:spPr>
          <a:xfrm>
            <a:off x="3568107" y="1897062"/>
            <a:ext cx="2405005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3" name="Text Placeholder 97"/>
          <p:cNvSpPr>
            <a:spLocks noGrp="1"/>
          </p:cNvSpPr>
          <p:nvPr>
            <p:ph type="body" sz="quarter" idx="14"/>
          </p:nvPr>
        </p:nvSpPr>
        <p:spPr>
          <a:xfrm>
            <a:off x="3568107" y="982663"/>
            <a:ext cx="2405005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4" name="Text Placeholder 97"/>
          <p:cNvSpPr>
            <a:spLocks noGrp="1"/>
          </p:cNvSpPr>
          <p:nvPr>
            <p:ph type="body" sz="quarter" idx="15"/>
          </p:nvPr>
        </p:nvSpPr>
        <p:spPr>
          <a:xfrm>
            <a:off x="3568107" y="5162550"/>
            <a:ext cx="2405005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5" name="Picture Placeholder 94"/>
          <p:cNvSpPr>
            <a:spLocks noGrp="1"/>
          </p:cNvSpPr>
          <p:nvPr>
            <p:ph type="pic" sz="quarter" idx="16"/>
          </p:nvPr>
        </p:nvSpPr>
        <p:spPr>
          <a:xfrm>
            <a:off x="6261673" y="1897062"/>
            <a:ext cx="2405005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06" name="Text Placeholder 97"/>
          <p:cNvSpPr>
            <a:spLocks noGrp="1"/>
          </p:cNvSpPr>
          <p:nvPr>
            <p:ph type="body" sz="quarter" idx="17"/>
          </p:nvPr>
        </p:nvSpPr>
        <p:spPr>
          <a:xfrm>
            <a:off x="6269168" y="982663"/>
            <a:ext cx="2405005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107" name="Text Placeholder 97"/>
          <p:cNvSpPr>
            <a:spLocks noGrp="1"/>
          </p:cNvSpPr>
          <p:nvPr>
            <p:ph type="body" sz="quarter" idx="18"/>
          </p:nvPr>
        </p:nvSpPr>
        <p:spPr>
          <a:xfrm>
            <a:off x="6269168" y="5162550"/>
            <a:ext cx="2405005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92" name="Rectangle 91"/>
          <p:cNvSpPr/>
          <p:nvPr userDrawn="1"/>
        </p:nvSpPr>
        <p:spPr>
          <a:xfrm>
            <a:off x="8874897" y="800100"/>
            <a:ext cx="2574956" cy="5257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3" name="Picture Placeholder 94"/>
          <p:cNvSpPr>
            <a:spLocks noGrp="1"/>
          </p:cNvSpPr>
          <p:nvPr>
            <p:ph type="pic" sz="quarter" idx="19"/>
          </p:nvPr>
        </p:nvSpPr>
        <p:spPr>
          <a:xfrm>
            <a:off x="8954677" y="1897062"/>
            <a:ext cx="2405005" cy="3063875"/>
          </a:xfrm>
        </p:spPr>
        <p:txBody>
          <a:bodyPr anchor="ctr"/>
          <a:lstStyle>
            <a:lvl1pPr marL="8890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4" name="Text Placeholder 97"/>
          <p:cNvSpPr>
            <a:spLocks noGrp="1"/>
          </p:cNvSpPr>
          <p:nvPr>
            <p:ph type="body" sz="quarter" idx="20"/>
          </p:nvPr>
        </p:nvSpPr>
        <p:spPr>
          <a:xfrm>
            <a:off x="8962172" y="982663"/>
            <a:ext cx="2405005" cy="712787"/>
          </a:xfrm>
        </p:spPr>
        <p:txBody>
          <a:bodyPr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95" name="Text Placeholder 97"/>
          <p:cNvSpPr>
            <a:spLocks noGrp="1"/>
          </p:cNvSpPr>
          <p:nvPr>
            <p:ph type="body" sz="quarter" idx="21"/>
          </p:nvPr>
        </p:nvSpPr>
        <p:spPr>
          <a:xfrm>
            <a:off x="8962172" y="5162550"/>
            <a:ext cx="2405005" cy="817426"/>
          </a:xfrm>
        </p:spPr>
        <p:txBody>
          <a:bodyPr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300" kern="1200">
                <a:solidFill>
                  <a:schemeClr val="bg1"/>
                </a:solidFill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9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5pPr>
          </a:lstStyle>
          <a:p>
            <a:pPr lvl="0"/>
            <a:endParaRPr lang="en-US"/>
          </a:p>
        </p:txBody>
      </p:sp>
      <p:sp>
        <p:nvSpPr>
          <p:cNvPr id="97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98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9586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0761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16B918-25B4-4C13-9D46-4A83FFADFE3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244835"/>
      </p:ext>
    </p:extLst>
  </p:cSld>
  <p:clrMapOvr>
    <a:masterClrMapping/>
  </p:clrMapOvr>
  <p:transition spd="med">
    <p:zoom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498064" y="1988843"/>
            <a:ext cx="11195872" cy="182420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E8FCD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300">
                <a:solidFill>
                  <a:schemeClr val="tx1"/>
                </a:solidFill>
              </a:defRPr>
            </a:lvl1pPr>
            <a:lvl2pPr marL="53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nl-B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58110" y="6381328"/>
            <a:ext cx="12033890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66232500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0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508000" y="989681"/>
            <a:ext cx="11195872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141545"/>
            <a:ext cx="10972800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2903757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44624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0" y="989683"/>
            <a:ext cx="11195872" cy="5391647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lvl="0"/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175789" y="1141545"/>
            <a:ext cx="7296811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415889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3" y="1028737"/>
            <a:ext cx="7610239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8" name="Rounded Rectangle 7"/>
          <p:cNvSpPr>
            <a:spLocks/>
          </p:cNvSpPr>
          <p:nvPr userDrawn="1"/>
        </p:nvSpPr>
        <p:spPr bwMode="auto">
          <a:xfrm>
            <a:off x="8331157" y="1046404"/>
            <a:ext cx="3314700" cy="5283355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8452337" y="1124744"/>
            <a:ext cx="3072341" cy="86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100" b="1">
                <a:solidFill>
                  <a:schemeClr val="tx1"/>
                </a:solidFill>
              </a:defRPr>
            </a:lvl1pPr>
            <a:lvl2pPr marL="536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7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09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4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822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18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755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291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nl-BE" dirty="0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5" y="1141545"/>
            <a:ext cx="7296811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7097880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6131311" y="1028737"/>
            <a:ext cx="5491988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6" name="Content Placeholder 2"/>
          <p:cNvSpPr>
            <a:spLocks noGrp="1"/>
          </p:cNvSpPr>
          <p:nvPr>
            <p:ph idx="14"/>
          </p:nvPr>
        </p:nvSpPr>
        <p:spPr>
          <a:xfrm>
            <a:off x="6288022" y="1141545"/>
            <a:ext cx="514325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1" y="1028737"/>
            <a:ext cx="5491988" cy="5301023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1141545"/>
            <a:ext cx="5143254" cy="498462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00"/>
            </a:lvl1pPr>
            <a:lvl2pPr>
              <a:defRPr sz="28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34997704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6131311" y="1213401"/>
            <a:ext cx="5491988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1" y="1213401"/>
            <a:ext cx="5491988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1604797"/>
            <a:ext cx="514325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320161" y="1604797"/>
            <a:ext cx="514325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643687" y="1021379"/>
            <a:ext cx="5164284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9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6308316" y="1021379"/>
            <a:ext cx="5164284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8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58109" y="2420888"/>
            <a:ext cx="17725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sz="2100" b="1" dirty="0" err="1">
              <a:solidFill>
                <a:schemeClr val="bg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778486" y="1073459"/>
            <a:ext cx="4874388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6440111" y="1073459"/>
            <a:ext cx="4874388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02846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/>
          <p:cNvSpPr>
            <a:spLocks/>
          </p:cNvSpPr>
          <p:nvPr userDrawn="1"/>
        </p:nvSpPr>
        <p:spPr bwMode="auto">
          <a:xfrm>
            <a:off x="6131311" y="1213401"/>
            <a:ext cx="5491988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1" y="1213401"/>
            <a:ext cx="5491988" cy="511635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1604797"/>
            <a:ext cx="514325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320161" y="1604797"/>
            <a:ext cx="5143254" cy="470603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4" name="Title 1"/>
          <p:cNvSpPr txBox="1">
            <a:spLocks/>
          </p:cNvSpPr>
          <p:nvPr userDrawn="1"/>
        </p:nvSpPr>
        <p:spPr>
          <a:xfrm>
            <a:off x="643687" y="1021379"/>
            <a:ext cx="5164284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900" dirty="0"/>
          </a:p>
        </p:txBody>
      </p:sp>
      <p:sp>
        <p:nvSpPr>
          <p:cNvPr id="17" name="Title 1"/>
          <p:cNvSpPr txBox="1">
            <a:spLocks/>
          </p:cNvSpPr>
          <p:nvPr userDrawn="1"/>
        </p:nvSpPr>
        <p:spPr>
          <a:xfrm>
            <a:off x="6308316" y="1021379"/>
            <a:ext cx="5164284" cy="487411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nl-BE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lvl="0"/>
            <a:endParaRPr lang="en-US" sz="180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58109" y="2420888"/>
            <a:ext cx="177250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BE" sz="2100" b="1" dirty="0" err="1">
              <a:solidFill>
                <a:schemeClr val="bg1"/>
              </a:solidFill>
            </a:endParaRPr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778486" y="1073459"/>
            <a:ext cx="4874388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6440111" y="1073459"/>
            <a:ext cx="4874388" cy="38324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  <a:latin typeface="+mj-lt"/>
              </a:defRPr>
            </a:lvl1pPr>
            <a:lvl2pPr>
              <a:defRPr sz="1600" b="1">
                <a:solidFill>
                  <a:schemeClr val="bg1"/>
                </a:solidFill>
                <a:latin typeface="+mj-lt"/>
              </a:defRPr>
            </a:lvl2pPr>
            <a:lvl3pPr>
              <a:defRPr sz="1400" b="1">
                <a:solidFill>
                  <a:schemeClr val="bg1"/>
                </a:solidFill>
                <a:latin typeface="+mj-lt"/>
              </a:defRPr>
            </a:lvl3pPr>
            <a:lvl4pPr>
              <a:defRPr sz="1400" b="1">
                <a:solidFill>
                  <a:schemeClr val="bg1"/>
                </a:solidFill>
                <a:latin typeface="+mj-lt"/>
              </a:defRPr>
            </a:lvl4pPr>
            <a:lvl5pPr>
              <a:defRPr sz="1400" b="1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109015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>
            <a:spLocks/>
          </p:cNvSpPr>
          <p:nvPr userDrawn="1"/>
        </p:nvSpPr>
        <p:spPr bwMode="auto">
          <a:xfrm>
            <a:off x="508003" y="1028733"/>
            <a:ext cx="11115297" cy="259228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3" y="3717036"/>
            <a:ext cx="11115297" cy="259228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3856619"/>
            <a:ext cx="10807886" cy="23131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64713" y="1192302"/>
            <a:ext cx="10807886" cy="22651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20353125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68630"/>
            <a:ext cx="10972800" cy="96010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68610" y="6405334"/>
            <a:ext cx="480053" cy="365125"/>
          </a:xfrm>
          <a:prstGeom prst="rect">
            <a:avLst/>
          </a:prstGeom>
        </p:spPr>
        <p:txBody>
          <a:bodyPr/>
          <a:lstStyle/>
          <a:p>
            <a:fld id="{B9CD9413-B2A0-4D48-9D45-C313C489C51C}" type="slidenum">
              <a:rPr lang="nl-BE" smtClean="0"/>
              <a:t>‹#›</a:t>
            </a:fld>
            <a:endParaRPr lang="nl-BE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527533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381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02692330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19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ounded Rectangle 5"/>
          <p:cNvSpPr>
            <a:spLocks/>
          </p:cNvSpPr>
          <p:nvPr userDrawn="1"/>
        </p:nvSpPr>
        <p:spPr bwMode="auto">
          <a:xfrm>
            <a:off x="246735" y="989680"/>
            <a:ext cx="11606879" cy="5607672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6057" y="116633"/>
            <a:ext cx="11439761" cy="7143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4420" y="1196752"/>
            <a:ext cx="11431182" cy="5256584"/>
          </a:xfrm>
          <a:prstGeom prst="rect">
            <a:avLst/>
          </a:prstGeom>
        </p:spPr>
        <p:txBody>
          <a:bodyPr/>
          <a:lstStyle>
            <a:lvl1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>
              <a:defRPr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>
              <a:defRPr sz="1600"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>
              <a:defRPr sz="1400"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 dirty="0"/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2"/>
          </p:nvPr>
        </p:nvSpPr>
        <p:spPr>
          <a:xfrm>
            <a:off x="10346197" y="35625"/>
            <a:ext cx="1646740" cy="258854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tx2">
                    <a:lumMod val="50000"/>
                    <a:lumOff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>
              <a:defRPr/>
            </a:pPr>
            <a:fld id="{1B492441-0EAF-483D-8500-C54EB8F6570A}" type="datetime1">
              <a:rPr lang="nl-BE" smtClean="0"/>
              <a:pPr>
                <a:defRPr/>
              </a:pPr>
              <a:t>2022-07-18</a:t>
            </a:fld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940338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2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381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0" y="989681"/>
            <a:ext cx="11195872" cy="539164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8553904"/>
      </p:ext>
    </p:extLst>
  </p:cSld>
  <p:clrMapOvr>
    <a:masterClrMapping/>
  </p:clrMapOvr>
  <p:transition spd="slow">
    <p:push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aph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800100"/>
            <a:ext cx="10658475" cy="7112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C77A671E-B4FD-4971-A22F-87DB01A11F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3200" y="1638300"/>
            <a:ext cx="4872038" cy="698501"/>
          </a:xfrm>
          <a:prstGeom prst="rect">
            <a:avLst/>
          </a:prstGeom>
        </p:spPr>
        <p:txBody>
          <a:bodyPr lIns="0" tIns="0" rIns="0" bIns="91440">
            <a:normAutofit/>
          </a:bodyPr>
          <a:lstStyle>
            <a:lvl1pPr marL="0" indent="0">
              <a:buFontTx/>
              <a:buNone/>
              <a:defRPr sz="2800" b="0">
                <a:solidFill>
                  <a:schemeClr val="accent1"/>
                </a:solidFill>
                <a:latin typeface="Georgia" panose="02040502050405020303" pitchFamily="18" charset="0"/>
                <a:cs typeface="Segoe UI Semibold" panose="020B0702040204020203" pitchFamily="34" charset="0"/>
              </a:defRPr>
            </a:lvl1pPr>
          </a:lstStyle>
          <a:p>
            <a:pPr lvl="0"/>
            <a:endParaRPr lang="nl-NL" dirty="0"/>
          </a:p>
        </p:txBody>
      </p:sp>
      <p:sp>
        <p:nvSpPr>
          <p:cNvPr id="8" name="Tijdelijke aanduiding voor grafiek 7">
            <a:extLst>
              <a:ext uri="{FF2B5EF4-FFF2-40B4-BE49-F238E27FC236}">
                <a16:creationId xmlns:a16="http://schemas.microsoft.com/office/drawing/2014/main" id="{785BDB02-0669-46C1-BC18-4B6915F659E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766762" y="1638300"/>
            <a:ext cx="4872037" cy="4419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800" b="0"/>
            </a:lvl1pPr>
          </a:lstStyle>
          <a:p>
            <a:endParaRPr lang="en-BE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544414" y="2463800"/>
            <a:ext cx="4872037" cy="35941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3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67903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4128">
          <p15:clr>
            <a:srgbClr val="FBAE40"/>
          </p15:clr>
        </p15:guide>
        <p15:guide id="3" pos="3552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EDE2AA-5EC7-4E82-852A-FE7B05022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2" y="800496"/>
            <a:ext cx="10658475" cy="98557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defRPr sz="3600"/>
            </a:lvl1pPr>
          </a:lstStyle>
          <a:p>
            <a:endParaRPr lang="en-BE" dirty="0"/>
          </a:p>
        </p:txBody>
      </p:sp>
      <p:sp>
        <p:nvSpPr>
          <p:cNvPr id="81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66762" y="1786072"/>
            <a:ext cx="10658475" cy="4301992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7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852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766762" y="766119"/>
            <a:ext cx="10658475" cy="5563443"/>
          </a:xfrm>
        </p:spPr>
        <p:txBody>
          <a:bodyPr/>
          <a:lstStyle/>
          <a:p>
            <a:pPr lvl="0"/>
            <a:endParaRPr lang="en-US" dirty="0" smtClean="0"/>
          </a:p>
        </p:txBody>
      </p:sp>
      <p:sp>
        <p:nvSpPr>
          <p:cNvPr id="80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23078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82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6" hasCustomPrompt="1"/>
          </p:nvPr>
        </p:nvSpPr>
        <p:spPr>
          <a:xfrm>
            <a:off x="766762" y="80953"/>
            <a:ext cx="10658475" cy="571500"/>
          </a:xfrm>
        </p:spPr>
        <p:txBody>
          <a:bodyPr>
            <a:normAutofit/>
          </a:bodyPr>
          <a:lstStyle>
            <a:lvl1pPr marL="88900" indent="0">
              <a:buNone/>
              <a:defRPr lang="en-US" sz="3600" b="1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and add content title</a:t>
            </a:r>
          </a:p>
        </p:txBody>
      </p:sp>
    </p:spTree>
    <p:extLst>
      <p:ext uri="{BB962C8B-B14F-4D97-AF65-F5344CB8AC3E}">
        <p14:creationId xmlns:p14="http://schemas.microsoft.com/office/powerpoint/2010/main" val="3312188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4088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3377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>
            <a:spLocks/>
          </p:cNvSpPr>
          <p:nvPr userDrawn="1"/>
        </p:nvSpPr>
        <p:spPr bwMode="auto">
          <a:xfrm>
            <a:off x="508003" y="1028733"/>
            <a:ext cx="11115297" cy="2592288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5" name="Rounded Rectangle 4"/>
          <p:cNvSpPr>
            <a:spLocks/>
          </p:cNvSpPr>
          <p:nvPr userDrawn="1"/>
        </p:nvSpPr>
        <p:spPr bwMode="auto">
          <a:xfrm>
            <a:off x="508003" y="3717036"/>
            <a:ext cx="11115297" cy="2592289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endParaRPr lang="nl-BE" sz="2100" dirty="0">
              <a:latin typeface="Segoe UI" panose="020B0502040204020203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64713" y="3856619"/>
            <a:ext cx="10807886" cy="231312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664713" y="1192302"/>
            <a:ext cx="10807886" cy="226515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00"/>
            </a:lvl1pPr>
            <a:lvl2pPr>
              <a:defRPr sz="19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BE" dirty="0"/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l-B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484" y="6392521"/>
            <a:ext cx="10369152" cy="43204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nl-BE" sz="800" i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41900094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25715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17193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53594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442341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76750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1908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69061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0753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9967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3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381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09600" y="20622"/>
            <a:ext cx="10972800" cy="96010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03820152"/>
      </p:ext>
    </p:extLst>
  </p:cSld>
  <p:clrMapOvr>
    <a:masterClrMapping/>
  </p:clrMapOvr>
  <p:transition spd="slow">
    <p:push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9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vmlDrawing" Target="../drawings/vmlDrawing8.v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slideLayout" Target="../slideLayouts/slideLayout60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slideLayout" Target="../slideLayouts/slideLayout59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58.xml"/><Relationship Id="rId37" Type="http://schemas.openxmlformats.org/officeDocument/2006/relationships/theme" Target="../theme/theme5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slideLayout" Target="../slideLayouts/slideLayout57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Relationship Id="rId35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tags" Target="../tags/tag16.xml"/><Relationship Id="rId3" Type="http://schemas.openxmlformats.org/officeDocument/2006/relationships/slideLayout" Target="../slideLayouts/slideLayout65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vmlDrawing" Target="../drawings/vmlDrawing15.vml"/><Relationship Id="rId2" Type="http://schemas.openxmlformats.org/officeDocument/2006/relationships/slideLayout" Target="../slideLayouts/slideLayout64.xml"/><Relationship Id="rId16" Type="http://schemas.openxmlformats.org/officeDocument/2006/relationships/theme" Target="../theme/theme6.xml"/><Relationship Id="rId20" Type="http://schemas.openxmlformats.org/officeDocument/2006/relationships/oleObject" Target="../embeddings/oleObject10.bin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72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image" Target="../media/image3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306"/>
          <a:stretch/>
        </p:blipFill>
        <p:spPr bwMode="auto">
          <a:xfrm rot="10800000">
            <a:off x="0" y="5716456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03234665"/>
              </p:ext>
            </p:extLst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33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381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10438637" y="6705655"/>
            <a:ext cx="166473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b="0" dirty="0">
                <a:solidFill>
                  <a:srgbClr val="898989"/>
                </a:solidFill>
                <a:latin typeface="+mj-lt"/>
              </a:rPr>
              <a:t>Copyright</a:t>
            </a:r>
            <a:r>
              <a:rPr lang="en-GB" sz="700" b="0" baseline="0" dirty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>
                <a:solidFill>
                  <a:srgbClr val="898989"/>
                </a:solidFill>
                <a:latin typeface="+mj-lt"/>
              </a:rPr>
              <a:t>©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2021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SCK CEN</a:t>
            </a:r>
            <a:endParaRPr lang="en-GB" sz="700" b="0" dirty="0">
              <a:solidFill>
                <a:srgbClr val="898989"/>
              </a:solidFill>
              <a:latin typeface="+mj-lt"/>
            </a:endParaRPr>
          </a:p>
        </p:txBody>
      </p:sp>
      <p:sp>
        <p:nvSpPr>
          <p:cNvPr id="26" name="Text Box 4"/>
          <p:cNvSpPr txBox="1">
            <a:spLocks noChangeArrowheads="1"/>
          </p:cNvSpPr>
          <p:nvPr userDrawn="1"/>
        </p:nvSpPr>
        <p:spPr bwMode="auto">
          <a:xfrm>
            <a:off x="10438637" y="6574431"/>
            <a:ext cx="166473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B9CD9413-B2A0-4D48-9D45-C313C489C51C}" type="slidenum">
              <a:rPr lang="nl-BE" sz="800" smtClean="0">
                <a:solidFill>
                  <a:srgbClr val="898989"/>
                </a:solidFill>
              </a:rPr>
              <a:pPr algn="r"/>
              <a:t>‹#›</a:t>
            </a:fld>
            <a:endParaRPr lang="nl-BE" sz="800" dirty="0">
              <a:solidFill>
                <a:srgbClr val="898989"/>
              </a:solidFill>
            </a:endParaRPr>
          </a:p>
        </p:txBody>
      </p:sp>
      <p:sp>
        <p:nvSpPr>
          <p:cNvPr id="27" name="TextBox 26" title="AlexandriaReference"/>
          <p:cNvSpPr txBox="1"/>
          <p:nvPr userDrawn="1"/>
        </p:nvSpPr>
        <p:spPr>
          <a:xfrm>
            <a:off x="5026029" y="6552775"/>
            <a:ext cx="2139947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lang="nl-BE" sz="700" b="0" kern="1200" noProof="0" smtClean="0">
                <a:solidFill>
                  <a:srgbClr val="898989"/>
                </a:solidFill>
                <a:latin typeface="+mj-lt"/>
                <a:ea typeface="+mn-ea"/>
                <a:cs typeface="+mn-cs"/>
              </a:rPr>
              <a:t>SCK CEN/43764911</a:t>
            </a:r>
            <a:endParaRPr lang="nl-BE" sz="700" b="0" kern="1200" noProof="0" dirty="0">
              <a:solidFill>
                <a:srgbClr val="898989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8" name="TextBox 27" title="AlexandriaDistributionLimitations"/>
          <p:cNvSpPr txBox="1"/>
          <p:nvPr userDrawn="1"/>
        </p:nvSpPr>
        <p:spPr>
          <a:xfrm>
            <a:off x="4498121" y="6672269"/>
            <a:ext cx="3195760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lang="nl-BE" sz="700" b="0" kern="1200" noProof="0" smtClean="0">
                <a:solidFill>
                  <a:srgbClr val="7F7F7F"/>
                </a:solidFill>
                <a:latin typeface="+mj-lt"/>
                <a:ea typeface="+mn-ea"/>
                <a:cs typeface="+mn-cs"/>
              </a:rPr>
              <a:t>ISC: Restricted</a:t>
            </a:r>
            <a:endParaRPr lang="nl-BE" sz="700" b="0" kern="1200" noProof="0" dirty="0">
              <a:solidFill>
                <a:srgbClr val="7F7F7F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6960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  <p:sldLayoutId id="2147483660" r:id="rId4"/>
    <p:sldLayoutId id="2147483661" r:id="rId5"/>
    <p:sldLayoutId id="2147483662" r:id="rId6"/>
    <p:sldLayoutId id="2147483664" r:id="rId7"/>
    <p:sldLayoutId id="2147483663" r:id="rId8"/>
    <p:sldLayoutId id="2147483680" r:id="rId9"/>
    <p:sldLayoutId id="2147483682" r:id="rId10"/>
    <p:sldLayoutId id="2147483684" r:id="rId11"/>
  </p:sldLayoutIdLst>
  <p:hf hdr="0" dt="0"/>
  <p:txStyles>
    <p:titleStyle>
      <a:lvl1pPr algn="ctr" defTabSz="1072892" rtl="0" eaLnBrk="1" latinLnBrk="0" hangingPunct="1">
        <a:spcBef>
          <a:spcPct val="0"/>
        </a:spcBef>
        <a:buNone/>
        <a:defRPr lang="nl-BE" sz="2400" b="1" kern="0" dirty="0">
          <a:solidFill>
            <a:srgbClr val="3E8FCD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35" indent="-402335" algn="l" defTabSz="1072892" rtl="0" eaLnBrk="1" latinLnBrk="0" hangingPunct="1">
        <a:spcBef>
          <a:spcPct val="20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25" indent="-335278" algn="l" defTabSz="1072892" rtl="0" eaLnBrk="1" latinLnBrk="0" hangingPunct="1">
        <a:spcBef>
          <a:spcPct val="20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116" indent="-268223" algn="l" defTabSz="1072892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62" indent="-268223" algn="l" defTabSz="1072892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14007" indent="-268223" algn="l" defTabSz="1072892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454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900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346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792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4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92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338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85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231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67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123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569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23E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5339326"/>
              </p:ext>
            </p:extLst>
          </p:nvPr>
        </p:nvGraphicFramePr>
        <p:xfrm>
          <a:off x="1956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2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6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306"/>
          <a:stretch/>
        </p:blipFill>
        <p:spPr bwMode="auto">
          <a:xfrm rot="10800000">
            <a:off x="2" y="5716456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381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9090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xStyles>
    <p:titleStyle>
      <a:lvl1pPr algn="ctr" defTabSz="1072892" rtl="0" eaLnBrk="1" latinLnBrk="0" hangingPunct="1">
        <a:spcBef>
          <a:spcPct val="0"/>
        </a:spcBef>
        <a:buNone/>
        <a:defRPr lang="nl-BE" sz="3100" b="1" kern="0" dirty="0">
          <a:solidFill>
            <a:srgbClr val="007DC3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35" indent="-402335" algn="l" defTabSz="1072892" rtl="0" eaLnBrk="1" latinLnBrk="0" hangingPunct="1">
        <a:spcBef>
          <a:spcPct val="20000"/>
        </a:spcBef>
        <a:buClr>
          <a:schemeClr val="accent2"/>
        </a:buClr>
        <a:buSzPct val="150000"/>
        <a:buFont typeface="Arial" panose="020B0604020202020204" pitchFamily="34" charset="0"/>
        <a:buChar char="•"/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25" indent="-335278" algn="l" defTabSz="1072892" rtl="0" eaLnBrk="1" latinLnBrk="0" hangingPunct="1">
        <a:spcBef>
          <a:spcPct val="20000"/>
        </a:spcBef>
        <a:buClr>
          <a:schemeClr val="accent3"/>
        </a:buClr>
        <a:buSzPct val="15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116" indent="-268223" algn="l" defTabSz="1072892" rtl="0" eaLnBrk="1" latinLnBrk="0" hangingPunct="1">
        <a:spcBef>
          <a:spcPct val="20000"/>
        </a:spcBef>
        <a:buClr>
          <a:schemeClr val="accent4"/>
        </a:buClr>
        <a:buSzPct val="15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62" indent="-268223" algn="l" defTabSz="1072892" rtl="0" eaLnBrk="1" latinLnBrk="0" hangingPunct="1">
        <a:spcBef>
          <a:spcPct val="20000"/>
        </a:spcBef>
        <a:buClr>
          <a:schemeClr val="accent5"/>
        </a:buClr>
        <a:buSzPct val="150000"/>
        <a:buFont typeface="Arial" panose="020B0604020202020204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414007" indent="-268223" algn="l" defTabSz="1072892" rtl="0" eaLnBrk="1" latinLnBrk="0" hangingPunct="1">
        <a:spcBef>
          <a:spcPct val="20000"/>
        </a:spcBef>
        <a:buClr>
          <a:schemeClr val="accent6"/>
        </a:buClr>
        <a:buSzPct val="150000"/>
        <a:buFont typeface="Arial" panose="020B0604020202020204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454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900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346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792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4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92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338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85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231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67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123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569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ALEXANDRIA INTEGRATION</a:t>
            </a:r>
            <a:br>
              <a:rPr lang="en-US" dirty="0"/>
            </a:br>
            <a:r>
              <a:rPr lang="en-US" dirty="0"/>
              <a:t>Do not delete this master!</a:t>
            </a:r>
            <a:endParaRPr lang="nl-BE" dirty="0"/>
          </a:p>
        </p:txBody>
      </p:sp>
      <p:sp>
        <p:nvSpPr>
          <p:cNvPr id="8" name="TextBox 7" title="AlexandriaReference"/>
          <p:cNvSpPr txBox="1"/>
          <p:nvPr userDrawn="1"/>
        </p:nvSpPr>
        <p:spPr>
          <a:xfrm>
            <a:off x="765545" y="1658678"/>
            <a:ext cx="19536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Short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  <p:sp>
        <p:nvSpPr>
          <p:cNvPr id="4" name="TextBox 3" title="AlexandriaSecurltyClearance"/>
          <p:cNvSpPr txBox="1"/>
          <p:nvPr userDrawn="1"/>
        </p:nvSpPr>
        <p:spPr>
          <a:xfrm>
            <a:off x="2719145" y="2575111"/>
            <a:ext cx="1953600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Security Clearance]</a:t>
            </a:r>
          </a:p>
        </p:txBody>
      </p:sp>
      <p:sp>
        <p:nvSpPr>
          <p:cNvPr id="5" name="TextBox 4" title="AlexandriaDistributionLimitations"/>
          <p:cNvSpPr txBox="1"/>
          <p:nvPr userDrawn="1"/>
        </p:nvSpPr>
        <p:spPr>
          <a:xfrm>
            <a:off x="4672745" y="1658678"/>
            <a:ext cx="1953600" cy="5078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ISC: [Common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Information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Security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Classification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]</a:t>
            </a:r>
          </a:p>
        </p:txBody>
      </p:sp>
      <p:sp>
        <p:nvSpPr>
          <p:cNvPr id="6" name="TextBox 5" title="AlexandriaEventAttributes"/>
          <p:cNvSpPr txBox="1"/>
          <p:nvPr userDrawn="1"/>
        </p:nvSpPr>
        <p:spPr>
          <a:xfrm>
            <a:off x="2464200" y="3013158"/>
            <a:ext cx="6190219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Event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Event_Event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Name]</a:t>
            </a:r>
          </a:p>
        </p:txBody>
      </p:sp>
      <p:sp>
        <p:nvSpPr>
          <p:cNvPr id="9" name="TextBox 8" title="AlexandriaAlternativeReference"/>
          <p:cNvSpPr txBox="1"/>
          <p:nvPr userDrawn="1"/>
        </p:nvSpPr>
        <p:spPr>
          <a:xfrm>
            <a:off x="2464198" y="1661550"/>
            <a:ext cx="195360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[Common </a:t>
            </a:r>
            <a:r>
              <a:rPr kumimoji="0" lang="nl-BE" sz="900" b="0" i="1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ttributes_Alternative</a:t>
            </a:r>
            <a:r>
              <a:rPr kumimoji="0" lang="nl-BE" sz="900" b="0" i="1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Reference]</a:t>
            </a:r>
          </a:p>
        </p:txBody>
      </p:sp>
    </p:spTree>
    <p:extLst>
      <p:ext uri="{BB962C8B-B14F-4D97-AF65-F5344CB8AC3E}">
        <p14:creationId xmlns:p14="http://schemas.microsoft.com/office/powerpoint/2010/main" val="1164826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ctr" defTabSz="914423" rtl="0" eaLnBrk="1" latinLnBrk="0" hangingPunct="1">
        <a:spcBef>
          <a:spcPct val="0"/>
        </a:spcBef>
        <a:buNone/>
        <a:defRPr sz="4401" kern="1200">
          <a:solidFill>
            <a:srgbClr val="FF0000"/>
          </a:solidFill>
          <a:latin typeface="+mj-lt"/>
          <a:ea typeface="+mj-ea"/>
          <a:cs typeface="+mj-cs"/>
        </a:defRPr>
      </a:lvl1pPr>
    </p:titleStyle>
    <p:bodyStyle>
      <a:lvl1pPr marL="342908" indent="-342908" algn="l" defTabSz="914423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69" indent="-285757" algn="l" defTabSz="914423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6" algn="l" defTabSz="914423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defTabSz="914423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306"/>
          <a:stretch/>
        </p:blipFill>
        <p:spPr bwMode="auto">
          <a:xfrm rot="10800000">
            <a:off x="0" y="5716456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/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89" name="think-cell Slide" r:id="rId18" imgW="216" imgH="216" progId="TCLayout.ActiveDocument.1">
                  <p:embed/>
                </p:oleObj>
              </mc:Choice>
              <mc:Fallback>
                <p:oleObj name="think-cell Slide" r:id="rId18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381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10438637" y="6705655"/>
            <a:ext cx="166473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b="0" dirty="0">
                <a:solidFill>
                  <a:srgbClr val="898989"/>
                </a:solidFill>
                <a:latin typeface="+mj-lt"/>
              </a:rPr>
              <a:t>Copyright</a:t>
            </a:r>
            <a:r>
              <a:rPr lang="en-GB" sz="700" b="0" baseline="0" dirty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>
                <a:solidFill>
                  <a:srgbClr val="898989"/>
                </a:solidFill>
                <a:latin typeface="+mj-lt"/>
              </a:rPr>
              <a:t>©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2021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SCK CEN</a:t>
            </a:r>
            <a:endParaRPr lang="en-GB" sz="700" b="0" dirty="0">
              <a:solidFill>
                <a:srgbClr val="898989"/>
              </a:solidFill>
              <a:latin typeface="+mj-lt"/>
            </a:endParaRPr>
          </a:p>
        </p:txBody>
      </p:sp>
      <p:sp>
        <p:nvSpPr>
          <p:cNvPr id="26" name="Text Box 4"/>
          <p:cNvSpPr txBox="1">
            <a:spLocks noChangeArrowheads="1"/>
          </p:cNvSpPr>
          <p:nvPr userDrawn="1"/>
        </p:nvSpPr>
        <p:spPr bwMode="auto">
          <a:xfrm>
            <a:off x="10438637" y="6574431"/>
            <a:ext cx="166473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B9CD9413-B2A0-4D48-9D45-C313C489C51C}" type="slidenum">
              <a:rPr lang="nl-BE" sz="800" smtClean="0">
                <a:solidFill>
                  <a:srgbClr val="898989"/>
                </a:solidFill>
              </a:rPr>
              <a:pPr algn="r"/>
              <a:t>‹#›</a:t>
            </a:fld>
            <a:endParaRPr lang="nl-BE" sz="800" dirty="0">
              <a:solidFill>
                <a:srgbClr val="898989"/>
              </a:solidFill>
            </a:endParaRPr>
          </a:p>
        </p:txBody>
      </p:sp>
      <p:sp>
        <p:nvSpPr>
          <p:cNvPr id="27" name="TextBox 26" title="AlexandriaReference"/>
          <p:cNvSpPr txBox="1"/>
          <p:nvPr userDrawn="1"/>
        </p:nvSpPr>
        <p:spPr>
          <a:xfrm>
            <a:off x="5026029" y="6552775"/>
            <a:ext cx="2139947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lang="nl-BE" sz="700" b="0" kern="1200" noProof="0" smtClean="0">
                <a:solidFill>
                  <a:srgbClr val="898989"/>
                </a:solidFill>
                <a:latin typeface="+mj-lt"/>
                <a:ea typeface="+mn-ea"/>
                <a:cs typeface="+mn-cs"/>
              </a:rPr>
              <a:t>SCK CEN/43764911</a:t>
            </a:r>
            <a:endParaRPr lang="nl-BE" sz="700" b="0" kern="1200" noProof="0" dirty="0">
              <a:solidFill>
                <a:srgbClr val="898989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8" name="TextBox 27" title="AlexandriaDistributionLimitations"/>
          <p:cNvSpPr txBox="1"/>
          <p:nvPr userDrawn="1"/>
        </p:nvSpPr>
        <p:spPr>
          <a:xfrm>
            <a:off x="4498121" y="6672269"/>
            <a:ext cx="3195760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lang="nl-BE" sz="700" b="0" kern="1200" noProof="0" smtClean="0">
                <a:solidFill>
                  <a:srgbClr val="7F7F7F"/>
                </a:solidFill>
                <a:latin typeface="+mj-lt"/>
                <a:ea typeface="+mn-ea"/>
                <a:cs typeface="+mn-cs"/>
              </a:rPr>
              <a:t>ISC: Restricted</a:t>
            </a:r>
            <a:endParaRPr lang="nl-BE" sz="700" b="0" kern="1200" noProof="0" dirty="0">
              <a:solidFill>
                <a:srgbClr val="7F7F7F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0018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</p:sldLayoutIdLst>
  <p:hf hdr="0" dt="0"/>
  <p:txStyles>
    <p:titleStyle>
      <a:lvl1pPr algn="ctr" defTabSz="1072892" rtl="0" eaLnBrk="1" latinLnBrk="0" hangingPunct="1">
        <a:spcBef>
          <a:spcPct val="0"/>
        </a:spcBef>
        <a:buNone/>
        <a:defRPr lang="nl-BE" sz="2400" b="1" kern="0" dirty="0">
          <a:solidFill>
            <a:srgbClr val="3E8FCD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35" indent="-402335" algn="l" defTabSz="1072892" rtl="0" eaLnBrk="1" latinLnBrk="0" hangingPunct="1">
        <a:spcBef>
          <a:spcPct val="20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25" indent="-335278" algn="l" defTabSz="1072892" rtl="0" eaLnBrk="1" latinLnBrk="0" hangingPunct="1">
        <a:spcBef>
          <a:spcPct val="20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116" indent="-268223" algn="l" defTabSz="1072892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62" indent="-268223" algn="l" defTabSz="1072892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14007" indent="-268223" algn="l" defTabSz="1072892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454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900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346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792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4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92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338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85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231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67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123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569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806211"/>
            <a:ext cx="10515600" cy="88447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TextBox 11" title="AlexandriaReference"/>
          <p:cNvSpPr txBox="1"/>
          <p:nvPr userDrawn="1"/>
        </p:nvSpPr>
        <p:spPr>
          <a:xfrm>
            <a:off x="1117063" y="6443533"/>
            <a:ext cx="144000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en-US" sz="800" b="0" i="1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SCK CEN/48810542</a:t>
            </a:r>
            <a:endParaRPr kumimoji="0" lang="nl-BE" sz="800" b="0" i="1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TextBox 12" title="AlexandriaDistributionLimitations"/>
          <p:cNvSpPr txBox="1"/>
          <p:nvPr userDrawn="1"/>
        </p:nvSpPr>
        <p:spPr>
          <a:xfrm>
            <a:off x="10155691" y="6587241"/>
            <a:ext cx="1660707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fr-FR" sz="800" b="0" i="1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ISC: Restricted</a:t>
            </a:r>
            <a:endParaRPr kumimoji="0" lang="fr-FR" sz="800" b="0" i="1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" name="TextBox 13" title="AlexandriaAlternativeReference"/>
          <p:cNvSpPr txBox="1"/>
          <p:nvPr userDrawn="1"/>
        </p:nvSpPr>
        <p:spPr>
          <a:xfrm>
            <a:off x="1117063" y="6587241"/>
            <a:ext cx="1440000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00" algn="r"/>
              </a:tabLst>
              <a:defRPr/>
            </a:pPr>
            <a:r>
              <a:rPr kumimoji="0" lang="en-US" sz="800" b="0" i="1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</a:t>
            </a:r>
            <a:endParaRPr kumimoji="0" lang="nl-BE" sz="800" b="0" i="1" u="none" strike="noStrike" kern="1200" cap="none" spc="0" normalizeH="0" baseline="0" noProof="0" dirty="0" smtClean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ijdelijke aanduiding voor dianummer 5">
            <a:extLst>
              <a:ext uri="{FF2B5EF4-FFF2-40B4-BE49-F238E27FC236}">
                <a16:creationId xmlns:a16="http://schemas.microsoft.com/office/drawing/2014/main" id="{85ACB9A7-77F2-41DA-BDAD-3E1B26CA8C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80433" y="6479665"/>
            <a:ext cx="2743200" cy="14317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chemeClr val="tx1"/>
                </a:solidFill>
                <a:latin typeface="+mj-lt"/>
                <a:ea typeface="Segoe UI Black" panose="020B0A02040204020203" pitchFamily="34" charset="0"/>
                <a:cs typeface="Segoe UI Semibold" panose="020B0702040204020203" pitchFamily="34" charset="0"/>
              </a:defRPr>
            </a:lvl1pPr>
          </a:lstStyle>
          <a:p>
            <a:fld id="{A814E660-BF25-4843-B2A0-93C6E2B6253B}" type="slidenum">
              <a:rPr lang="en-BE" smtClean="0"/>
              <a:pPr/>
              <a:t>‹#›</a:t>
            </a:fld>
            <a:endParaRPr lang="en-BE" dirty="0"/>
          </a:p>
        </p:txBody>
      </p:sp>
      <p:cxnSp>
        <p:nvCxnSpPr>
          <p:cNvPr id="16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816398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Rechte verbindingslijn 15">
            <a:extLst>
              <a:ext uri="{FF2B5EF4-FFF2-40B4-BE49-F238E27FC236}">
                <a16:creationId xmlns:a16="http://schemas.microsoft.com/office/drawing/2014/main" id="{37B50A3E-DDAF-4A5F-ADED-8187508C78E1}"/>
              </a:ext>
            </a:extLst>
          </p:cNvPr>
          <p:cNvCxnSpPr>
            <a:cxnSpLocks/>
          </p:cNvCxnSpPr>
          <p:nvPr userDrawn="1"/>
        </p:nvCxnSpPr>
        <p:spPr>
          <a:xfrm>
            <a:off x="1117063" y="6479665"/>
            <a:ext cx="0" cy="402842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4"/>
          <p:cNvGrpSpPr>
            <a:grpSpLocks noChangeAspect="1"/>
          </p:cNvGrpSpPr>
          <p:nvPr userDrawn="1"/>
        </p:nvGrpSpPr>
        <p:grpSpPr bwMode="auto">
          <a:xfrm>
            <a:off x="304800" y="6469063"/>
            <a:ext cx="733425" cy="166687"/>
            <a:chOff x="192" y="4075"/>
            <a:chExt cx="462" cy="105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 userDrawn="1"/>
          </p:nvSpPr>
          <p:spPr bwMode="auto">
            <a:xfrm>
              <a:off x="192" y="4075"/>
              <a:ext cx="462" cy="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" name="Freeform 5"/>
            <p:cNvSpPr>
              <a:spLocks/>
            </p:cNvSpPr>
            <p:nvPr userDrawn="1"/>
          </p:nvSpPr>
          <p:spPr bwMode="auto">
            <a:xfrm>
              <a:off x="192" y="4101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" name="Freeform 6"/>
            <p:cNvSpPr>
              <a:spLocks/>
            </p:cNvSpPr>
            <p:nvPr userDrawn="1"/>
          </p:nvSpPr>
          <p:spPr bwMode="auto">
            <a:xfrm>
              <a:off x="192" y="4101"/>
              <a:ext cx="56" cy="79"/>
            </a:xfrm>
            <a:custGeom>
              <a:avLst/>
              <a:gdLst>
                <a:gd name="T0" fmla="*/ 203 w 838"/>
                <a:gd name="T1" fmla="*/ 827 h 1181"/>
                <a:gd name="T2" fmla="*/ 248 w 838"/>
                <a:gd name="T3" fmla="*/ 885 h 1181"/>
                <a:gd name="T4" fmla="*/ 302 w 838"/>
                <a:gd name="T5" fmla="*/ 927 h 1181"/>
                <a:gd name="T6" fmla="*/ 367 w 838"/>
                <a:gd name="T7" fmla="*/ 951 h 1181"/>
                <a:gd name="T8" fmla="*/ 427 w 838"/>
                <a:gd name="T9" fmla="*/ 956 h 1181"/>
                <a:gd name="T10" fmla="*/ 486 w 838"/>
                <a:gd name="T11" fmla="*/ 949 h 1181"/>
                <a:gd name="T12" fmla="*/ 534 w 838"/>
                <a:gd name="T13" fmla="*/ 927 h 1181"/>
                <a:gd name="T14" fmla="*/ 563 w 838"/>
                <a:gd name="T15" fmla="*/ 894 h 1181"/>
                <a:gd name="T16" fmla="*/ 574 w 838"/>
                <a:gd name="T17" fmla="*/ 851 h 1181"/>
                <a:gd name="T18" fmla="*/ 568 w 838"/>
                <a:gd name="T19" fmla="*/ 817 h 1181"/>
                <a:gd name="T20" fmla="*/ 546 w 838"/>
                <a:gd name="T21" fmla="*/ 777 h 1181"/>
                <a:gd name="T22" fmla="*/ 503 w 838"/>
                <a:gd name="T23" fmla="*/ 744 h 1181"/>
                <a:gd name="T24" fmla="*/ 420 w 838"/>
                <a:gd name="T25" fmla="*/ 706 h 1181"/>
                <a:gd name="T26" fmla="*/ 272 w 838"/>
                <a:gd name="T27" fmla="*/ 644 h 1181"/>
                <a:gd name="T28" fmla="*/ 165 w 838"/>
                <a:gd name="T29" fmla="*/ 571 h 1181"/>
                <a:gd name="T30" fmla="*/ 96 w 838"/>
                <a:gd name="T31" fmla="*/ 482 h 1181"/>
                <a:gd name="T32" fmla="*/ 64 w 838"/>
                <a:gd name="T33" fmla="*/ 379 h 1181"/>
                <a:gd name="T34" fmla="*/ 60 w 838"/>
                <a:gd name="T35" fmla="*/ 305 h 1181"/>
                <a:gd name="T36" fmla="*/ 71 w 838"/>
                <a:gd name="T37" fmla="*/ 239 h 1181"/>
                <a:gd name="T38" fmla="*/ 94 w 838"/>
                <a:gd name="T39" fmla="*/ 179 h 1181"/>
                <a:gd name="T40" fmla="*/ 130 w 838"/>
                <a:gd name="T41" fmla="*/ 126 h 1181"/>
                <a:gd name="T42" fmla="*/ 176 w 838"/>
                <a:gd name="T43" fmla="*/ 81 h 1181"/>
                <a:gd name="T44" fmla="*/ 233 w 838"/>
                <a:gd name="T45" fmla="*/ 45 h 1181"/>
                <a:gd name="T46" fmla="*/ 299 w 838"/>
                <a:gd name="T47" fmla="*/ 18 h 1181"/>
                <a:gd name="T48" fmla="*/ 370 w 838"/>
                <a:gd name="T49" fmla="*/ 3 h 1181"/>
                <a:gd name="T50" fmla="*/ 429 w 838"/>
                <a:gd name="T51" fmla="*/ 0 h 1181"/>
                <a:gd name="T52" fmla="*/ 536 w 838"/>
                <a:gd name="T53" fmla="*/ 11 h 1181"/>
                <a:gd name="T54" fmla="*/ 632 w 838"/>
                <a:gd name="T55" fmla="*/ 46 h 1181"/>
                <a:gd name="T56" fmla="*/ 716 w 838"/>
                <a:gd name="T57" fmla="*/ 107 h 1181"/>
                <a:gd name="T58" fmla="*/ 788 w 838"/>
                <a:gd name="T59" fmla="*/ 198 h 1181"/>
                <a:gd name="T60" fmla="*/ 586 w 838"/>
                <a:gd name="T61" fmla="*/ 302 h 1181"/>
                <a:gd name="T62" fmla="*/ 551 w 838"/>
                <a:gd name="T63" fmla="*/ 263 h 1181"/>
                <a:gd name="T64" fmla="*/ 509 w 838"/>
                <a:gd name="T65" fmla="*/ 238 h 1181"/>
                <a:gd name="T66" fmla="*/ 461 w 838"/>
                <a:gd name="T67" fmla="*/ 226 h 1181"/>
                <a:gd name="T68" fmla="*/ 422 w 838"/>
                <a:gd name="T69" fmla="*/ 224 h 1181"/>
                <a:gd name="T70" fmla="*/ 375 w 838"/>
                <a:gd name="T71" fmla="*/ 234 h 1181"/>
                <a:gd name="T72" fmla="*/ 338 w 838"/>
                <a:gd name="T73" fmla="*/ 254 h 1181"/>
                <a:gd name="T74" fmla="*/ 313 w 838"/>
                <a:gd name="T75" fmla="*/ 286 h 1181"/>
                <a:gd name="T76" fmla="*/ 308 w 838"/>
                <a:gd name="T77" fmla="*/ 316 h 1181"/>
                <a:gd name="T78" fmla="*/ 315 w 838"/>
                <a:gd name="T79" fmla="*/ 356 h 1181"/>
                <a:gd name="T80" fmla="*/ 341 w 838"/>
                <a:gd name="T81" fmla="*/ 391 h 1181"/>
                <a:gd name="T82" fmla="*/ 386 w 838"/>
                <a:gd name="T83" fmla="*/ 423 h 1181"/>
                <a:gd name="T84" fmla="*/ 538 w 838"/>
                <a:gd name="T85" fmla="*/ 485 h 1181"/>
                <a:gd name="T86" fmla="*/ 636 w 838"/>
                <a:gd name="T87" fmla="*/ 531 h 1181"/>
                <a:gd name="T88" fmla="*/ 740 w 838"/>
                <a:gd name="T89" fmla="*/ 603 h 1181"/>
                <a:gd name="T90" fmla="*/ 786 w 838"/>
                <a:gd name="T91" fmla="*/ 657 h 1181"/>
                <a:gd name="T92" fmla="*/ 813 w 838"/>
                <a:gd name="T93" fmla="*/ 706 h 1181"/>
                <a:gd name="T94" fmla="*/ 830 w 838"/>
                <a:gd name="T95" fmla="*/ 762 h 1181"/>
                <a:gd name="T96" fmla="*/ 837 w 838"/>
                <a:gd name="T97" fmla="*/ 823 h 1181"/>
                <a:gd name="T98" fmla="*/ 836 w 838"/>
                <a:gd name="T99" fmla="*/ 876 h 1181"/>
                <a:gd name="T100" fmla="*/ 821 w 838"/>
                <a:gd name="T101" fmla="*/ 946 h 1181"/>
                <a:gd name="T102" fmla="*/ 792 w 838"/>
                <a:gd name="T103" fmla="*/ 1008 h 1181"/>
                <a:gd name="T104" fmla="*/ 749 w 838"/>
                <a:gd name="T105" fmla="*/ 1062 h 1181"/>
                <a:gd name="T106" fmla="*/ 696 w 838"/>
                <a:gd name="T107" fmla="*/ 1107 h 1181"/>
                <a:gd name="T108" fmla="*/ 630 w 838"/>
                <a:gd name="T109" fmla="*/ 1142 h 1181"/>
                <a:gd name="T110" fmla="*/ 555 w 838"/>
                <a:gd name="T111" fmla="*/ 1167 h 1181"/>
                <a:gd name="T112" fmla="*/ 472 w 838"/>
                <a:gd name="T113" fmla="*/ 1179 h 1181"/>
                <a:gd name="T114" fmla="*/ 393 w 838"/>
                <a:gd name="T115" fmla="*/ 1180 h 1181"/>
                <a:gd name="T116" fmla="*/ 267 w 838"/>
                <a:gd name="T117" fmla="*/ 1159 h 1181"/>
                <a:gd name="T118" fmla="*/ 154 w 838"/>
                <a:gd name="T119" fmla="*/ 1108 h 1181"/>
                <a:gd name="T120" fmla="*/ 58 w 838"/>
                <a:gd name="T121" fmla="*/ 1029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38" h="1181">
                  <a:moveTo>
                    <a:pt x="0" y="948"/>
                  </a:moveTo>
                  <a:lnTo>
                    <a:pt x="193" y="810"/>
                  </a:lnTo>
                  <a:lnTo>
                    <a:pt x="193" y="810"/>
                  </a:lnTo>
                  <a:lnTo>
                    <a:pt x="203" y="827"/>
                  </a:lnTo>
                  <a:lnTo>
                    <a:pt x="213" y="844"/>
                  </a:lnTo>
                  <a:lnTo>
                    <a:pt x="225" y="858"/>
                  </a:lnTo>
                  <a:lnTo>
                    <a:pt x="236" y="872"/>
                  </a:lnTo>
                  <a:lnTo>
                    <a:pt x="248" y="885"/>
                  </a:lnTo>
                  <a:lnTo>
                    <a:pt x="261" y="898"/>
                  </a:lnTo>
                  <a:lnTo>
                    <a:pt x="274" y="909"/>
                  </a:lnTo>
                  <a:lnTo>
                    <a:pt x="287" y="918"/>
                  </a:lnTo>
                  <a:lnTo>
                    <a:pt x="302" y="927"/>
                  </a:lnTo>
                  <a:lnTo>
                    <a:pt x="317" y="935"/>
                  </a:lnTo>
                  <a:lnTo>
                    <a:pt x="332" y="942"/>
                  </a:lnTo>
                  <a:lnTo>
                    <a:pt x="350" y="947"/>
                  </a:lnTo>
                  <a:lnTo>
                    <a:pt x="367" y="951"/>
                  </a:lnTo>
                  <a:lnTo>
                    <a:pt x="386" y="954"/>
                  </a:lnTo>
                  <a:lnTo>
                    <a:pt x="406" y="956"/>
                  </a:lnTo>
                  <a:lnTo>
                    <a:pt x="427" y="956"/>
                  </a:lnTo>
                  <a:lnTo>
                    <a:pt x="427" y="956"/>
                  </a:lnTo>
                  <a:lnTo>
                    <a:pt x="443" y="956"/>
                  </a:lnTo>
                  <a:lnTo>
                    <a:pt x="459" y="955"/>
                  </a:lnTo>
                  <a:lnTo>
                    <a:pt x="473" y="952"/>
                  </a:lnTo>
                  <a:lnTo>
                    <a:pt x="486" y="949"/>
                  </a:lnTo>
                  <a:lnTo>
                    <a:pt x="500" y="945"/>
                  </a:lnTo>
                  <a:lnTo>
                    <a:pt x="512" y="940"/>
                  </a:lnTo>
                  <a:lnTo>
                    <a:pt x="523" y="934"/>
                  </a:lnTo>
                  <a:lnTo>
                    <a:pt x="534" y="927"/>
                  </a:lnTo>
                  <a:lnTo>
                    <a:pt x="543" y="919"/>
                  </a:lnTo>
                  <a:lnTo>
                    <a:pt x="550" y="912"/>
                  </a:lnTo>
                  <a:lnTo>
                    <a:pt x="557" y="903"/>
                  </a:lnTo>
                  <a:lnTo>
                    <a:pt x="563" y="894"/>
                  </a:lnTo>
                  <a:lnTo>
                    <a:pt x="567" y="883"/>
                  </a:lnTo>
                  <a:lnTo>
                    <a:pt x="572" y="873"/>
                  </a:lnTo>
                  <a:lnTo>
                    <a:pt x="574" y="863"/>
                  </a:lnTo>
                  <a:lnTo>
                    <a:pt x="574" y="851"/>
                  </a:lnTo>
                  <a:lnTo>
                    <a:pt x="574" y="851"/>
                  </a:lnTo>
                  <a:lnTo>
                    <a:pt x="574" y="839"/>
                  </a:lnTo>
                  <a:lnTo>
                    <a:pt x="572" y="827"/>
                  </a:lnTo>
                  <a:lnTo>
                    <a:pt x="568" y="817"/>
                  </a:lnTo>
                  <a:lnTo>
                    <a:pt x="564" y="806"/>
                  </a:lnTo>
                  <a:lnTo>
                    <a:pt x="559" y="796"/>
                  </a:lnTo>
                  <a:lnTo>
                    <a:pt x="553" y="786"/>
                  </a:lnTo>
                  <a:lnTo>
                    <a:pt x="546" y="777"/>
                  </a:lnTo>
                  <a:lnTo>
                    <a:pt x="537" y="769"/>
                  </a:lnTo>
                  <a:lnTo>
                    <a:pt x="526" y="761"/>
                  </a:lnTo>
                  <a:lnTo>
                    <a:pt x="515" y="752"/>
                  </a:lnTo>
                  <a:lnTo>
                    <a:pt x="503" y="744"/>
                  </a:lnTo>
                  <a:lnTo>
                    <a:pt x="488" y="736"/>
                  </a:lnTo>
                  <a:lnTo>
                    <a:pt x="473" y="729"/>
                  </a:lnTo>
                  <a:lnTo>
                    <a:pt x="457" y="722"/>
                  </a:lnTo>
                  <a:lnTo>
                    <a:pt x="420" y="706"/>
                  </a:lnTo>
                  <a:lnTo>
                    <a:pt x="340" y="675"/>
                  </a:lnTo>
                  <a:lnTo>
                    <a:pt x="340" y="675"/>
                  </a:lnTo>
                  <a:lnTo>
                    <a:pt x="305" y="660"/>
                  </a:lnTo>
                  <a:lnTo>
                    <a:pt x="272" y="644"/>
                  </a:lnTo>
                  <a:lnTo>
                    <a:pt x="241" y="628"/>
                  </a:lnTo>
                  <a:lnTo>
                    <a:pt x="213" y="609"/>
                  </a:lnTo>
                  <a:lnTo>
                    <a:pt x="188" y="591"/>
                  </a:lnTo>
                  <a:lnTo>
                    <a:pt x="165" y="571"/>
                  </a:lnTo>
                  <a:lnTo>
                    <a:pt x="145" y="550"/>
                  </a:lnTo>
                  <a:lnTo>
                    <a:pt x="126" y="529"/>
                  </a:lnTo>
                  <a:lnTo>
                    <a:pt x="110" y="506"/>
                  </a:lnTo>
                  <a:lnTo>
                    <a:pt x="96" y="482"/>
                  </a:lnTo>
                  <a:lnTo>
                    <a:pt x="85" y="458"/>
                  </a:lnTo>
                  <a:lnTo>
                    <a:pt x="76" y="432"/>
                  </a:lnTo>
                  <a:lnTo>
                    <a:pt x="69" y="406"/>
                  </a:lnTo>
                  <a:lnTo>
                    <a:pt x="64" y="379"/>
                  </a:lnTo>
                  <a:lnTo>
                    <a:pt x="61" y="351"/>
                  </a:lnTo>
                  <a:lnTo>
                    <a:pt x="60" y="322"/>
                  </a:lnTo>
                  <a:lnTo>
                    <a:pt x="60" y="322"/>
                  </a:lnTo>
                  <a:lnTo>
                    <a:pt x="60" y="305"/>
                  </a:lnTo>
                  <a:lnTo>
                    <a:pt x="62" y="288"/>
                  </a:lnTo>
                  <a:lnTo>
                    <a:pt x="64" y="272"/>
                  </a:lnTo>
                  <a:lnTo>
                    <a:pt x="67" y="255"/>
                  </a:lnTo>
                  <a:lnTo>
                    <a:pt x="71" y="239"/>
                  </a:lnTo>
                  <a:lnTo>
                    <a:pt x="75" y="224"/>
                  </a:lnTo>
                  <a:lnTo>
                    <a:pt x="81" y="208"/>
                  </a:lnTo>
                  <a:lnTo>
                    <a:pt x="87" y="193"/>
                  </a:lnTo>
                  <a:lnTo>
                    <a:pt x="94" y="179"/>
                  </a:lnTo>
                  <a:lnTo>
                    <a:pt x="102" y="165"/>
                  </a:lnTo>
                  <a:lnTo>
                    <a:pt x="111" y="152"/>
                  </a:lnTo>
                  <a:lnTo>
                    <a:pt x="120" y="139"/>
                  </a:lnTo>
                  <a:lnTo>
                    <a:pt x="130" y="126"/>
                  </a:lnTo>
                  <a:lnTo>
                    <a:pt x="141" y="114"/>
                  </a:lnTo>
                  <a:lnTo>
                    <a:pt x="152" y="102"/>
                  </a:lnTo>
                  <a:lnTo>
                    <a:pt x="164" y="91"/>
                  </a:lnTo>
                  <a:lnTo>
                    <a:pt x="176" y="81"/>
                  </a:lnTo>
                  <a:lnTo>
                    <a:pt x="190" y="70"/>
                  </a:lnTo>
                  <a:lnTo>
                    <a:pt x="204" y="61"/>
                  </a:lnTo>
                  <a:lnTo>
                    <a:pt x="219" y="53"/>
                  </a:lnTo>
                  <a:lnTo>
                    <a:pt x="233" y="45"/>
                  </a:lnTo>
                  <a:lnTo>
                    <a:pt x="248" y="37"/>
                  </a:lnTo>
                  <a:lnTo>
                    <a:pt x="265" y="30"/>
                  </a:lnTo>
                  <a:lnTo>
                    <a:pt x="281" y="23"/>
                  </a:lnTo>
                  <a:lnTo>
                    <a:pt x="299" y="18"/>
                  </a:lnTo>
                  <a:lnTo>
                    <a:pt x="316" y="13"/>
                  </a:lnTo>
                  <a:lnTo>
                    <a:pt x="333" y="9"/>
                  </a:lnTo>
                  <a:lnTo>
                    <a:pt x="352" y="6"/>
                  </a:lnTo>
                  <a:lnTo>
                    <a:pt x="370" y="3"/>
                  </a:lnTo>
                  <a:lnTo>
                    <a:pt x="390" y="1"/>
                  </a:lnTo>
                  <a:lnTo>
                    <a:pt x="409" y="0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57" y="0"/>
                  </a:lnTo>
                  <a:lnTo>
                    <a:pt x="483" y="2"/>
                  </a:lnTo>
                  <a:lnTo>
                    <a:pt x="510" y="6"/>
                  </a:lnTo>
                  <a:lnTo>
                    <a:pt x="536" y="11"/>
                  </a:lnTo>
                  <a:lnTo>
                    <a:pt x="560" y="17"/>
                  </a:lnTo>
                  <a:lnTo>
                    <a:pt x="585" y="25"/>
                  </a:lnTo>
                  <a:lnTo>
                    <a:pt x="608" y="35"/>
                  </a:lnTo>
                  <a:lnTo>
                    <a:pt x="632" y="46"/>
                  </a:lnTo>
                  <a:lnTo>
                    <a:pt x="654" y="59"/>
                  </a:lnTo>
                  <a:lnTo>
                    <a:pt x="675" y="73"/>
                  </a:lnTo>
                  <a:lnTo>
                    <a:pt x="697" y="90"/>
                  </a:lnTo>
                  <a:lnTo>
                    <a:pt x="716" y="107"/>
                  </a:lnTo>
                  <a:lnTo>
                    <a:pt x="736" y="128"/>
                  </a:lnTo>
                  <a:lnTo>
                    <a:pt x="754" y="149"/>
                  </a:lnTo>
                  <a:lnTo>
                    <a:pt x="772" y="173"/>
                  </a:lnTo>
                  <a:lnTo>
                    <a:pt x="788" y="198"/>
                  </a:lnTo>
                  <a:lnTo>
                    <a:pt x="601" y="327"/>
                  </a:lnTo>
                  <a:lnTo>
                    <a:pt x="601" y="327"/>
                  </a:lnTo>
                  <a:lnTo>
                    <a:pt x="594" y="314"/>
                  </a:lnTo>
                  <a:lnTo>
                    <a:pt x="586" y="302"/>
                  </a:lnTo>
                  <a:lnTo>
                    <a:pt x="578" y="291"/>
                  </a:lnTo>
                  <a:lnTo>
                    <a:pt x="569" y="281"/>
                  </a:lnTo>
                  <a:lnTo>
                    <a:pt x="560" y="272"/>
                  </a:lnTo>
                  <a:lnTo>
                    <a:pt x="551" y="263"/>
                  </a:lnTo>
                  <a:lnTo>
                    <a:pt x="541" y="255"/>
                  </a:lnTo>
                  <a:lnTo>
                    <a:pt x="530" y="248"/>
                  </a:lnTo>
                  <a:lnTo>
                    <a:pt x="520" y="243"/>
                  </a:lnTo>
                  <a:lnTo>
                    <a:pt x="509" y="238"/>
                  </a:lnTo>
                  <a:lnTo>
                    <a:pt x="498" y="233"/>
                  </a:lnTo>
                  <a:lnTo>
                    <a:pt x="485" y="230"/>
                  </a:lnTo>
                  <a:lnTo>
                    <a:pt x="473" y="227"/>
                  </a:lnTo>
                  <a:lnTo>
                    <a:pt x="461" y="226"/>
                  </a:lnTo>
                  <a:lnTo>
                    <a:pt x="447" y="224"/>
                  </a:lnTo>
                  <a:lnTo>
                    <a:pt x="434" y="224"/>
                  </a:lnTo>
                  <a:lnTo>
                    <a:pt x="434" y="224"/>
                  </a:lnTo>
                  <a:lnTo>
                    <a:pt x="422" y="224"/>
                  </a:lnTo>
                  <a:lnTo>
                    <a:pt x="409" y="226"/>
                  </a:lnTo>
                  <a:lnTo>
                    <a:pt x="397" y="228"/>
                  </a:lnTo>
                  <a:lnTo>
                    <a:pt x="386" y="230"/>
                  </a:lnTo>
                  <a:lnTo>
                    <a:pt x="375" y="234"/>
                  </a:lnTo>
                  <a:lnTo>
                    <a:pt x="364" y="238"/>
                  </a:lnTo>
                  <a:lnTo>
                    <a:pt x="355" y="242"/>
                  </a:lnTo>
                  <a:lnTo>
                    <a:pt x="346" y="248"/>
                  </a:lnTo>
                  <a:lnTo>
                    <a:pt x="338" y="254"/>
                  </a:lnTo>
                  <a:lnTo>
                    <a:pt x="329" y="262"/>
                  </a:lnTo>
                  <a:lnTo>
                    <a:pt x="323" y="269"/>
                  </a:lnTo>
                  <a:lnTo>
                    <a:pt x="318" y="277"/>
                  </a:lnTo>
                  <a:lnTo>
                    <a:pt x="313" y="286"/>
                  </a:lnTo>
                  <a:lnTo>
                    <a:pt x="310" y="295"/>
                  </a:lnTo>
                  <a:lnTo>
                    <a:pt x="308" y="305"/>
                  </a:lnTo>
                  <a:lnTo>
                    <a:pt x="308" y="316"/>
                  </a:lnTo>
                  <a:lnTo>
                    <a:pt x="308" y="316"/>
                  </a:lnTo>
                  <a:lnTo>
                    <a:pt x="308" y="326"/>
                  </a:lnTo>
                  <a:lnTo>
                    <a:pt x="309" y="336"/>
                  </a:lnTo>
                  <a:lnTo>
                    <a:pt x="312" y="346"/>
                  </a:lnTo>
                  <a:lnTo>
                    <a:pt x="315" y="356"/>
                  </a:lnTo>
                  <a:lnTo>
                    <a:pt x="320" y="365"/>
                  </a:lnTo>
                  <a:lnTo>
                    <a:pt x="325" y="374"/>
                  </a:lnTo>
                  <a:lnTo>
                    <a:pt x="332" y="383"/>
                  </a:lnTo>
                  <a:lnTo>
                    <a:pt x="341" y="391"/>
                  </a:lnTo>
                  <a:lnTo>
                    <a:pt x="350" y="400"/>
                  </a:lnTo>
                  <a:lnTo>
                    <a:pt x="360" y="408"/>
                  </a:lnTo>
                  <a:lnTo>
                    <a:pt x="372" y="415"/>
                  </a:lnTo>
                  <a:lnTo>
                    <a:pt x="386" y="423"/>
                  </a:lnTo>
                  <a:lnTo>
                    <a:pt x="401" y="431"/>
                  </a:lnTo>
                  <a:lnTo>
                    <a:pt x="418" y="439"/>
                  </a:lnTo>
                  <a:lnTo>
                    <a:pt x="455" y="455"/>
                  </a:lnTo>
                  <a:lnTo>
                    <a:pt x="538" y="485"/>
                  </a:lnTo>
                  <a:lnTo>
                    <a:pt x="538" y="485"/>
                  </a:lnTo>
                  <a:lnTo>
                    <a:pt x="573" y="499"/>
                  </a:lnTo>
                  <a:lnTo>
                    <a:pt x="605" y="514"/>
                  </a:lnTo>
                  <a:lnTo>
                    <a:pt x="636" y="531"/>
                  </a:lnTo>
                  <a:lnTo>
                    <a:pt x="666" y="547"/>
                  </a:lnTo>
                  <a:lnTo>
                    <a:pt x="693" y="564"/>
                  </a:lnTo>
                  <a:lnTo>
                    <a:pt x="717" y="583"/>
                  </a:lnTo>
                  <a:lnTo>
                    <a:pt x="740" y="603"/>
                  </a:lnTo>
                  <a:lnTo>
                    <a:pt x="760" y="624"/>
                  </a:lnTo>
                  <a:lnTo>
                    <a:pt x="770" y="635"/>
                  </a:lnTo>
                  <a:lnTo>
                    <a:pt x="778" y="645"/>
                  </a:lnTo>
                  <a:lnTo>
                    <a:pt x="786" y="657"/>
                  </a:lnTo>
                  <a:lnTo>
                    <a:pt x="794" y="669"/>
                  </a:lnTo>
                  <a:lnTo>
                    <a:pt x="800" y="681"/>
                  </a:lnTo>
                  <a:lnTo>
                    <a:pt x="808" y="693"/>
                  </a:lnTo>
                  <a:lnTo>
                    <a:pt x="813" y="706"/>
                  </a:lnTo>
                  <a:lnTo>
                    <a:pt x="818" y="720"/>
                  </a:lnTo>
                  <a:lnTo>
                    <a:pt x="823" y="733"/>
                  </a:lnTo>
                  <a:lnTo>
                    <a:pt x="827" y="747"/>
                  </a:lnTo>
                  <a:lnTo>
                    <a:pt x="830" y="762"/>
                  </a:lnTo>
                  <a:lnTo>
                    <a:pt x="833" y="776"/>
                  </a:lnTo>
                  <a:lnTo>
                    <a:pt x="835" y="791"/>
                  </a:lnTo>
                  <a:lnTo>
                    <a:pt x="837" y="807"/>
                  </a:lnTo>
                  <a:lnTo>
                    <a:pt x="837" y="823"/>
                  </a:lnTo>
                  <a:lnTo>
                    <a:pt x="838" y="839"/>
                  </a:lnTo>
                  <a:lnTo>
                    <a:pt x="838" y="839"/>
                  </a:lnTo>
                  <a:lnTo>
                    <a:pt x="837" y="859"/>
                  </a:lnTo>
                  <a:lnTo>
                    <a:pt x="836" y="876"/>
                  </a:lnTo>
                  <a:lnTo>
                    <a:pt x="834" y="895"/>
                  </a:lnTo>
                  <a:lnTo>
                    <a:pt x="830" y="912"/>
                  </a:lnTo>
                  <a:lnTo>
                    <a:pt x="826" y="929"/>
                  </a:lnTo>
                  <a:lnTo>
                    <a:pt x="821" y="946"/>
                  </a:lnTo>
                  <a:lnTo>
                    <a:pt x="815" y="962"/>
                  </a:lnTo>
                  <a:lnTo>
                    <a:pt x="809" y="979"/>
                  </a:lnTo>
                  <a:lnTo>
                    <a:pt x="800" y="993"/>
                  </a:lnTo>
                  <a:lnTo>
                    <a:pt x="792" y="1008"/>
                  </a:lnTo>
                  <a:lnTo>
                    <a:pt x="782" y="1022"/>
                  </a:lnTo>
                  <a:lnTo>
                    <a:pt x="773" y="1036"/>
                  </a:lnTo>
                  <a:lnTo>
                    <a:pt x="761" y="1049"/>
                  </a:lnTo>
                  <a:lnTo>
                    <a:pt x="749" y="1062"/>
                  </a:lnTo>
                  <a:lnTo>
                    <a:pt x="737" y="1075"/>
                  </a:lnTo>
                  <a:lnTo>
                    <a:pt x="723" y="1086"/>
                  </a:lnTo>
                  <a:lnTo>
                    <a:pt x="710" y="1097"/>
                  </a:lnTo>
                  <a:lnTo>
                    <a:pt x="696" y="1107"/>
                  </a:lnTo>
                  <a:lnTo>
                    <a:pt x="680" y="1117"/>
                  </a:lnTo>
                  <a:lnTo>
                    <a:pt x="664" y="1126"/>
                  </a:lnTo>
                  <a:lnTo>
                    <a:pt x="647" y="1135"/>
                  </a:lnTo>
                  <a:lnTo>
                    <a:pt x="630" y="1142"/>
                  </a:lnTo>
                  <a:lnTo>
                    <a:pt x="613" y="1149"/>
                  </a:lnTo>
                  <a:lnTo>
                    <a:pt x="594" y="1155"/>
                  </a:lnTo>
                  <a:lnTo>
                    <a:pt x="575" y="1162"/>
                  </a:lnTo>
                  <a:lnTo>
                    <a:pt x="555" y="1167"/>
                  </a:lnTo>
                  <a:lnTo>
                    <a:pt x="536" y="1171"/>
                  </a:lnTo>
                  <a:lnTo>
                    <a:pt x="514" y="1175"/>
                  </a:lnTo>
                  <a:lnTo>
                    <a:pt x="494" y="1177"/>
                  </a:lnTo>
                  <a:lnTo>
                    <a:pt x="472" y="1179"/>
                  </a:lnTo>
                  <a:lnTo>
                    <a:pt x="449" y="1180"/>
                  </a:lnTo>
                  <a:lnTo>
                    <a:pt x="427" y="1181"/>
                  </a:lnTo>
                  <a:lnTo>
                    <a:pt x="427" y="1181"/>
                  </a:lnTo>
                  <a:lnTo>
                    <a:pt x="393" y="1180"/>
                  </a:lnTo>
                  <a:lnTo>
                    <a:pt x="360" y="1177"/>
                  </a:lnTo>
                  <a:lnTo>
                    <a:pt x="328" y="1173"/>
                  </a:lnTo>
                  <a:lnTo>
                    <a:pt x="297" y="1167"/>
                  </a:lnTo>
                  <a:lnTo>
                    <a:pt x="267" y="1159"/>
                  </a:lnTo>
                  <a:lnTo>
                    <a:pt x="237" y="1149"/>
                  </a:lnTo>
                  <a:lnTo>
                    <a:pt x="208" y="1138"/>
                  </a:lnTo>
                  <a:lnTo>
                    <a:pt x="181" y="1124"/>
                  </a:lnTo>
                  <a:lnTo>
                    <a:pt x="154" y="1108"/>
                  </a:lnTo>
                  <a:lnTo>
                    <a:pt x="128" y="1092"/>
                  </a:lnTo>
                  <a:lnTo>
                    <a:pt x="104" y="1073"/>
                  </a:lnTo>
                  <a:lnTo>
                    <a:pt x="81" y="1051"/>
                  </a:lnTo>
                  <a:lnTo>
                    <a:pt x="58" y="1029"/>
                  </a:lnTo>
                  <a:lnTo>
                    <a:pt x="38" y="1003"/>
                  </a:lnTo>
                  <a:lnTo>
                    <a:pt x="17" y="976"/>
                  </a:lnTo>
                  <a:lnTo>
                    <a:pt x="0" y="948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 userDrawn="1"/>
          </p:nvSpPr>
          <p:spPr bwMode="auto">
            <a:xfrm>
              <a:off x="253" y="4101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8"/>
            <p:cNvSpPr>
              <a:spLocks/>
            </p:cNvSpPr>
            <p:nvPr userDrawn="1"/>
          </p:nvSpPr>
          <p:spPr bwMode="auto">
            <a:xfrm>
              <a:off x="253" y="4101"/>
              <a:ext cx="69" cy="79"/>
            </a:xfrm>
            <a:custGeom>
              <a:avLst/>
              <a:gdLst>
                <a:gd name="T0" fmla="*/ 2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2 w 1031"/>
                <a:gd name="T7" fmla="*/ 211 h 1181"/>
                <a:gd name="T8" fmla="*/ 211 w 1031"/>
                <a:gd name="T9" fmla="*/ 132 h 1181"/>
                <a:gd name="T10" fmla="*/ 304 w 1031"/>
                <a:gd name="T11" fmla="*/ 69 h 1181"/>
                <a:gd name="T12" fmla="*/ 412 w 1031"/>
                <a:gd name="T13" fmla="*/ 25 h 1181"/>
                <a:gd name="T14" fmla="*/ 530 w 1031"/>
                <a:gd name="T15" fmla="*/ 3 h 1181"/>
                <a:gd name="T16" fmla="*/ 626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2 w 1031"/>
                <a:gd name="T27" fmla="*/ 329 h 1181"/>
                <a:gd name="T28" fmla="*/ 765 w 1031"/>
                <a:gd name="T29" fmla="*/ 288 h 1181"/>
                <a:gd name="T30" fmla="*/ 695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90 w 1031"/>
                <a:gd name="T37" fmla="*/ 260 h 1181"/>
                <a:gd name="T38" fmla="*/ 429 w 1031"/>
                <a:gd name="T39" fmla="*/ 284 h 1181"/>
                <a:gd name="T40" fmla="*/ 376 w 1031"/>
                <a:gd name="T41" fmla="*/ 321 h 1181"/>
                <a:gd name="T42" fmla="*/ 332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1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5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9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2 w 1031"/>
                <a:gd name="T91" fmla="*/ 1065 h 1181"/>
                <a:gd name="T92" fmla="*/ 149 w 1031"/>
                <a:gd name="T93" fmla="*/ 991 h 1181"/>
                <a:gd name="T94" fmla="*/ 82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0" y="559"/>
                  </a:lnTo>
                  <a:lnTo>
                    <a:pt x="2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8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7" y="330"/>
                  </a:lnTo>
                  <a:lnTo>
                    <a:pt x="69" y="305"/>
                  </a:lnTo>
                  <a:lnTo>
                    <a:pt x="82" y="280"/>
                  </a:lnTo>
                  <a:lnTo>
                    <a:pt x="98" y="256"/>
                  </a:lnTo>
                  <a:lnTo>
                    <a:pt x="114" y="233"/>
                  </a:lnTo>
                  <a:lnTo>
                    <a:pt x="132" y="211"/>
                  </a:lnTo>
                  <a:lnTo>
                    <a:pt x="149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1" y="132"/>
                  </a:lnTo>
                  <a:lnTo>
                    <a:pt x="232" y="114"/>
                  </a:lnTo>
                  <a:lnTo>
                    <a:pt x="256" y="98"/>
                  </a:lnTo>
                  <a:lnTo>
                    <a:pt x="279" y="83"/>
                  </a:lnTo>
                  <a:lnTo>
                    <a:pt x="304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2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499" y="6"/>
                  </a:lnTo>
                  <a:lnTo>
                    <a:pt x="530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6" y="0"/>
                  </a:lnTo>
                  <a:lnTo>
                    <a:pt x="660" y="3"/>
                  </a:lnTo>
                  <a:lnTo>
                    <a:pt x="692" y="7"/>
                  </a:lnTo>
                  <a:lnTo>
                    <a:pt x="724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2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20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8" y="353"/>
                  </a:lnTo>
                  <a:lnTo>
                    <a:pt x="835" y="340"/>
                  </a:lnTo>
                  <a:lnTo>
                    <a:pt x="822" y="329"/>
                  </a:lnTo>
                  <a:lnTo>
                    <a:pt x="809" y="318"/>
                  </a:lnTo>
                  <a:lnTo>
                    <a:pt x="794" y="308"/>
                  </a:lnTo>
                  <a:lnTo>
                    <a:pt x="780" y="297"/>
                  </a:lnTo>
                  <a:lnTo>
                    <a:pt x="765" y="288"/>
                  </a:lnTo>
                  <a:lnTo>
                    <a:pt x="748" y="279"/>
                  </a:lnTo>
                  <a:lnTo>
                    <a:pt x="731" y="272"/>
                  </a:lnTo>
                  <a:lnTo>
                    <a:pt x="713" y="265"/>
                  </a:lnTo>
                  <a:lnTo>
                    <a:pt x="695" y="259"/>
                  </a:lnTo>
                  <a:lnTo>
                    <a:pt x="676" y="253"/>
                  </a:lnTo>
                  <a:lnTo>
                    <a:pt x="656" y="249"/>
                  </a:lnTo>
                  <a:lnTo>
                    <a:pt x="635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5" y="254"/>
                  </a:lnTo>
                  <a:lnTo>
                    <a:pt x="490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5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6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2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1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1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2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6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5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90" y="921"/>
                  </a:lnTo>
                  <a:lnTo>
                    <a:pt x="505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5" y="934"/>
                  </a:lnTo>
                  <a:lnTo>
                    <a:pt x="656" y="930"/>
                  </a:lnTo>
                  <a:lnTo>
                    <a:pt x="676" y="926"/>
                  </a:lnTo>
                  <a:lnTo>
                    <a:pt x="695" y="921"/>
                  </a:lnTo>
                  <a:lnTo>
                    <a:pt x="713" y="915"/>
                  </a:lnTo>
                  <a:lnTo>
                    <a:pt x="731" y="909"/>
                  </a:lnTo>
                  <a:lnTo>
                    <a:pt x="748" y="901"/>
                  </a:lnTo>
                  <a:lnTo>
                    <a:pt x="765" y="893"/>
                  </a:lnTo>
                  <a:lnTo>
                    <a:pt x="780" y="883"/>
                  </a:lnTo>
                  <a:lnTo>
                    <a:pt x="794" y="873"/>
                  </a:lnTo>
                  <a:lnTo>
                    <a:pt x="809" y="863"/>
                  </a:lnTo>
                  <a:lnTo>
                    <a:pt x="822" y="852"/>
                  </a:lnTo>
                  <a:lnTo>
                    <a:pt x="835" y="839"/>
                  </a:lnTo>
                  <a:lnTo>
                    <a:pt x="848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20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2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4" y="1168"/>
                  </a:lnTo>
                  <a:lnTo>
                    <a:pt x="692" y="1173"/>
                  </a:lnTo>
                  <a:lnTo>
                    <a:pt x="660" y="1177"/>
                  </a:lnTo>
                  <a:lnTo>
                    <a:pt x="626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30" y="1178"/>
                  </a:lnTo>
                  <a:lnTo>
                    <a:pt x="499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2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79" y="1097"/>
                  </a:lnTo>
                  <a:lnTo>
                    <a:pt x="256" y="1082"/>
                  </a:lnTo>
                  <a:lnTo>
                    <a:pt x="232" y="1065"/>
                  </a:lnTo>
                  <a:lnTo>
                    <a:pt x="211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2" y="969"/>
                  </a:lnTo>
                  <a:lnTo>
                    <a:pt x="114" y="947"/>
                  </a:lnTo>
                  <a:lnTo>
                    <a:pt x="98" y="924"/>
                  </a:lnTo>
                  <a:lnTo>
                    <a:pt x="82" y="900"/>
                  </a:lnTo>
                  <a:lnTo>
                    <a:pt x="69" y="875"/>
                  </a:lnTo>
                  <a:lnTo>
                    <a:pt x="57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8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2" y="652"/>
                  </a:lnTo>
                  <a:lnTo>
                    <a:pt x="0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auto">
            <a:xfrm>
              <a:off x="351" y="4139"/>
              <a:ext cx="59" cy="41"/>
            </a:xfrm>
            <a:custGeom>
              <a:avLst/>
              <a:gdLst>
                <a:gd name="T0" fmla="*/ 884 w 884"/>
                <a:gd name="T1" fmla="*/ 618 h 618"/>
                <a:gd name="T2" fmla="*/ 339 w 884"/>
                <a:gd name="T3" fmla="*/ 0 h 618"/>
                <a:gd name="T4" fmla="*/ 0 w 884"/>
                <a:gd name="T5" fmla="*/ 0 h 618"/>
                <a:gd name="T6" fmla="*/ 539 w 884"/>
                <a:gd name="T7" fmla="*/ 618 h 618"/>
                <a:gd name="T8" fmla="*/ 884 w 884"/>
                <a:gd name="T9" fmla="*/ 618 h 6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84" h="618">
                  <a:moveTo>
                    <a:pt x="884" y="618"/>
                  </a:moveTo>
                  <a:lnTo>
                    <a:pt x="339" y="0"/>
                  </a:lnTo>
                  <a:lnTo>
                    <a:pt x="0" y="0"/>
                  </a:lnTo>
                  <a:lnTo>
                    <a:pt x="539" y="618"/>
                  </a:lnTo>
                  <a:lnTo>
                    <a:pt x="884" y="6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 userDrawn="1"/>
          </p:nvSpPr>
          <p:spPr bwMode="auto">
            <a:xfrm>
              <a:off x="330" y="4075"/>
              <a:ext cx="17" cy="105"/>
            </a:xfrm>
            <a:custGeom>
              <a:avLst/>
              <a:gdLst>
                <a:gd name="T0" fmla="*/ 0 w 253"/>
                <a:gd name="T1" fmla="*/ 0 h 1572"/>
                <a:gd name="T2" fmla="*/ 0 w 253"/>
                <a:gd name="T3" fmla="*/ 1572 h 1572"/>
                <a:gd name="T4" fmla="*/ 253 w 253"/>
                <a:gd name="T5" fmla="*/ 1572 h 1572"/>
                <a:gd name="T6" fmla="*/ 253 w 253"/>
                <a:gd name="T7" fmla="*/ 999 h 1572"/>
                <a:gd name="T8" fmla="*/ 253 w 253"/>
                <a:gd name="T9" fmla="*/ 1000 h 1572"/>
                <a:gd name="T10" fmla="*/ 253 w 253"/>
                <a:gd name="T11" fmla="*/ 941 h 1572"/>
                <a:gd name="T12" fmla="*/ 253 w 253"/>
                <a:gd name="T13" fmla="*/ 942 h 1572"/>
                <a:gd name="T14" fmla="*/ 253 w 253"/>
                <a:gd name="T15" fmla="*/ 0 h 1572"/>
                <a:gd name="T16" fmla="*/ 0 w 253"/>
                <a:gd name="T17" fmla="*/ 0 h 15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3" h="1572">
                  <a:moveTo>
                    <a:pt x="0" y="0"/>
                  </a:moveTo>
                  <a:lnTo>
                    <a:pt x="0" y="1572"/>
                  </a:lnTo>
                  <a:lnTo>
                    <a:pt x="253" y="1572"/>
                  </a:lnTo>
                  <a:lnTo>
                    <a:pt x="253" y="999"/>
                  </a:lnTo>
                  <a:lnTo>
                    <a:pt x="253" y="1000"/>
                  </a:lnTo>
                  <a:lnTo>
                    <a:pt x="253" y="941"/>
                  </a:lnTo>
                  <a:lnTo>
                    <a:pt x="253" y="942"/>
                  </a:lnTo>
                  <a:lnTo>
                    <a:pt x="25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1"/>
            <p:cNvSpPr>
              <a:spLocks/>
            </p:cNvSpPr>
            <p:nvPr userDrawn="1"/>
          </p:nvSpPr>
          <p:spPr bwMode="auto">
            <a:xfrm>
              <a:off x="433" y="4101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/>
            <p:cNvSpPr>
              <a:spLocks/>
            </p:cNvSpPr>
            <p:nvPr userDrawn="1"/>
          </p:nvSpPr>
          <p:spPr bwMode="auto">
            <a:xfrm>
              <a:off x="433" y="4101"/>
              <a:ext cx="69" cy="79"/>
            </a:xfrm>
            <a:custGeom>
              <a:avLst/>
              <a:gdLst>
                <a:gd name="T0" fmla="*/ 3 w 1031"/>
                <a:gd name="T1" fmla="*/ 529 h 1181"/>
                <a:gd name="T2" fmla="*/ 26 w 1031"/>
                <a:gd name="T3" fmla="*/ 412 h 1181"/>
                <a:gd name="T4" fmla="*/ 69 w 1031"/>
                <a:gd name="T5" fmla="*/ 305 h 1181"/>
                <a:gd name="T6" fmla="*/ 131 w 1031"/>
                <a:gd name="T7" fmla="*/ 211 h 1181"/>
                <a:gd name="T8" fmla="*/ 210 w 1031"/>
                <a:gd name="T9" fmla="*/ 132 h 1181"/>
                <a:gd name="T10" fmla="*/ 305 w 1031"/>
                <a:gd name="T11" fmla="*/ 69 h 1181"/>
                <a:gd name="T12" fmla="*/ 411 w 1031"/>
                <a:gd name="T13" fmla="*/ 25 h 1181"/>
                <a:gd name="T14" fmla="*/ 529 w 1031"/>
                <a:gd name="T15" fmla="*/ 3 h 1181"/>
                <a:gd name="T16" fmla="*/ 627 w 1031"/>
                <a:gd name="T17" fmla="*/ 0 h 1181"/>
                <a:gd name="T18" fmla="*/ 754 w 1031"/>
                <a:gd name="T19" fmla="*/ 20 h 1181"/>
                <a:gd name="T20" fmla="*/ 868 w 1031"/>
                <a:gd name="T21" fmla="*/ 64 h 1181"/>
                <a:gd name="T22" fmla="*/ 968 w 1031"/>
                <a:gd name="T23" fmla="*/ 130 h 1181"/>
                <a:gd name="T24" fmla="*/ 859 w 1031"/>
                <a:gd name="T25" fmla="*/ 366 h 1181"/>
                <a:gd name="T26" fmla="*/ 823 w 1031"/>
                <a:gd name="T27" fmla="*/ 329 h 1181"/>
                <a:gd name="T28" fmla="*/ 764 w 1031"/>
                <a:gd name="T29" fmla="*/ 288 h 1181"/>
                <a:gd name="T30" fmla="*/ 696 w 1031"/>
                <a:gd name="T31" fmla="*/ 259 h 1181"/>
                <a:gd name="T32" fmla="*/ 615 w 1031"/>
                <a:gd name="T33" fmla="*/ 245 h 1181"/>
                <a:gd name="T34" fmla="*/ 556 w 1031"/>
                <a:gd name="T35" fmla="*/ 246 h 1181"/>
                <a:gd name="T36" fmla="*/ 489 w 1031"/>
                <a:gd name="T37" fmla="*/ 260 h 1181"/>
                <a:gd name="T38" fmla="*/ 429 w 1031"/>
                <a:gd name="T39" fmla="*/ 284 h 1181"/>
                <a:gd name="T40" fmla="*/ 375 w 1031"/>
                <a:gd name="T41" fmla="*/ 321 h 1181"/>
                <a:gd name="T42" fmla="*/ 331 w 1031"/>
                <a:gd name="T43" fmla="*/ 367 h 1181"/>
                <a:gd name="T44" fmla="*/ 298 w 1031"/>
                <a:gd name="T45" fmla="*/ 422 h 1181"/>
                <a:gd name="T46" fmla="*/ 273 w 1031"/>
                <a:gd name="T47" fmla="*/ 485 h 1181"/>
                <a:gd name="T48" fmla="*/ 261 w 1031"/>
                <a:gd name="T49" fmla="*/ 553 h 1181"/>
                <a:gd name="T50" fmla="*/ 260 w 1031"/>
                <a:gd name="T51" fmla="*/ 608 h 1181"/>
                <a:gd name="T52" fmla="*/ 269 w 1031"/>
                <a:gd name="T53" fmla="*/ 679 h 1181"/>
                <a:gd name="T54" fmla="*/ 290 w 1031"/>
                <a:gd name="T55" fmla="*/ 743 h 1181"/>
                <a:gd name="T56" fmla="*/ 322 w 1031"/>
                <a:gd name="T57" fmla="*/ 801 h 1181"/>
                <a:gd name="T58" fmla="*/ 364 w 1031"/>
                <a:gd name="T59" fmla="*/ 849 h 1181"/>
                <a:gd name="T60" fmla="*/ 414 w 1031"/>
                <a:gd name="T61" fmla="*/ 887 h 1181"/>
                <a:gd name="T62" fmla="*/ 473 w 1031"/>
                <a:gd name="T63" fmla="*/ 916 h 1181"/>
                <a:gd name="T64" fmla="*/ 539 w 1031"/>
                <a:gd name="T65" fmla="*/ 932 h 1181"/>
                <a:gd name="T66" fmla="*/ 592 w 1031"/>
                <a:gd name="T67" fmla="*/ 936 h 1181"/>
                <a:gd name="T68" fmla="*/ 676 w 1031"/>
                <a:gd name="T69" fmla="*/ 926 h 1181"/>
                <a:gd name="T70" fmla="*/ 748 w 1031"/>
                <a:gd name="T71" fmla="*/ 901 h 1181"/>
                <a:gd name="T72" fmla="*/ 808 w 1031"/>
                <a:gd name="T73" fmla="*/ 863 h 1181"/>
                <a:gd name="T74" fmla="*/ 859 w 1031"/>
                <a:gd name="T75" fmla="*/ 815 h 1181"/>
                <a:gd name="T76" fmla="*/ 989 w 1031"/>
                <a:gd name="T77" fmla="*/ 1032 h 1181"/>
                <a:gd name="T78" fmla="*/ 895 w 1031"/>
                <a:gd name="T79" fmla="*/ 1101 h 1181"/>
                <a:gd name="T80" fmla="*/ 784 w 1031"/>
                <a:gd name="T81" fmla="*/ 1151 h 1181"/>
                <a:gd name="T82" fmla="*/ 660 w 1031"/>
                <a:gd name="T83" fmla="*/ 1177 h 1181"/>
                <a:gd name="T84" fmla="*/ 561 w 1031"/>
                <a:gd name="T85" fmla="*/ 1180 h 1181"/>
                <a:gd name="T86" fmla="*/ 440 w 1031"/>
                <a:gd name="T87" fmla="*/ 1163 h 1181"/>
                <a:gd name="T88" fmla="*/ 330 w 1031"/>
                <a:gd name="T89" fmla="*/ 1124 h 1181"/>
                <a:gd name="T90" fmla="*/ 233 w 1031"/>
                <a:gd name="T91" fmla="*/ 1065 h 1181"/>
                <a:gd name="T92" fmla="*/ 150 w 1031"/>
                <a:gd name="T93" fmla="*/ 991 h 1181"/>
                <a:gd name="T94" fmla="*/ 83 w 1031"/>
                <a:gd name="T95" fmla="*/ 900 h 1181"/>
                <a:gd name="T96" fmla="*/ 34 w 1031"/>
                <a:gd name="T97" fmla="*/ 796 h 1181"/>
                <a:gd name="T98" fmla="*/ 6 w 1031"/>
                <a:gd name="T99" fmla="*/ 68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31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6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9" y="305"/>
                  </a:lnTo>
                  <a:lnTo>
                    <a:pt x="83" y="280"/>
                  </a:lnTo>
                  <a:lnTo>
                    <a:pt x="97" y="256"/>
                  </a:lnTo>
                  <a:lnTo>
                    <a:pt x="114" y="233"/>
                  </a:lnTo>
                  <a:lnTo>
                    <a:pt x="131" y="211"/>
                  </a:lnTo>
                  <a:lnTo>
                    <a:pt x="150" y="190"/>
                  </a:lnTo>
                  <a:lnTo>
                    <a:pt x="168" y="170"/>
                  </a:lnTo>
                  <a:lnTo>
                    <a:pt x="189" y="150"/>
                  </a:lnTo>
                  <a:lnTo>
                    <a:pt x="210" y="132"/>
                  </a:lnTo>
                  <a:lnTo>
                    <a:pt x="233" y="114"/>
                  </a:lnTo>
                  <a:lnTo>
                    <a:pt x="255" y="98"/>
                  </a:lnTo>
                  <a:lnTo>
                    <a:pt x="279" y="83"/>
                  </a:lnTo>
                  <a:lnTo>
                    <a:pt x="305" y="69"/>
                  </a:lnTo>
                  <a:lnTo>
                    <a:pt x="330" y="56"/>
                  </a:lnTo>
                  <a:lnTo>
                    <a:pt x="356" y="45"/>
                  </a:lnTo>
                  <a:lnTo>
                    <a:pt x="384" y="35"/>
                  </a:lnTo>
                  <a:lnTo>
                    <a:pt x="411" y="25"/>
                  </a:lnTo>
                  <a:lnTo>
                    <a:pt x="440" y="17"/>
                  </a:lnTo>
                  <a:lnTo>
                    <a:pt x="469" y="11"/>
                  </a:lnTo>
                  <a:lnTo>
                    <a:pt x="500" y="6"/>
                  </a:lnTo>
                  <a:lnTo>
                    <a:pt x="529" y="3"/>
                  </a:lnTo>
                  <a:lnTo>
                    <a:pt x="561" y="0"/>
                  </a:lnTo>
                  <a:lnTo>
                    <a:pt x="592" y="0"/>
                  </a:lnTo>
                  <a:lnTo>
                    <a:pt x="592" y="0"/>
                  </a:lnTo>
                  <a:lnTo>
                    <a:pt x="627" y="0"/>
                  </a:lnTo>
                  <a:lnTo>
                    <a:pt x="660" y="3"/>
                  </a:lnTo>
                  <a:lnTo>
                    <a:pt x="693" y="7"/>
                  </a:lnTo>
                  <a:lnTo>
                    <a:pt x="723" y="13"/>
                  </a:lnTo>
                  <a:lnTo>
                    <a:pt x="754" y="20"/>
                  </a:lnTo>
                  <a:lnTo>
                    <a:pt x="784" y="29"/>
                  </a:lnTo>
                  <a:lnTo>
                    <a:pt x="813" y="40"/>
                  </a:lnTo>
                  <a:lnTo>
                    <a:pt x="841" y="52"/>
                  </a:lnTo>
                  <a:lnTo>
                    <a:pt x="868" y="64"/>
                  </a:lnTo>
                  <a:lnTo>
                    <a:pt x="895" y="79"/>
                  </a:lnTo>
                  <a:lnTo>
                    <a:pt x="919" y="95"/>
                  </a:lnTo>
                  <a:lnTo>
                    <a:pt x="944" y="111"/>
                  </a:lnTo>
                  <a:lnTo>
                    <a:pt x="968" y="130"/>
                  </a:lnTo>
                  <a:lnTo>
                    <a:pt x="989" y="148"/>
                  </a:lnTo>
                  <a:lnTo>
                    <a:pt x="1011" y="169"/>
                  </a:lnTo>
                  <a:lnTo>
                    <a:pt x="1031" y="189"/>
                  </a:lnTo>
                  <a:lnTo>
                    <a:pt x="859" y="366"/>
                  </a:lnTo>
                  <a:lnTo>
                    <a:pt x="859" y="366"/>
                  </a:lnTo>
                  <a:lnTo>
                    <a:pt x="847" y="353"/>
                  </a:lnTo>
                  <a:lnTo>
                    <a:pt x="835" y="340"/>
                  </a:lnTo>
                  <a:lnTo>
                    <a:pt x="823" y="329"/>
                  </a:lnTo>
                  <a:lnTo>
                    <a:pt x="808" y="318"/>
                  </a:lnTo>
                  <a:lnTo>
                    <a:pt x="795" y="308"/>
                  </a:lnTo>
                  <a:lnTo>
                    <a:pt x="780" y="297"/>
                  </a:lnTo>
                  <a:lnTo>
                    <a:pt x="764" y="288"/>
                  </a:lnTo>
                  <a:lnTo>
                    <a:pt x="748" y="279"/>
                  </a:lnTo>
                  <a:lnTo>
                    <a:pt x="732" y="272"/>
                  </a:lnTo>
                  <a:lnTo>
                    <a:pt x="713" y="265"/>
                  </a:lnTo>
                  <a:lnTo>
                    <a:pt x="696" y="259"/>
                  </a:lnTo>
                  <a:lnTo>
                    <a:pt x="676" y="253"/>
                  </a:lnTo>
                  <a:lnTo>
                    <a:pt x="657" y="249"/>
                  </a:lnTo>
                  <a:lnTo>
                    <a:pt x="636" y="247"/>
                  </a:lnTo>
                  <a:lnTo>
                    <a:pt x="615" y="245"/>
                  </a:lnTo>
                  <a:lnTo>
                    <a:pt x="592" y="244"/>
                  </a:lnTo>
                  <a:lnTo>
                    <a:pt x="592" y="244"/>
                  </a:lnTo>
                  <a:lnTo>
                    <a:pt x="575" y="245"/>
                  </a:lnTo>
                  <a:lnTo>
                    <a:pt x="556" y="246"/>
                  </a:lnTo>
                  <a:lnTo>
                    <a:pt x="539" y="248"/>
                  </a:lnTo>
                  <a:lnTo>
                    <a:pt x="522" y="251"/>
                  </a:lnTo>
                  <a:lnTo>
                    <a:pt x="506" y="254"/>
                  </a:lnTo>
                  <a:lnTo>
                    <a:pt x="489" y="260"/>
                  </a:lnTo>
                  <a:lnTo>
                    <a:pt x="473" y="265"/>
                  </a:lnTo>
                  <a:lnTo>
                    <a:pt x="458" y="271"/>
                  </a:lnTo>
                  <a:lnTo>
                    <a:pt x="443" y="277"/>
                  </a:lnTo>
                  <a:lnTo>
                    <a:pt x="429" y="284"/>
                  </a:lnTo>
                  <a:lnTo>
                    <a:pt x="414" y="292"/>
                  </a:lnTo>
                  <a:lnTo>
                    <a:pt x="401" y="301"/>
                  </a:lnTo>
                  <a:lnTo>
                    <a:pt x="388" y="311"/>
                  </a:lnTo>
                  <a:lnTo>
                    <a:pt x="375" y="321"/>
                  </a:lnTo>
                  <a:lnTo>
                    <a:pt x="364" y="331"/>
                  </a:lnTo>
                  <a:lnTo>
                    <a:pt x="353" y="342"/>
                  </a:lnTo>
                  <a:lnTo>
                    <a:pt x="342" y="355"/>
                  </a:lnTo>
                  <a:lnTo>
                    <a:pt x="331" y="367"/>
                  </a:lnTo>
                  <a:lnTo>
                    <a:pt x="322" y="379"/>
                  </a:lnTo>
                  <a:lnTo>
                    <a:pt x="313" y="394"/>
                  </a:lnTo>
                  <a:lnTo>
                    <a:pt x="305" y="407"/>
                  </a:lnTo>
                  <a:lnTo>
                    <a:pt x="298" y="422"/>
                  </a:lnTo>
                  <a:lnTo>
                    <a:pt x="290" y="436"/>
                  </a:lnTo>
                  <a:lnTo>
                    <a:pt x="284" y="452"/>
                  </a:lnTo>
                  <a:lnTo>
                    <a:pt x="278" y="468"/>
                  </a:lnTo>
                  <a:lnTo>
                    <a:pt x="273" y="485"/>
                  </a:lnTo>
                  <a:lnTo>
                    <a:pt x="269" y="501"/>
                  </a:lnTo>
                  <a:lnTo>
                    <a:pt x="266" y="518"/>
                  </a:lnTo>
                  <a:lnTo>
                    <a:pt x="263" y="536"/>
                  </a:lnTo>
                  <a:lnTo>
                    <a:pt x="261" y="553"/>
                  </a:lnTo>
                  <a:lnTo>
                    <a:pt x="260" y="571"/>
                  </a:lnTo>
                  <a:lnTo>
                    <a:pt x="260" y="590"/>
                  </a:lnTo>
                  <a:lnTo>
                    <a:pt x="260" y="590"/>
                  </a:lnTo>
                  <a:lnTo>
                    <a:pt x="260" y="608"/>
                  </a:lnTo>
                  <a:lnTo>
                    <a:pt x="261" y="627"/>
                  </a:lnTo>
                  <a:lnTo>
                    <a:pt x="263" y="645"/>
                  </a:lnTo>
                  <a:lnTo>
                    <a:pt x="266" y="662"/>
                  </a:lnTo>
                  <a:lnTo>
                    <a:pt x="269" y="679"/>
                  </a:lnTo>
                  <a:lnTo>
                    <a:pt x="273" y="696"/>
                  </a:lnTo>
                  <a:lnTo>
                    <a:pt x="278" y="713"/>
                  </a:lnTo>
                  <a:lnTo>
                    <a:pt x="284" y="728"/>
                  </a:lnTo>
                  <a:lnTo>
                    <a:pt x="290" y="743"/>
                  </a:lnTo>
                  <a:lnTo>
                    <a:pt x="298" y="759"/>
                  </a:lnTo>
                  <a:lnTo>
                    <a:pt x="305" y="773"/>
                  </a:lnTo>
                  <a:lnTo>
                    <a:pt x="313" y="787"/>
                  </a:lnTo>
                  <a:lnTo>
                    <a:pt x="322" y="801"/>
                  </a:lnTo>
                  <a:lnTo>
                    <a:pt x="331" y="814"/>
                  </a:lnTo>
                  <a:lnTo>
                    <a:pt x="342" y="826"/>
                  </a:lnTo>
                  <a:lnTo>
                    <a:pt x="353" y="837"/>
                  </a:lnTo>
                  <a:lnTo>
                    <a:pt x="364" y="849"/>
                  </a:lnTo>
                  <a:lnTo>
                    <a:pt x="375" y="860"/>
                  </a:lnTo>
                  <a:lnTo>
                    <a:pt x="388" y="870"/>
                  </a:lnTo>
                  <a:lnTo>
                    <a:pt x="401" y="879"/>
                  </a:lnTo>
                  <a:lnTo>
                    <a:pt x="414" y="887"/>
                  </a:lnTo>
                  <a:lnTo>
                    <a:pt x="429" y="896"/>
                  </a:lnTo>
                  <a:lnTo>
                    <a:pt x="443" y="903"/>
                  </a:lnTo>
                  <a:lnTo>
                    <a:pt x="458" y="910"/>
                  </a:lnTo>
                  <a:lnTo>
                    <a:pt x="473" y="916"/>
                  </a:lnTo>
                  <a:lnTo>
                    <a:pt x="489" y="921"/>
                  </a:lnTo>
                  <a:lnTo>
                    <a:pt x="506" y="925"/>
                  </a:lnTo>
                  <a:lnTo>
                    <a:pt x="522" y="929"/>
                  </a:lnTo>
                  <a:lnTo>
                    <a:pt x="539" y="932"/>
                  </a:lnTo>
                  <a:lnTo>
                    <a:pt x="556" y="935"/>
                  </a:lnTo>
                  <a:lnTo>
                    <a:pt x="575" y="936"/>
                  </a:lnTo>
                  <a:lnTo>
                    <a:pt x="592" y="936"/>
                  </a:lnTo>
                  <a:lnTo>
                    <a:pt x="592" y="936"/>
                  </a:lnTo>
                  <a:lnTo>
                    <a:pt x="615" y="936"/>
                  </a:lnTo>
                  <a:lnTo>
                    <a:pt x="636" y="934"/>
                  </a:lnTo>
                  <a:lnTo>
                    <a:pt x="657" y="930"/>
                  </a:lnTo>
                  <a:lnTo>
                    <a:pt x="676" y="926"/>
                  </a:lnTo>
                  <a:lnTo>
                    <a:pt x="696" y="921"/>
                  </a:lnTo>
                  <a:lnTo>
                    <a:pt x="713" y="915"/>
                  </a:lnTo>
                  <a:lnTo>
                    <a:pt x="732" y="909"/>
                  </a:lnTo>
                  <a:lnTo>
                    <a:pt x="748" y="901"/>
                  </a:lnTo>
                  <a:lnTo>
                    <a:pt x="764" y="893"/>
                  </a:lnTo>
                  <a:lnTo>
                    <a:pt x="780" y="883"/>
                  </a:lnTo>
                  <a:lnTo>
                    <a:pt x="795" y="873"/>
                  </a:lnTo>
                  <a:lnTo>
                    <a:pt x="808" y="863"/>
                  </a:lnTo>
                  <a:lnTo>
                    <a:pt x="823" y="852"/>
                  </a:lnTo>
                  <a:lnTo>
                    <a:pt x="835" y="839"/>
                  </a:lnTo>
                  <a:lnTo>
                    <a:pt x="847" y="827"/>
                  </a:lnTo>
                  <a:lnTo>
                    <a:pt x="859" y="815"/>
                  </a:lnTo>
                  <a:lnTo>
                    <a:pt x="1031" y="991"/>
                  </a:lnTo>
                  <a:lnTo>
                    <a:pt x="1031" y="991"/>
                  </a:lnTo>
                  <a:lnTo>
                    <a:pt x="1011" y="1012"/>
                  </a:lnTo>
                  <a:lnTo>
                    <a:pt x="989" y="1032"/>
                  </a:lnTo>
                  <a:lnTo>
                    <a:pt x="968" y="1051"/>
                  </a:lnTo>
                  <a:lnTo>
                    <a:pt x="944" y="1069"/>
                  </a:lnTo>
                  <a:lnTo>
                    <a:pt x="919" y="1086"/>
                  </a:lnTo>
                  <a:lnTo>
                    <a:pt x="895" y="1101"/>
                  </a:lnTo>
                  <a:lnTo>
                    <a:pt x="868" y="1116"/>
                  </a:lnTo>
                  <a:lnTo>
                    <a:pt x="841" y="1129"/>
                  </a:lnTo>
                  <a:lnTo>
                    <a:pt x="813" y="1140"/>
                  </a:lnTo>
                  <a:lnTo>
                    <a:pt x="784" y="1151"/>
                  </a:lnTo>
                  <a:lnTo>
                    <a:pt x="754" y="1160"/>
                  </a:lnTo>
                  <a:lnTo>
                    <a:pt x="723" y="1168"/>
                  </a:lnTo>
                  <a:lnTo>
                    <a:pt x="693" y="1173"/>
                  </a:lnTo>
                  <a:lnTo>
                    <a:pt x="660" y="1177"/>
                  </a:lnTo>
                  <a:lnTo>
                    <a:pt x="627" y="1180"/>
                  </a:lnTo>
                  <a:lnTo>
                    <a:pt x="592" y="1181"/>
                  </a:lnTo>
                  <a:lnTo>
                    <a:pt x="592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500" y="1174"/>
                  </a:lnTo>
                  <a:lnTo>
                    <a:pt x="469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4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5" y="1111"/>
                  </a:lnTo>
                  <a:lnTo>
                    <a:pt x="279" y="1097"/>
                  </a:lnTo>
                  <a:lnTo>
                    <a:pt x="255" y="1082"/>
                  </a:lnTo>
                  <a:lnTo>
                    <a:pt x="233" y="1065"/>
                  </a:lnTo>
                  <a:lnTo>
                    <a:pt x="210" y="1048"/>
                  </a:lnTo>
                  <a:lnTo>
                    <a:pt x="189" y="1031"/>
                  </a:lnTo>
                  <a:lnTo>
                    <a:pt x="168" y="1011"/>
                  </a:lnTo>
                  <a:lnTo>
                    <a:pt x="150" y="991"/>
                  </a:lnTo>
                  <a:lnTo>
                    <a:pt x="131" y="969"/>
                  </a:lnTo>
                  <a:lnTo>
                    <a:pt x="114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9" y="875"/>
                  </a:lnTo>
                  <a:lnTo>
                    <a:pt x="56" y="850"/>
                  </a:lnTo>
                  <a:lnTo>
                    <a:pt x="44" y="823"/>
                  </a:lnTo>
                  <a:lnTo>
                    <a:pt x="34" y="796"/>
                  </a:lnTo>
                  <a:lnTo>
                    <a:pt x="26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"/>
            <p:cNvSpPr>
              <a:spLocks noEditPoints="1"/>
            </p:cNvSpPr>
            <p:nvPr userDrawn="1"/>
          </p:nvSpPr>
          <p:spPr bwMode="auto">
            <a:xfrm>
              <a:off x="503" y="4101"/>
              <a:ext cx="76" cy="79"/>
            </a:xfrm>
            <a:custGeom>
              <a:avLst/>
              <a:gdLst>
                <a:gd name="T0" fmla="*/ 3 w 1136"/>
                <a:gd name="T1" fmla="*/ 529 h 1181"/>
                <a:gd name="T2" fmla="*/ 25 w 1136"/>
                <a:gd name="T3" fmla="*/ 412 h 1181"/>
                <a:gd name="T4" fmla="*/ 68 w 1136"/>
                <a:gd name="T5" fmla="*/ 305 h 1181"/>
                <a:gd name="T6" fmla="*/ 130 w 1136"/>
                <a:gd name="T7" fmla="*/ 211 h 1181"/>
                <a:gd name="T8" fmla="*/ 209 w 1136"/>
                <a:gd name="T9" fmla="*/ 132 h 1181"/>
                <a:gd name="T10" fmla="*/ 302 w 1136"/>
                <a:gd name="T11" fmla="*/ 69 h 1181"/>
                <a:gd name="T12" fmla="*/ 409 w 1136"/>
                <a:gd name="T13" fmla="*/ 25 h 1181"/>
                <a:gd name="T14" fmla="*/ 526 w 1136"/>
                <a:gd name="T15" fmla="*/ 3 h 1181"/>
                <a:gd name="T16" fmla="*/ 617 w 1136"/>
                <a:gd name="T17" fmla="*/ 0 h 1181"/>
                <a:gd name="T18" fmla="*/ 729 w 1136"/>
                <a:gd name="T19" fmla="*/ 15 h 1181"/>
                <a:gd name="T20" fmla="*/ 830 w 1136"/>
                <a:gd name="T21" fmla="*/ 51 h 1181"/>
                <a:gd name="T22" fmla="*/ 918 w 1136"/>
                <a:gd name="T23" fmla="*/ 105 h 1181"/>
                <a:gd name="T24" fmla="*/ 993 w 1136"/>
                <a:gd name="T25" fmla="*/ 177 h 1181"/>
                <a:gd name="T26" fmla="*/ 1053 w 1136"/>
                <a:gd name="T27" fmla="*/ 266 h 1181"/>
                <a:gd name="T28" fmla="*/ 1098 w 1136"/>
                <a:gd name="T29" fmla="*/ 371 h 1181"/>
                <a:gd name="T30" fmla="*/ 1127 w 1136"/>
                <a:gd name="T31" fmla="*/ 491 h 1181"/>
                <a:gd name="T32" fmla="*/ 1136 w 1136"/>
                <a:gd name="T33" fmla="*/ 658 h 1181"/>
                <a:gd name="T34" fmla="*/ 267 w 1136"/>
                <a:gd name="T35" fmla="*/ 689 h 1181"/>
                <a:gd name="T36" fmla="*/ 287 w 1136"/>
                <a:gd name="T37" fmla="*/ 744 h 1181"/>
                <a:gd name="T38" fmla="*/ 315 w 1136"/>
                <a:gd name="T39" fmla="*/ 794 h 1181"/>
                <a:gd name="T40" fmla="*/ 350 w 1136"/>
                <a:gd name="T41" fmla="*/ 837 h 1181"/>
                <a:gd name="T42" fmla="*/ 395 w 1136"/>
                <a:gd name="T43" fmla="*/ 873 h 1181"/>
                <a:gd name="T44" fmla="*/ 444 w 1136"/>
                <a:gd name="T45" fmla="*/ 901 h 1181"/>
                <a:gd name="T46" fmla="*/ 500 w 1136"/>
                <a:gd name="T47" fmla="*/ 920 h 1181"/>
                <a:gd name="T48" fmla="*/ 561 w 1136"/>
                <a:gd name="T49" fmla="*/ 930 h 1181"/>
                <a:gd name="T50" fmla="*/ 617 w 1136"/>
                <a:gd name="T51" fmla="*/ 930 h 1181"/>
                <a:gd name="T52" fmla="*/ 711 w 1136"/>
                <a:gd name="T53" fmla="*/ 914 h 1181"/>
                <a:gd name="T54" fmla="*/ 789 w 1136"/>
                <a:gd name="T55" fmla="*/ 881 h 1181"/>
                <a:gd name="T56" fmla="*/ 853 w 1136"/>
                <a:gd name="T57" fmla="*/ 837 h 1181"/>
                <a:gd name="T58" fmla="*/ 1061 w 1136"/>
                <a:gd name="T59" fmla="*/ 982 h 1181"/>
                <a:gd name="T60" fmla="*/ 998 w 1136"/>
                <a:gd name="T61" fmla="*/ 1043 h 1181"/>
                <a:gd name="T62" fmla="*/ 894 w 1136"/>
                <a:gd name="T63" fmla="*/ 1110 h 1181"/>
                <a:gd name="T64" fmla="*/ 770 w 1136"/>
                <a:gd name="T65" fmla="*/ 1157 h 1181"/>
                <a:gd name="T66" fmla="*/ 630 w 1136"/>
                <a:gd name="T67" fmla="*/ 1180 h 1181"/>
                <a:gd name="T68" fmla="*/ 529 w 1136"/>
                <a:gd name="T69" fmla="*/ 1178 h 1181"/>
                <a:gd name="T70" fmla="*/ 411 w 1136"/>
                <a:gd name="T71" fmla="*/ 1155 h 1181"/>
                <a:gd name="T72" fmla="*/ 304 w 1136"/>
                <a:gd name="T73" fmla="*/ 1111 h 1181"/>
                <a:gd name="T74" fmla="*/ 210 w 1136"/>
                <a:gd name="T75" fmla="*/ 1048 h 1181"/>
                <a:gd name="T76" fmla="*/ 131 w 1136"/>
                <a:gd name="T77" fmla="*/ 969 h 1181"/>
                <a:gd name="T78" fmla="*/ 68 w 1136"/>
                <a:gd name="T79" fmla="*/ 875 h 1181"/>
                <a:gd name="T80" fmla="*/ 25 w 1136"/>
                <a:gd name="T81" fmla="*/ 769 h 1181"/>
                <a:gd name="T82" fmla="*/ 3 w 1136"/>
                <a:gd name="T83" fmla="*/ 652 h 1181"/>
                <a:gd name="T84" fmla="*/ 858 w 1136"/>
                <a:gd name="T85" fmla="*/ 464 h 1181"/>
                <a:gd name="T86" fmla="*/ 834 w 1136"/>
                <a:gd name="T87" fmla="*/ 385 h 1181"/>
                <a:gd name="T88" fmla="*/ 777 w 1136"/>
                <a:gd name="T89" fmla="*/ 305 h 1181"/>
                <a:gd name="T90" fmla="*/ 697 w 1136"/>
                <a:gd name="T91" fmla="*/ 253 h 1181"/>
                <a:gd name="T92" fmla="*/ 597 w 1136"/>
                <a:gd name="T93" fmla="*/ 232 h 1181"/>
                <a:gd name="T94" fmla="*/ 519 w 1136"/>
                <a:gd name="T95" fmla="*/ 235 h 1181"/>
                <a:gd name="T96" fmla="*/ 425 w 1136"/>
                <a:gd name="T97" fmla="*/ 267 h 1181"/>
                <a:gd name="T98" fmla="*/ 346 w 1136"/>
                <a:gd name="T99" fmla="*/ 327 h 1181"/>
                <a:gd name="T100" fmla="*/ 288 w 1136"/>
                <a:gd name="T101" fmla="*/ 413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  <a:close/>
                  <a:moveTo>
                    <a:pt x="268" y="464"/>
                  </a:moveTo>
                  <a:lnTo>
                    <a:pt x="858" y="464"/>
                  </a:lnTo>
                  <a:lnTo>
                    <a:pt x="858" y="464"/>
                  </a:lnTo>
                  <a:lnTo>
                    <a:pt x="852" y="435"/>
                  </a:lnTo>
                  <a:lnTo>
                    <a:pt x="844" y="410"/>
                  </a:lnTo>
                  <a:lnTo>
                    <a:pt x="834" y="385"/>
                  </a:lnTo>
                  <a:lnTo>
                    <a:pt x="822" y="362"/>
                  </a:lnTo>
                  <a:lnTo>
                    <a:pt x="809" y="341"/>
                  </a:lnTo>
                  <a:lnTo>
                    <a:pt x="794" y="322"/>
                  </a:lnTo>
                  <a:lnTo>
                    <a:pt x="777" y="305"/>
                  </a:lnTo>
                  <a:lnTo>
                    <a:pt x="760" y="289"/>
                  </a:lnTo>
                  <a:lnTo>
                    <a:pt x="740" y="275"/>
                  </a:lnTo>
                  <a:lnTo>
                    <a:pt x="720" y="264"/>
                  </a:lnTo>
                  <a:lnTo>
                    <a:pt x="697" y="253"/>
                  </a:lnTo>
                  <a:lnTo>
                    <a:pt x="674" y="245"/>
                  </a:lnTo>
                  <a:lnTo>
                    <a:pt x="650" y="239"/>
                  </a:lnTo>
                  <a:lnTo>
                    <a:pt x="623" y="234"/>
                  </a:lnTo>
                  <a:lnTo>
                    <a:pt x="597" y="232"/>
                  </a:lnTo>
                  <a:lnTo>
                    <a:pt x="569" y="231"/>
                  </a:lnTo>
                  <a:lnTo>
                    <a:pt x="569" y="231"/>
                  </a:lnTo>
                  <a:lnTo>
                    <a:pt x="544" y="232"/>
                  </a:lnTo>
                  <a:lnTo>
                    <a:pt x="519" y="235"/>
                  </a:lnTo>
                  <a:lnTo>
                    <a:pt x="494" y="240"/>
                  </a:lnTo>
                  <a:lnTo>
                    <a:pt x="471" y="247"/>
                  </a:lnTo>
                  <a:lnTo>
                    <a:pt x="448" y="255"/>
                  </a:lnTo>
                  <a:lnTo>
                    <a:pt x="425" y="267"/>
                  </a:lnTo>
                  <a:lnTo>
                    <a:pt x="404" y="279"/>
                  </a:lnTo>
                  <a:lnTo>
                    <a:pt x="383" y="293"/>
                  </a:lnTo>
                  <a:lnTo>
                    <a:pt x="364" y="310"/>
                  </a:lnTo>
                  <a:lnTo>
                    <a:pt x="346" y="327"/>
                  </a:lnTo>
                  <a:lnTo>
                    <a:pt x="329" y="346"/>
                  </a:lnTo>
                  <a:lnTo>
                    <a:pt x="314" y="367"/>
                  </a:lnTo>
                  <a:lnTo>
                    <a:pt x="300" y="389"/>
                  </a:lnTo>
                  <a:lnTo>
                    <a:pt x="288" y="413"/>
                  </a:lnTo>
                  <a:lnTo>
                    <a:pt x="277" y="437"/>
                  </a:lnTo>
                  <a:lnTo>
                    <a:pt x="268" y="46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4"/>
            <p:cNvSpPr>
              <a:spLocks/>
            </p:cNvSpPr>
            <p:nvPr userDrawn="1"/>
          </p:nvSpPr>
          <p:spPr bwMode="auto">
            <a:xfrm>
              <a:off x="503" y="4101"/>
              <a:ext cx="76" cy="79"/>
            </a:xfrm>
            <a:custGeom>
              <a:avLst/>
              <a:gdLst>
                <a:gd name="T0" fmla="*/ 1 w 1136"/>
                <a:gd name="T1" fmla="*/ 559 h 1181"/>
                <a:gd name="T2" fmla="*/ 11 w 1136"/>
                <a:gd name="T3" fmla="*/ 469 h 1181"/>
                <a:gd name="T4" fmla="*/ 34 w 1136"/>
                <a:gd name="T5" fmla="*/ 383 h 1181"/>
                <a:gd name="T6" fmla="*/ 68 w 1136"/>
                <a:gd name="T7" fmla="*/ 305 h 1181"/>
                <a:gd name="T8" fmla="*/ 113 w 1136"/>
                <a:gd name="T9" fmla="*/ 233 h 1181"/>
                <a:gd name="T10" fmla="*/ 168 w 1136"/>
                <a:gd name="T11" fmla="*/ 170 h 1181"/>
                <a:gd name="T12" fmla="*/ 231 w 1136"/>
                <a:gd name="T13" fmla="*/ 114 h 1181"/>
                <a:gd name="T14" fmla="*/ 302 w 1136"/>
                <a:gd name="T15" fmla="*/ 69 h 1181"/>
                <a:gd name="T16" fmla="*/ 381 w 1136"/>
                <a:gd name="T17" fmla="*/ 35 h 1181"/>
                <a:gd name="T18" fmla="*/ 466 w 1136"/>
                <a:gd name="T19" fmla="*/ 11 h 1181"/>
                <a:gd name="T20" fmla="*/ 557 w 1136"/>
                <a:gd name="T21" fmla="*/ 0 h 1181"/>
                <a:gd name="T22" fmla="*/ 617 w 1136"/>
                <a:gd name="T23" fmla="*/ 0 h 1181"/>
                <a:gd name="T24" fmla="*/ 702 w 1136"/>
                <a:gd name="T25" fmla="*/ 10 h 1181"/>
                <a:gd name="T26" fmla="*/ 781 w 1136"/>
                <a:gd name="T27" fmla="*/ 30 h 1181"/>
                <a:gd name="T28" fmla="*/ 853 w 1136"/>
                <a:gd name="T29" fmla="*/ 62 h 1181"/>
                <a:gd name="T30" fmla="*/ 918 w 1136"/>
                <a:gd name="T31" fmla="*/ 105 h 1181"/>
                <a:gd name="T32" fmla="*/ 975 w 1136"/>
                <a:gd name="T33" fmla="*/ 157 h 1181"/>
                <a:gd name="T34" fmla="*/ 1026 w 1136"/>
                <a:gd name="T35" fmla="*/ 220 h 1181"/>
                <a:gd name="T36" fmla="*/ 1067 w 1136"/>
                <a:gd name="T37" fmla="*/ 291 h 1181"/>
                <a:gd name="T38" fmla="*/ 1098 w 1136"/>
                <a:gd name="T39" fmla="*/ 371 h 1181"/>
                <a:gd name="T40" fmla="*/ 1121 w 1136"/>
                <a:gd name="T41" fmla="*/ 460 h 1181"/>
                <a:gd name="T42" fmla="*/ 1134 w 1136"/>
                <a:gd name="T43" fmla="*/ 556 h 1181"/>
                <a:gd name="T44" fmla="*/ 261 w 1136"/>
                <a:gd name="T45" fmla="*/ 658 h 1181"/>
                <a:gd name="T46" fmla="*/ 267 w 1136"/>
                <a:gd name="T47" fmla="*/ 689 h 1181"/>
                <a:gd name="T48" fmla="*/ 281 w 1136"/>
                <a:gd name="T49" fmla="*/ 731 h 1181"/>
                <a:gd name="T50" fmla="*/ 299 w 1136"/>
                <a:gd name="T51" fmla="*/ 770 h 1181"/>
                <a:gd name="T52" fmla="*/ 323 w 1136"/>
                <a:gd name="T53" fmla="*/ 806 h 1181"/>
                <a:gd name="T54" fmla="*/ 350 w 1136"/>
                <a:gd name="T55" fmla="*/ 837 h 1181"/>
                <a:gd name="T56" fmla="*/ 382 w 1136"/>
                <a:gd name="T57" fmla="*/ 865 h 1181"/>
                <a:gd name="T58" fmla="*/ 418 w 1136"/>
                <a:gd name="T59" fmla="*/ 887 h 1181"/>
                <a:gd name="T60" fmla="*/ 457 w 1136"/>
                <a:gd name="T61" fmla="*/ 907 h 1181"/>
                <a:gd name="T62" fmla="*/ 500 w 1136"/>
                <a:gd name="T63" fmla="*/ 920 h 1181"/>
                <a:gd name="T64" fmla="*/ 544 w 1136"/>
                <a:gd name="T65" fmla="*/ 928 h 1181"/>
                <a:gd name="T66" fmla="*/ 593 w 1136"/>
                <a:gd name="T67" fmla="*/ 931 h 1181"/>
                <a:gd name="T68" fmla="*/ 642 w 1136"/>
                <a:gd name="T69" fmla="*/ 928 h 1181"/>
                <a:gd name="T70" fmla="*/ 711 w 1136"/>
                <a:gd name="T71" fmla="*/ 914 h 1181"/>
                <a:gd name="T72" fmla="*/ 771 w 1136"/>
                <a:gd name="T73" fmla="*/ 891 h 1181"/>
                <a:gd name="T74" fmla="*/ 822 w 1136"/>
                <a:gd name="T75" fmla="*/ 861 h 1181"/>
                <a:gd name="T76" fmla="*/ 867 w 1136"/>
                <a:gd name="T77" fmla="*/ 825 h 1181"/>
                <a:gd name="T78" fmla="*/ 1061 w 1136"/>
                <a:gd name="T79" fmla="*/ 982 h 1181"/>
                <a:gd name="T80" fmla="*/ 1020 w 1136"/>
                <a:gd name="T81" fmla="*/ 1024 h 1181"/>
                <a:gd name="T82" fmla="*/ 949 w 1136"/>
                <a:gd name="T83" fmla="*/ 1079 h 1181"/>
                <a:gd name="T84" fmla="*/ 866 w 1136"/>
                <a:gd name="T85" fmla="*/ 1124 h 1181"/>
                <a:gd name="T86" fmla="*/ 770 w 1136"/>
                <a:gd name="T87" fmla="*/ 1157 h 1181"/>
                <a:gd name="T88" fmla="*/ 667 w 1136"/>
                <a:gd name="T89" fmla="*/ 1177 h 1181"/>
                <a:gd name="T90" fmla="*/ 593 w 1136"/>
                <a:gd name="T91" fmla="*/ 1181 h 1181"/>
                <a:gd name="T92" fmla="*/ 499 w 1136"/>
                <a:gd name="T93" fmla="*/ 1174 h 1181"/>
                <a:gd name="T94" fmla="*/ 411 w 1136"/>
                <a:gd name="T95" fmla="*/ 1155 h 1181"/>
                <a:gd name="T96" fmla="*/ 330 w 1136"/>
                <a:gd name="T97" fmla="*/ 1124 h 1181"/>
                <a:gd name="T98" fmla="*/ 255 w 1136"/>
                <a:gd name="T99" fmla="*/ 1082 h 1181"/>
                <a:gd name="T100" fmla="*/ 188 w 1136"/>
                <a:gd name="T101" fmla="*/ 1031 h 1181"/>
                <a:gd name="T102" fmla="*/ 131 w 1136"/>
                <a:gd name="T103" fmla="*/ 969 h 1181"/>
                <a:gd name="T104" fmla="*/ 83 w 1136"/>
                <a:gd name="T105" fmla="*/ 900 h 1181"/>
                <a:gd name="T106" fmla="*/ 45 w 1136"/>
                <a:gd name="T107" fmla="*/ 823 h 1181"/>
                <a:gd name="T108" fmla="*/ 17 w 1136"/>
                <a:gd name="T109" fmla="*/ 740 h 1181"/>
                <a:gd name="T110" fmla="*/ 3 w 1136"/>
                <a:gd name="T111" fmla="*/ 652 h 1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36" h="1181">
                  <a:moveTo>
                    <a:pt x="0" y="590"/>
                  </a:moveTo>
                  <a:lnTo>
                    <a:pt x="0" y="590"/>
                  </a:lnTo>
                  <a:lnTo>
                    <a:pt x="1" y="559"/>
                  </a:lnTo>
                  <a:lnTo>
                    <a:pt x="3" y="529"/>
                  </a:lnTo>
                  <a:lnTo>
                    <a:pt x="6" y="498"/>
                  </a:lnTo>
                  <a:lnTo>
                    <a:pt x="11" y="469"/>
                  </a:lnTo>
                  <a:lnTo>
                    <a:pt x="17" y="440"/>
                  </a:lnTo>
                  <a:lnTo>
                    <a:pt x="25" y="412"/>
                  </a:lnTo>
                  <a:lnTo>
                    <a:pt x="34" y="383"/>
                  </a:lnTo>
                  <a:lnTo>
                    <a:pt x="44" y="357"/>
                  </a:lnTo>
                  <a:lnTo>
                    <a:pt x="56" y="330"/>
                  </a:lnTo>
                  <a:lnTo>
                    <a:pt x="68" y="305"/>
                  </a:lnTo>
                  <a:lnTo>
                    <a:pt x="82" y="280"/>
                  </a:lnTo>
                  <a:lnTo>
                    <a:pt x="97" y="256"/>
                  </a:lnTo>
                  <a:lnTo>
                    <a:pt x="113" y="233"/>
                  </a:lnTo>
                  <a:lnTo>
                    <a:pt x="130" y="211"/>
                  </a:lnTo>
                  <a:lnTo>
                    <a:pt x="148" y="190"/>
                  </a:lnTo>
                  <a:lnTo>
                    <a:pt x="168" y="170"/>
                  </a:lnTo>
                  <a:lnTo>
                    <a:pt x="188" y="150"/>
                  </a:lnTo>
                  <a:lnTo>
                    <a:pt x="209" y="132"/>
                  </a:lnTo>
                  <a:lnTo>
                    <a:pt x="231" y="114"/>
                  </a:lnTo>
                  <a:lnTo>
                    <a:pt x="254" y="98"/>
                  </a:lnTo>
                  <a:lnTo>
                    <a:pt x="278" y="83"/>
                  </a:lnTo>
                  <a:lnTo>
                    <a:pt x="302" y="69"/>
                  </a:lnTo>
                  <a:lnTo>
                    <a:pt x="328" y="56"/>
                  </a:lnTo>
                  <a:lnTo>
                    <a:pt x="355" y="45"/>
                  </a:lnTo>
                  <a:lnTo>
                    <a:pt x="381" y="35"/>
                  </a:lnTo>
                  <a:lnTo>
                    <a:pt x="409" y="25"/>
                  </a:lnTo>
                  <a:lnTo>
                    <a:pt x="437" y="17"/>
                  </a:lnTo>
                  <a:lnTo>
                    <a:pt x="466" y="11"/>
                  </a:lnTo>
                  <a:lnTo>
                    <a:pt x="495" y="6"/>
                  </a:lnTo>
                  <a:lnTo>
                    <a:pt x="526" y="3"/>
                  </a:lnTo>
                  <a:lnTo>
                    <a:pt x="557" y="0"/>
                  </a:lnTo>
                  <a:lnTo>
                    <a:pt x="587" y="0"/>
                  </a:lnTo>
                  <a:lnTo>
                    <a:pt x="587" y="0"/>
                  </a:lnTo>
                  <a:lnTo>
                    <a:pt x="617" y="0"/>
                  </a:lnTo>
                  <a:lnTo>
                    <a:pt x="646" y="2"/>
                  </a:lnTo>
                  <a:lnTo>
                    <a:pt x="675" y="5"/>
                  </a:lnTo>
                  <a:lnTo>
                    <a:pt x="702" y="10"/>
                  </a:lnTo>
                  <a:lnTo>
                    <a:pt x="729" y="15"/>
                  </a:lnTo>
                  <a:lnTo>
                    <a:pt x="756" y="22"/>
                  </a:lnTo>
                  <a:lnTo>
                    <a:pt x="781" y="30"/>
                  </a:lnTo>
                  <a:lnTo>
                    <a:pt x="806" y="41"/>
                  </a:lnTo>
                  <a:lnTo>
                    <a:pt x="830" y="51"/>
                  </a:lnTo>
                  <a:lnTo>
                    <a:pt x="853" y="62"/>
                  </a:lnTo>
                  <a:lnTo>
                    <a:pt x="876" y="75"/>
                  </a:lnTo>
                  <a:lnTo>
                    <a:pt x="897" y="90"/>
                  </a:lnTo>
                  <a:lnTo>
                    <a:pt x="918" y="105"/>
                  </a:lnTo>
                  <a:lnTo>
                    <a:pt x="938" y="121"/>
                  </a:lnTo>
                  <a:lnTo>
                    <a:pt x="958" y="139"/>
                  </a:lnTo>
                  <a:lnTo>
                    <a:pt x="975" y="157"/>
                  </a:lnTo>
                  <a:lnTo>
                    <a:pt x="993" y="177"/>
                  </a:lnTo>
                  <a:lnTo>
                    <a:pt x="1010" y="198"/>
                  </a:lnTo>
                  <a:lnTo>
                    <a:pt x="1026" y="220"/>
                  </a:lnTo>
                  <a:lnTo>
                    <a:pt x="1040" y="242"/>
                  </a:lnTo>
                  <a:lnTo>
                    <a:pt x="1053" y="266"/>
                  </a:lnTo>
                  <a:lnTo>
                    <a:pt x="1067" y="291"/>
                  </a:lnTo>
                  <a:lnTo>
                    <a:pt x="1078" y="317"/>
                  </a:lnTo>
                  <a:lnTo>
                    <a:pt x="1089" y="343"/>
                  </a:lnTo>
                  <a:lnTo>
                    <a:pt x="1098" y="371"/>
                  </a:lnTo>
                  <a:lnTo>
                    <a:pt x="1108" y="400"/>
                  </a:lnTo>
                  <a:lnTo>
                    <a:pt x="1115" y="429"/>
                  </a:lnTo>
                  <a:lnTo>
                    <a:pt x="1121" y="460"/>
                  </a:lnTo>
                  <a:lnTo>
                    <a:pt x="1127" y="491"/>
                  </a:lnTo>
                  <a:lnTo>
                    <a:pt x="1131" y="523"/>
                  </a:lnTo>
                  <a:lnTo>
                    <a:pt x="1134" y="556"/>
                  </a:lnTo>
                  <a:lnTo>
                    <a:pt x="1136" y="590"/>
                  </a:lnTo>
                  <a:lnTo>
                    <a:pt x="1136" y="658"/>
                  </a:lnTo>
                  <a:lnTo>
                    <a:pt x="261" y="658"/>
                  </a:lnTo>
                  <a:lnTo>
                    <a:pt x="261" y="658"/>
                  </a:lnTo>
                  <a:lnTo>
                    <a:pt x="264" y="674"/>
                  </a:lnTo>
                  <a:lnTo>
                    <a:pt x="267" y="689"/>
                  </a:lnTo>
                  <a:lnTo>
                    <a:pt x="271" y="703"/>
                  </a:lnTo>
                  <a:lnTo>
                    <a:pt x="276" y="718"/>
                  </a:lnTo>
                  <a:lnTo>
                    <a:pt x="281" y="731"/>
                  </a:lnTo>
                  <a:lnTo>
                    <a:pt x="287" y="744"/>
                  </a:lnTo>
                  <a:lnTo>
                    <a:pt x="293" y="758"/>
                  </a:lnTo>
                  <a:lnTo>
                    <a:pt x="299" y="770"/>
                  </a:lnTo>
                  <a:lnTo>
                    <a:pt x="306" y="782"/>
                  </a:lnTo>
                  <a:lnTo>
                    <a:pt x="315" y="794"/>
                  </a:lnTo>
                  <a:lnTo>
                    <a:pt x="323" y="806"/>
                  </a:lnTo>
                  <a:lnTo>
                    <a:pt x="332" y="817"/>
                  </a:lnTo>
                  <a:lnTo>
                    <a:pt x="341" y="827"/>
                  </a:lnTo>
                  <a:lnTo>
                    <a:pt x="350" y="837"/>
                  </a:lnTo>
                  <a:lnTo>
                    <a:pt x="361" y="847"/>
                  </a:lnTo>
                  <a:lnTo>
                    <a:pt x="372" y="856"/>
                  </a:lnTo>
                  <a:lnTo>
                    <a:pt x="382" y="865"/>
                  </a:lnTo>
                  <a:lnTo>
                    <a:pt x="395" y="873"/>
                  </a:lnTo>
                  <a:lnTo>
                    <a:pt x="406" y="880"/>
                  </a:lnTo>
                  <a:lnTo>
                    <a:pt x="418" y="887"/>
                  </a:lnTo>
                  <a:lnTo>
                    <a:pt x="432" y="895"/>
                  </a:lnTo>
                  <a:lnTo>
                    <a:pt x="444" y="901"/>
                  </a:lnTo>
                  <a:lnTo>
                    <a:pt x="457" y="907"/>
                  </a:lnTo>
                  <a:lnTo>
                    <a:pt x="472" y="912"/>
                  </a:lnTo>
                  <a:lnTo>
                    <a:pt x="486" y="916"/>
                  </a:lnTo>
                  <a:lnTo>
                    <a:pt x="500" y="920"/>
                  </a:lnTo>
                  <a:lnTo>
                    <a:pt x="515" y="923"/>
                  </a:lnTo>
                  <a:lnTo>
                    <a:pt x="529" y="926"/>
                  </a:lnTo>
                  <a:lnTo>
                    <a:pt x="544" y="928"/>
                  </a:lnTo>
                  <a:lnTo>
                    <a:pt x="561" y="930"/>
                  </a:lnTo>
                  <a:lnTo>
                    <a:pt x="576" y="931"/>
                  </a:lnTo>
                  <a:lnTo>
                    <a:pt x="593" y="931"/>
                  </a:lnTo>
                  <a:lnTo>
                    <a:pt x="593" y="931"/>
                  </a:lnTo>
                  <a:lnTo>
                    <a:pt x="617" y="930"/>
                  </a:lnTo>
                  <a:lnTo>
                    <a:pt x="642" y="928"/>
                  </a:lnTo>
                  <a:lnTo>
                    <a:pt x="665" y="925"/>
                  </a:lnTo>
                  <a:lnTo>
                    <a:pt x="688" y="920"/>
                  </a:lnTo>
                  <a:lnTo>
                    <a:pt x="711" y="914"/>
                  </a:lnTo>
                  <a:lnTo>
                    <a:pt x="731" y="908"/>
                  </a:lnTo>
                  <a:lnTo>
                    <a:pt x="752" y="900"/>
                  </a:lnTo>
                  <a:lnTo>
                    <a:pt x="771" y="891"/>
                  </a:lnTo>
                  <a:lnTo>
                    <a:pt x="789" y="881"/>
                  </a:lnTo>
                  <a:lnTo>
                    <a:pt x="806" y="871"/>
                  </a:lnTo>
                  <a:lnTo>
                    <a:pt x="822" y="861"/>
                  </a:lnTo>
                  <a:lnTo>
                    <a:pt x="838" y="850"/>
                  </a:lnTo>
                  <a:lnTo>
                    <a:pt x="853" y="837"/>
                  </a:lnTo>
                  <a:lnTo>
                    <a:pt x="867" y="825"/>
                  </a:lnTo>
                  <a:lnTo>
                    <a:pt x="879" y="813"/>
                  </a:lnTo>
                  <a:lnTo>
                    <a:pt x="891" y="801"/>
                  </a:lnTo>
                  <a:lnTo>
                    <a:pt x="1061" y="982"/>
                  </a:lnTo>
                  <a:lnTo>
                    <a:pt x="1061" y="982"/>
                  </a:lnTo>
                  <a:lnTo>
                    <a:pt x="1041" y="1003"/>
                  </a:lnTo>
                  <a:lnTo>
                    <a:pt x="1020" y="1024"/>
                  </a:lnTo>
                  <a:lnTo>
                    <a:pt x="998" y="1043"/>
                  </a:lnTo>
                  <a:lnTo>
                    <a:pt x="974" y="1061"/>
                  </a:lnTo>
                  <a:lnTo>
                    <a:pt x="949" y="1079"/>
                  </a:lnTo>
                  <a:lnTo>
                    <a:pt x="922" y="1095"/>
                  </a:lnTo>
                  <a:lnTo>
                    <a:pt x="894" y="1110"/>
                  </a:lnTo>
                  <a:lnTo>
                    <a:pt x="866" y="1124"/>
                  </a:lnTo>
                  <a:lnTo>
                    <a:pt x="835" y="1137"/>
                  </a:lnTo>
                  <a:lnTo>
                    <a:pt x="803" y="1148"/>
                  </a:lnTo>
                  <a:lnTo>
                    <a:pt x="770" y="1157"/>
                  </a:lnTo>
                  <a:lnTo>
                    <a:pt x="736" y="1166"/>
                  </a:lnTo>
                  <a:lnTo>
                    <a:pt x="702" y="1172"/>
                  </a:lnTo>
                  <a:lnTo>
                    <a:pt x="667" y="1177"/>
                  </a:lnTo>
                  <a:lnTo>
                    <a:pt x="630" y="1180"/>
                  </a:lnTo>
                  <a:lnTo>
                    <a:pt x="593" y="1181"/>
                  </a:lnTo>
                  <a:lnTo>
                    <a:pt x="593" y="1181"/>
                  </a:lnTo>
                  <a:lnTo>
                    <a:pt x="561" y="1180"/>
                  </a:lnTo>
                  <a:lnTo>
                    <a:pt x="529" y="1178"/>
                  </a:lnTo>
                  <a:lnTo>
                    <a:pt x="499" y="1174"/>
                  </a:lnTo>
                  <a:lnTo>
                    <a:pt x="470" y="1169"/>
                  </a:lnTo>
                  <a:lnTo>
                    <a:pt x="440" y="1163"/>
                  </a:lnTo>
                  <a:lnTo>
                    <a:pt x="411" y="1155"/>
                  </a:lnTo>
                  <a:lnTo>
                    <a:pt x="383" y="1146"/>
                  </a:lnTo>
                  <a:lnTo>
                    <a:pt x="356" y="1136"/>
                  </a:lnTo>
                  <a:lnTo>
                    <a:pt x="330" y="1124"/>
                  </a:lnTo>
                  <a:lnTo>
                    <a:pt x="304" y="1111"/>
                  </a:lnTo>
                  <a:lnTo>
                    <a:pt x="280" y="1097"/>
                  </a:lnTo>
                  <a:lnTo>
                    <a:pt x="255" y="1082"/>
                  </a:lnTo>
                  <a:lnTo>
                    <a:pt x="232" y="1065"/>
                  </a:lnTo>
                  <a:lnTo>
                    <a:pt x="210" y="1048"/>
                  </a:lnTo>
                  <a:lnTo>
                    <a:pt x="188" y="1031"/>
                  </a:lnTo>
                  <a:lnTo>
                    <a:pt x="168" y="1011"/>
                  </a:lnTo>
                  <a:lnTo>
                    <a:pt x="149" y="991"/>
                  </a:lnTo>
                  <a:lnTo>
                    <a:pt x="131" y="969"/>
                  </a:lnTo>
                  <a:lnTo>
                    <a:pt x="113" y="947"/>
                  </a:lnTo>
                  <a:lnTo>
                    <a:pt x="97" y="924"/>
                  </a:lnTo>
                  <a:lnTo>
                    <a:pt x="83" y="900"/>
                  </a:lnTo>
                  <a:lnTo>
                    <a:pt x="68" y="875"/>
                  </a:lnTo>
                  <a:lnTo>
                    <a:pt x="56" y="850"/>
                  </a:lnTo>
                  <a:lnTo>
                    <a:pt x="45" y="823"/>
                  </a:lnTo>
                  <a:lnTo>
                    <a:pt x="34" y="796"/>
                  </a:lnTo>
                  <a:lnTo>
                    <a:pt x="25" y="769"/>
                  </a:lnTo>
                  <a:lnTo>
                    <a:pt x="17" y="740"/>
                  </a:lnTo>
                  <a:lnTo>
                    <a:pt x="11" y="712"/>
                  </a:lnTo>
                  <a:lnTo>
                    <a:pt x="6" y="682"/>
                  </a:lnTo>
                  <a:lnTo>
                    <a:pt x="3" y="652"/>
                  </a:lnTo>
                  <a:lnTo>
                    <a:pt x="1" y="622"/>
                  </a:lnTo>
                  <a:lnTo>
                    <a:pt x="0" y="59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5"/>
            <p:cNvSpPr>
              <a:spLocks/>
            </p:cNvSpPr>
            <p:nvPr userDrawn="1"/>
          </p:nvSpPr>
          <p:spPr bwMode="auto">
            <a:xfrm>
              <a:off x="521" y="4117"/>
              <a:ext cx="39" cy="15"/>
            </a:xfrm>
            <a:custGeom>
              <a:avLst/>
              <a:gdLst>
                <a:gd name="T0" fmla="*/ 0 w 590"/>
                <a:gd name="T1" fmla="*/ 233 h 233"/>
                <a:gd name="T2" fmla="*/ 590 w 590"/>
                <a:gd name="T3" fmla="*/ 233 h 233"/>
                <a:gd name="T4" fmla="*/ 590 w 590"/>
                <a:gd name="T5" fmla="*/ 233 h 233"/>
                <a:gd name="T6" fmla="*/ 584 w 590"/>
                <a:gd name="T7" fmla="*/ 204 h 233"/>
                <a:gd name="T8" fmla="*/ 576 w 590"/>
                <a:gd name="T9" fmla="*/ 179 h 233"/>
                <a:gd name="T10" fmla="*/ 566 w 590"/>
                <a:gd name="T11" fmla="*/ 154 h 233"/>
                <a:gd name="T12" fmla="*/ 554 w 590"/>
                <a:gd name="T13" fmla="*/ 131 h 233"/>
                <a:gd name="T14" fmla="*/ 541 w 590"/>
                <a:gd name="T15" fmla="*/ 110 h 233"/>
                <a:gd name="T16" fmla="*/ 526 w 590"/>
                <a:gd name="T17" fmla="*/ 91 h 233"/>
                <a:gd name="T18" fmla="*/ 509 w 590"/>
                <a:gd name="T19" fmla="*/ 74 h 233"/>
                <a:gd name="T20" fmla="*/ 492 w 590"/>
                <a:gd name="T21" fmla="*/ 58 h 233"/>
                <a:gd name="T22" fmla="*/ 472 w 590"/>
                <a:gd name="T23" fmla="*/ 44 h 233"/>
                <a:gd name="T24" fmla="*/ 452 w 590"/>
                <a:gd name="T25" fmla="*/ 33 h 233"/>
                <a:gd name="T26" fmla="*/ 429 w 590"/>
                <a:gd name="T27" fmla="*/ 22 h 233"/>
                <a:gd name="T28" fmla="*/ 406 w 590"/>
                <a:gd name="T29" fmla="*/ 14 h 233"/>
                <a:gd name="T30" fmla="*/ 382 w 590"/>
                <a:gd name="T31" fmla="*/ 8 h 233"/>
                <a:gd name="T32" fmla="*/ 355 w 590"/>
                <a:gd name="T33" fmla="*/ 3 h 233"/>
                <a:gd name="T34" fmla="*/ 329 w 590"/>
                <a:gd name="T35" fmla="*/ 1 h 233"/>
                <a:gd name="T36" fmla="*/ 301 w 590"/>
                <a:gd name="T37" fmla="*/ 0 h 233"/>
                <a:gd name="T38" fmla="*/ 301 w 590"/>
                <a:gd name="T39" fmla="*/ 0 h 233"/>
                <a:gd name="T40" fmla="*/ 276 w 590"/>
                <a:gd name="T41" fmla="*/ 1 h 233"/>
                <a:gd name="T42" fmla="*/ 251 w 590"/>
                <a:gd name="T43" fmla="*/ 4 h 233"/>
                <a:gd name="T44" fmla="*/ 226 w 590"/>
                <a:gd name="T45" fmla="*/ 9 h 233"/>
                <a:gd name="T46" fmla="*/ 203 w 590"/>
                <a:gd name="T47" fmla="*/ 16 h 233"/>
                <a:gd name="T48" fmla="*/ 180 w 590"/>
                <a:gd name="T49" fmla="*/ 24 h 233"/>
                <a:gd name="T50" fmla="*/ 157 w 590"/>
                <a:gd name="T51" fmla="*/ 36 h 233"/>
                <a:gd name="T52" fmla="*/ 136 w 590"/>
                <a:gd name="T53" fmla="*/ 48 h 233"/>
                <a:gd name="T54" fmla="*/ 115 w 590"/>
                <a:gd name="T55" fmla="*/ 62 h 233"/>
                <a:gd name="T56" fmla="*/ 96 w 590"/>
                <a:gd name="T57" fmla="*/ 79 h 233"/>
                <a:gd name="T58" fmla="*/ 78 w 590"/>
                <a:gd name="T59" fmla="*/ 96 h 233"/>
                <a:gd name="T60" fmla="*/ 61 w 590"/>
                <a:gd name="T61" fmla="*/ 115 h 233"/>
                <a:gd name="T62" fmla="*/ 46 w 590"/>
                <a:gd name="T63" fmla="*/ 136 h 233"/>
                <a:gd name="T64" fmla="*/ 32 w 590"/>
                <a:gd name="T65" fmla="*/ 158 h 233"/>
                <a:gd name="T66" fmla="*/ 20 w 590"/>
                <a:gd name="T67" fmla="*/ 182 h 233"/>
                <a:gd name="T68" fmla="*/ 9 w 590"/>
                <a:gd name="T69" fmla="*/ 206 h 233"/>
                <a:gd name="T70" fmla="*/ 0 w 590"/>
                <a:gd name="T71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90" h="233">
                  <a:moveTo>
                    <a:pt x="0" y="233"/>
                  </a:moveTo>
                  <a:lnTo>
                    <a:pt x="590" y="233"/>
                  </a:lnTo>
                  <a:lnTo>
                    <a:pt x="590" y="233"/>
                  </a:lnTo>
                  <a:lnTo>
                    <a:pt x="584" y="204"/>
                  </a:lnTo>
                  <a:lnTo>
                    <a:pt x="576" y="179"/>
                  </a:lnTo>
                  <a:lnTo>
                    <a:pt x="566" y="154"/>
                  </a:lnTo>
                  <a:lnTo>
                    <a:pt x="554" y="131"/>
                  </a:lnTo>
                  <a:lnTo>
                    <a:pt x="541" y="110"/>
                  </a:lnTo>
                  <a:lnTo>
                    <a:pt x="526" y="91"/>
                  </a:lnTo>
                  <a:lnTo>
                    <a:pt x="509" y="74"/>
                  </a:lnTo>
                  <a:lnTo>
                    <a:pt x="492" y="58"/>
                  </a:lnTo>
                  <a:lnTo>
                    <a:pt x="472" y="44"/>
                  </a:lnTo>
                  <a:lnTo>
                    <a:pt x="452" y="33"/>
                  </a:lnTo>
                  <a:lnTo>
                    <a:pt x="429" y="22"/>
                  </a:lnTo>
                  <a:lnTo>
                    <a:pt x="406" y="14"/>
                  </a:lnTo>
                  <a:lnTo>
                    <a:pt x="382" y="8"/>
                  </a:lnTo>
                  <a:lnTo>
                    <a:pt x="355" y="3"/>
                  </a:lnTo>
                  <a:lnTo>
                    <a:pt x="329" y="1"/>
                  </a:lnTo>
                  <a:lnTo>
                    <a:pt x="301" y="0"/>
                  </a:lnTo>
                  <a:lnTo>
                    <a:pt x="301" y="0"/>
                  </a:lnTo>
                  <a:lnTo>
                    <a:pt x="276" y="1"/>
                  </a:lnTo>
                  <a:lnTo>
                    <a:pt x="251" y="4"/>
                  </a:lnTo>
                  <a:lnTo>
                    <a:pt x="226" y="9"/>
                  </a:lnTo>
                  <a:lnTo>
                    <a:pt x="203" y="16"/>
                  </a:lnTo>
                  <a:lnTo>
                    <a:pt x="180" y="24"/>
                  </a:lnTo>
                  <a:lnTo>
                    <a:pt x="157" y="36"/>
                  </a:lnTo>
                  <a:lnTo>
                    <a:pt x="136" y="48"/>
                  </a:lnTo>
                  <a:lnTo>
                    <a:pt x="115" y="62"/>
                  </a:lnTo>
                  <a:lnTo>
                    <a:pt x="96" y="79"/>
                  </a:lnTo>
                  <a:lnTo>
                    <a:pt x="78" y="96"/>
                  </a:lnTo>
                  <a:lnTo>
                    <a:pt x="61" y="115"/>
                  </a:lnTo>
                  <a:lnTo>
                    <a:pt x="46" y="136"/>
                  </a:lnTo>
                  <a:lnTo>
                    <a:pt x="32" y="158"/>
                  </a:lnTo>
                  <a:lnTo>
                    <a:pt x="20" y="182"/>
                  </a:lnTo>
                  <a:lnTo>
                    <a:pt x="9" y="206"/>
                  </a:lnTo>
                  <a:lnTo>
                    <a:pt x="0" y="23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6"/>
            <p:cNvSpPr>
              <a:spLocks/>
            </p:cNvSpPr>
            <p:nvPr userDrawn="1"/>
          </p:nvSpPr>
          <p:spPr bwMode="auto">
            <a:xfrm>
              <a:off x="588" y="4101"/>
              <a:ext cx="66" cy="79"/>
            </a:xfrm>
            <a:custGeom>
              <a:avLst/>
              <a:gdLst>
                <a:gd name="T0" fmla="*/ 720 w 988"/>
                <a:gd name="T1" fmla="*/ 1179 h 1179"/>
                <a:gd name="T2" fmla="*/ 720 w 988"/>
                <a:gd name="T3" fmla="*/ 493 h 1179"/>
                <a:gd name="T4" fmla="*/ 715 w 988"/>
                <a:gd name="T5" fmla="*/ 448 h 1179"/>
                <a:gd name="T6" fmla="*/ 702 w 988"/>
                <a:gd name="T7" fmla="*/ 405 h 1179"/>
                <a:gd name="T8" fmla="*/ 681 w 988"/>
                <a:gd name="T9" fmla="*/ 367 h 1179"/>
                <a:gd name="T10" fmla="*/ 654 w 988"/>
                <a:gd name="T11" fmla="*/ 333 h 1179"/>
                <a:gd name="T12" fmla="*/ 620 w 988"/>
                <a:gd name="T13" fmla="*/ 306 h 1179"/>
                <a:gd name="T14" fmla="*/ 582 w 988"/>
                <a:gd name="T15" fmla="*/ 285 h 1179"/>
                <a:gd name="T16" fmla="*/ 540 w 988"/>
                <a:gd name="T17" fmla="*/ 272 h 1179"/>
                <a:gd name="T18" fmla="*/ 493 w 988"/>
                <a:gd name="T19" fmla="*/ 268 h 1179"/>
                <a:gd name="T20" fmla="*/ 471 w 988"/>
                <a:gd name="T21" fmla="*/ 269 h 1179"/>
                <a:gd name="T22" fmla="*/ 427 w 988"/>
                <a:gd name="T23" fmla="*/ 278 h 1179"/>
                <a:gd name="T24" fmla="*/ 386 w 988"/>
                <a:gd name="T25" fmla="*/ 294 h 1179"/>
                <a:gd name="T26" fmla="*/ 350 w 988"/>
                <a:gd name="T27" fmla="*/ 319 h 1179"/>
                <a:gd name="T28" fmla="*/ 319 w 988"/>
                <a:gd name="T29" fmla="*/ 350 h 1179"/>
                <a:gd name="T30" fmla="*/ 295 w 988"/>
                <a:gd name="T31" fmla="*/ 385 h 1179"/>
                <a:gd name="T32" fmla="*/ 278 w 988"/>
                <a:gd name="T33" fmla="*/ 425 h 1179"/>
                <a:gd name="T34" fmla="*/ 269 w 988"/>
                <a:gd name="T35" fmla="*/ 469 h 1179"/>
                <a:gd name="T36" fmla="*/ 268 w 988"/>
                <a:gd name="T37" fmla="*/ 1179 h 1179"/>
                <a:gd name="T38" fmla="*/ 0 w 988"/>
                <a:gd name="T39" fmla="*/ 493 h 1179"/>
                <a:gd name="T40" fmla="*/ 0 w 988"/>
                <a:gd name="T41" fmla="*/ 467 h 1179"/>
                <a:gd name="T42" fmla="*/ 5 w 988"/>
                <a:gd name="T43" fmla="*/ 418 h 1179"/>
                <a:gd name="T44" fmla="*/ 15 w 988"/>
                <a:gd name="T45" fmla="*/ 370 h 1179"/>
                <a:gd name="T46" fmla="*/ 30 w 988"/>
                <a:gd name="T47" fmla="*/ 323 h 1179"/>
                <a:gd name="T48" fmla="*/ 48 w 988"/>
                <a:gd name="T49" fmla="*/ 279 h 1179"/>
                <a:gd name="T50" fmla="*/ 71 w 988"/>
                <a:gd name="T51" fmla="*/ 237 h 1179"/>
                <a:gd name="T52" fmla="*/ 97 w 988"/>
                <a:gd name="T53" fmla="*/ 198 h 1179"/>
                <a:gd name="T54" fmla="*/ 128 w 988"/>
                <a:gd name="T55" fmla="*/ 161 h 1179"/>
                <a:gd name="T56" fmla="*/ 162 w 988"/>
                <a:gd name="T57" fmla="*/ 129 h 1179"/>
                <a:gd name="T58" fmla="*/ 198 w 988"/>
                <a:gd name="T59" fmla="*/ 98 h 1179"/>
                <a:gd name="T60" fmla="*/ 238 w 988"/>
                <a:gd name="T61" fmla="*/ 71 h 1179"/>
                <a:gd name="T62" fmla="*/ 280 w 988"/>
                <a:gd name="T63" fmla="*/ 49 h 1179"/>
                <a:gd name="T64" fmla="*/ 324 w 988"/>
                <a:gd name="T65" fmla="*/ 30 h 1179"/>
                <a:gd name="T66" fmla="*/ 370 w 988"/>
                <a:gd name="T67" fmla="*/ 15 h 1179"/>
                <a:gd name="T68" fmla="*/ 419 w 988"/>
                <a:gd name="T69" fmla="*/ 6 h 1179"/>
                <a:gd name="T70" fmla="*/ 469 w 988"/>
                <a:gd name="T71" fmla="*/ 1 h 1179"/>
                <a:gd name="T72" fmla="*/ 493 w 988"/>
                <a:gd name="T73" fmla="*/ 0 h 1179"/>
                <a:gd name="T74" fmla="*/ 544 w 988"/>
                <a:gd name="T75" fmla="*/ 3 h 1179"/>
                <a:gd name="T76" fmla="*/ 593 w 988"/>
                <a:gd name="T77" fmla="*/ 10 h 1179"/>
                <a:gd name="T78" fmla="*/ 640 w 988"/>
                <a:gd name="T79" fmla="*/ 22 h 1179"/>
                <a:gd name="T80" fmla="*/ 686 w 988"/>
                <a:gd name="T81" fmla="*/ 39 h 1179"/>
                <a:gd name="T82" fmla="*/ 729 w 988"/>
                <a:gd name="T83" fmla="*/ 59 h 1179"/>
                <a:gd name="T84" fmla="*/ 769 w 988"/>
                <a:gd name="T85" fmla="*/ 85 h 1179"/>
                <a:gd name="T86" fmla="*/ 807 w 988"/>
                <a:gd name="T87" fmla="*/ 112 h 1179"/>
                <a:gd name="T88" fmla="*/ 843 w 988"/>
                <a:gd name="T89" fmla="*/ 145 h 1179"/>
                <a:gd name="T90" fmla="*/ 875 w 988"/>
                <a:gd name="T91" fmla="*/ 180 h 1179"/>
                <a:gd name="T92" fmla="*/ 904 w 988"/>
                <a:gd name="T93" fmla="*/ 218 h 1179"/>
                <a:gd name="T94" fmla="*/ 928 w 988"/>
                <a:gd name="T95" fmla="*/ 258 h 1179"/>
                <a:gd name="T96" fmla="*/ 949 w 988"/>
                <a:gd name="T97" fmla="*/ 301 h 1179"/>
                <a:gd name="T98" fmla="*/ 965 w 988"/>
                <a:gd name="T99" fmla="*/ 346 h 1179"/>
                <a:gd name="T100" fmla="*/ 978 w 988"/>
                <a:gd name="T101" fmla="*/ 393 h 1179"/>
                <a:gd name="T102" fmla="*/ 985 w 988"/>
                <a:gd name="T103" fmla="*/ 443 h 1179"/>
                <a:gd name="T104" fmla="*/ 988 w 988"/>
                <a:gd name="T105" fmla="*/ 493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88" h="1179">
                  <a:moveTo>
                    <a:pt x="988" y="1179"/>
                  </a:moveTo>
                  <a:lnTo>
                    <a:pt x="720" y="1179"/>
                  </a:lnTo>
                  <a:lnTo>
                    <a:pt x="720" y="493"/>
                  </a:lnTo>
                  <a:lnTo>
                    <a:pt x="720" y="493"/>
                  </a:lnTo>
                  <a:lnTo>
                    <a:pt x="718" y="469"/>
                  </a:lnTo>
                  <a:lnTo>
                    <a:pt x="715" y="448"/>
                  </a:lnTo>
                  <a:lnTo>
                    <a:pt x="710" y="425"/>
                  </a:lnTo>
                  <a:lnTo>
                    <a:pt x="702" y="405"/>
                  </a:lnTo>
                  <a:lnTo>
                    <a:pt x="692" y="385"/>
                  </a:lnTo>
                  <a:lnTo>
                    <a:pt x="681" y="367"/>
                  </a:lnTo>
                  <a:lnTo>
                    <a:pt x="668" y="350"/>
                  </a:lnTo>
                  <a:lnTo>
                    <a:pt x="654" y="333"/>
                  </a:lnTo>
                  <a:lnTo>
                    <a:pt x="637" y="319"/>
                  </a:lnTo>
                  <a:lnTo>
                    <a:pt x="620" y="306"/>
                  </a:lnTo>
                  <a:lnTo>
                    <a:pt x="601" y="294"/>
                  </a:lnTo>
                  <a:lnTo>
                    <a:pt x="582" y="285"/>
                  </a:lnTo>
                  <a:lnTo>
                    <a:pt x="561" y="278"/>
                  </a:lnTo>
                  <a:lnTo>
                    <a:pt x="540" y="272"/>
                  </a:lnTo>
                  <a:lnTo>
                    <a:pt x="517" y="269"/>
                  </a:lnTo>
                  <a:lnTo>
                    <a:pt x="493" y="268"/>
                  </a:lnTo>
                  <a:lnTo>
                    <a:pt x="493" y="268"/>
                  </a:lnTo>
                  <a:lnTo>
                    <a:pt x="471" y="269"/>
                  </a:lnTo>
                  <a:lnTo>
                    <a:pt x="448" y="272"/>
                  </a:lnTo>
                  <a:lnTo>
                    <a:pt x="427" y="278"/>
                  </a:lnTo>
                  <a:lnTo>
                    <a:pt x="406" y="285"/>
                  </a:lnTo>
                  <a:lnTo>
                    <a:pt x="386" y="294"/>
                  </a:lnTo>
                  <a:lnTo>
                    <a:pt x="367" y="306"/>
                  </a:lnTo>
                  <a:lnTo>
                    <a:pt x="350" y="319"/>
                  </a:lnTo>
                  <a:lnTo>
                    <a:pt x="334" y="333"/>
                  </a:lnTo>
                  <a:lnTo>
                    <a:pt x="319" y="350"/>
                  </a:lnTo>
                  <a:lnTo>
                    <a:pt x="307" y="367"/>
                  </a:lnTo>
                  <a:lnTo>
                    <a:pt x="295" y="385"/>
                  </a:lnTo>
                  <a:lnTo>
                    <a:pt x="285" y="405"/>
                  </a:lnTo>
                  <a:lnTo>
                    <a:pt x="278" y="425"/>
                  </a:lnTo>
                  <a:lnTo>
                    <a:pt x="273" y="448"/>
                  </a:lnTo>
                  <a:lnTo>
                    <a:pt x="269" y="469"/>
                  </a:lnTo>
                  <a:lnTo>
                    <a:pt x="268" y="493"/>
                  </a:lnTo>
                  <a:lnTo>
                    <a:pt x="268" y="1179"/>
                  </a:lnTo>
                  <a:lnTo>
                    <a:pt x="0" y="1179"/>
                  </a:lnTo>
                  <a:lnTo>
                    <a:pt x="0" y="493"/>
                  </a:lnTo>
                  <a:lnTo>
                    <a:pt x="0" y="493"/>
                  </a:lnTo>
                  <a:lnTo>
                    <a:pt x="0" y="467"/>
                  </a:lnTo>
                  <a:lnTo>
                    <a:pt x="2" y="443"/>
                  </a:lnTo>
                  <a:lnTo>
                    <a:pt x="5" y="418"/>
                  </a:lnTo>
                  <a:lnTo>
                    <a:pt x="9" y="393"/>
                  </a:lnTo>
                  <a:lnTo>
                    <a:pt x="15" y="370"/>
                  </a:lnTo>
                  <a:lnTo>
                    <a:pt x="21" y="346"/>
                  </a:lnTo>
                  <a:lnTo>
                    <a:pt x="30" y="323"/>
                  </a:lnTo>
                  <a:lnTo>
                    <a:pt x="39" y="301"/>
                  </a:lnTo>
                  <a:lnTo>
                    <a:pt x="48" y="279"/>
                  </a:lnTo>
                  <a:lnTo>
                    <a:pt x="59" y="258"/>
                  </a:lnTo>
                  <a:lnTo>
                    <a:pt x="71" y="237"/>
                  </a:lnTo>
                  <a:lnTo>
                    <a:pt x="84" y="218"/>
                  </a:lnTo>
                  <a:lnTo>
                    <a:pt x="97" y="198"/>
                  </a:lnTo>
                  <a:lnTo>
                    <a:pt x="113" y="180"/>
                  </a:lnTo>
                  <a:lnTo>
                    <a:pt x="128" y="161"/>
                  </a:lnTo>
                  <a:lnTo>
                    <a:pt x="145" y="145"/>
                  </a:lnTo>
                  <a:lnTo>
                    <a:pt x="162" y="129"/>
                  </a:lnTo>
                  <a:lnTo>
                    <a:pt x="179" y="112"/>
                  </a:lnTo>
                  <a:lnTo>
                    <a:pt x="198" y="98"/>
                  </a:lnTo>
                  <a:lnTo>
                    <a:pt x="217" y="85"/>
                  </a:lnTo>
                  <a:lnTo>
                    <a:pt x="238" y="71"/>
                  </a:lnTo>
                  <a:lnTo>
                    <a:pt x="258" y="59"/>
                  </a:lnTo>
                  <a:lnTo>
                    <a:pt x="280" y="49"/>
                  </a:lnTo>
                  <a:lnTo>
                    <a:pt x="302" y="39"/>
                  </a:lnTo>
                  <a:lnTo>
                    <a:pt x="324" y="30"/>
                  </a:lnTo>
                  <a:lnTo>
                    <a:pt x="347" y="22"/>
                  </a:lnTo>
                  <a:lnTo>
                    <a:pt x="370" y="15"/>
                  </a:lnTo>
                  <a:lnTo>
                    <a:pt x="394" y="10"/>
                  </a:lnTo>
                  <a:lnTo>
                    <a:pt x="419" y="6"/>
                  </a:lnTo>
                  <a:lnTo>
                    <a:pt x="443" y="3"/>
                  </a:lnTo>
                  <a:lnTo>
                    <a:pt x="469" y="1"/>
                  </a:lnTo>
                  <a:lnTo>
                    <a:pt x="493" y="0"/>
                  </a:lnTo>
                  <a:lnTo>
                    <a:pt x="493" y="0"/>
                  </a:lnTo>
                  <a:lnTo>
                    <a:pt x="519" y="1"/>
                  </a:lnTo>
                  <a:lnTo>
                    <a:pt x="544" y="3"/>
                  </a:lnTo>
                  <a:lnTo>
                    <a:pt x="569" y="6"/>
                  </a:lnTo>
                  <a:lnTo>
                    <a:pt x="593" y="10"/>
                  </a:lnTo>
                  <a:lnTo>
                    <a:pt x="618" y="15"/>
                  </a:lnTo>
                  <a:lnTo>
                    <a:pt x="640" y="22"/>
                  </a:lnTo>
                  <a:lnTo>
                    <a:pt x="664" y="30"/>
                  </a:lnTo>
                  <a:lnTo>
                    <a:pt x="686" y="39"/>
                  </a:lnTo>
                  <a:lnTo>
                    <a:pt x="708" y="49"/>
                  </a:lnTo>
                  <a:lnTo>
                    <a:pt x="729" y="59"/>
                  </a:lnTo>
                  <a:lnTo>
                    <a:pt x="750" y="71"/>
                  </a:lnTo>
                  <a:lnTo>
                    <a:pt x="769" y="85"/>
                  </a:lnTo>
                  <a:lnTo>
                    <a:pt x="789" y="98"/>
                  </a:lnTo>
                  <a:lnTo>
                    <a:pt x="807" y="112"/>
                  </a:lnTo>
                  <a:lnTo>
                    <a:pt x="826" y="129"/>
                  </a:lnTo>
                  <a:lnTo>
                    <a:pt x="843" y="145"/>
                  </a:lnTo>
                  <a:lnTo>
                    <a:pt x="860" y="161"/>
                  </a:lnTo>
                  <a:lnTo>
                    <a:pt x="875" y="180"/>
                  </a:lnTo>
                  <a:lnTo>
                    <a:pt x="889" y="198"/>
                  </a:lnTo>
                  <a:lnTo>
                    <a:pt x="904" y="218"/>
                  </a:lnTo>
                  <a:lnTo>
                    <a:pt x="916" y="237"/>
                  </a:lnTo>
                  <a:lnTo>
                    <a:pt x="928" y="258"/>
                  </a:lnTo>
                  <a:lnTo>
                    <a:pt x="939" y="279"/>
                  </a:lnTo>
                  <a:lnTo>
                    <a:pt x="949" y="301"/>
                  </a:lnTo>
                  <a:lnTo>
                    <a:pt x="958" y="323"/>
                  </a:lnTo>
                  <a:lnTo>
                    <a:pt x="965" y="346"/>
                  </a:lnTo>
                  <a:lnTo>
                    <a:pt x="973" y="370"/>
                  </a:lnTo>
                  <a:lnTo>
                    <a:pt x="978" y="393"/>
                  </a:lnTo>
                  <a:lnTo>
                    <a:pt x="982" y="418"/>
                  </a:lnTo>
                  <a:lnTo>
                    <a:pt x="985" y="443"/>
                  </a:lnTo>
                  <a:lnTo>
                    <a:pt x="987" y="467"/>
                  </a:lnTo>
                  <a:lnTo>
                    <a:pt x="988" y="493"/>
                  </a:lnTo>
                  <a:lnTo>
                    <a:pt x="988" y="117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/>
            <p:cNvSpPr>
              <a:spLocks/>
            </p:cNvSpPr>
            <p:nvPr userDrawn="1"/>
          </p:nvSpPr>
          <p:spPr bwMode="auto">
            <a:xfrm>
              <a:off x="366" y="4101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 userDrawn="1"/>
          </p:nvSpPr>
          <p:spPr bwMode="auto">
            <a:xfrm>
              <a:off x="366" y="4101"/>
              <a:ext cx="27" cy="27"/>
            </a:xfrm>
            <a:custGeom>
              <a:avLst/>
              <a:gdLst>
                <a:gd name="T0" fmla="*/ 407 w 407"/>
                <a:gd name="T1" fmla="*/ 202 h 405"/>
                <a:gd name="T2" fmla="*/ 403 w 407"/>
                <a:gd name="T3" fmla="*/ 243 h 405"/>
                <a:gd name="T4" fmla="*/ 390 w 407"/>
                <a:gd name="T5" fmla="*/ 281 h 405"/>
                <a:gd name="T6" fmla="*/ 372 w 407"/>
                <a:gd name="T7" fmla="*/ 316 h 405"/>
                <a:gd name="T8" fmla="*/ 347 w 407"/>
                <a:gd name="T9" fmla="*/ 345 h 405"/>
                <a:gd name="T10" fmla="*/ 317 w 407"/>
                <a:gd name="T11" fmla="*/ 370 h 405"/>
                <a:gd name="T12" fmla="*/ 283 w 407"/>
                <a:gd name="T13" fmla="*/ 388 h 405"/>
                <a:gd name="T14" fmla="*/ 245 w 407"/>
                <a:gd name="T15" fmla="*/ 401 h 405"/>
                <a:gd name="T16" fmla="*/ 204 w 407"/>
                <a:gd name="T17" fmla="*/ 405 h 405"/>
                <a:gd name="T18" fmla="*/ 183 w 407"/>
                <a:gd name="T19" fmla="*/ 404 h 405"/>
                <a:gd name="T20" fmla="*/ 143 w 407"/>
                <a:gd name="T21" fmla="*/ 396 h 405"/>
                <a:gd name="T22" fmla="*/ 107 w 407"/>
                <a:gd name="T23" fmla="*/ 380 h 405"/>
                <a:gd name="T24" fmla="*/ 74 w 407"/>
                <a:gd name="T25" fmla="*/ 359 h 405"/>
                <a:gd name="T26" fmla="*/ 47 w 407"/>
                <a:gd name="T27" fmla="*/ 331 h 405"/>
                <a:gd name="T28" fmla="*/ 25 w 407"/>
                <a:gd name="T29" fmla="*/ 298 h 405"/>
                <a:gd name="T30" fmla="*/ 10 w 407"/>
                <a:gd name="T31" fmla="*/ 263 h 405"/>
                <a:gd name="T32" fmla="*/ 1 w 407"/>
                <a:gd name="T33" fmla="*/ 223 h 405"/>
                <a:gd name="T34" fmla="*/ 0 w 407"/>
                <a:gd name="T35" fmla="*/ 202 h 405"/>
                <a:gd name="T36" fmla="*/ 5 w 407"/>
                <a:gd name="T37" fmla="*/ 161 h 405"/>
                <a:gd name="T38" fmla="*/ 17 w 407"/>
                <a:gd name="T39" fmla="*/ 124 h 405"/>
                <a:gd name="T40" fmla="*/ 35 w 407"/>
                <a:gd name="T41" fmla="*/ 89 h 405"/>
                <a:gd name="T42" fmla="*/ 60 w 407"/>
                <a:gd name="T43" fmla="*/ 59 h 405"/>
                <a:gd name="T44" fmla="*/ 90 w 407"/>
                <a:gd name="T45" fmla="*/ 35 h 405"/>
                <a:gd name="T46" fmla="*/ 125 w 407"/>
                <a:gd name="T47" fmla="*/ 16 h 405"/>
                <a:gd name="T48" fmla="*/ 163 w 407"/>
                <a:gd name="T49" fmla="*/ 4 h 405"/>
                <a:gd name="T50" fmla="*/ 204 w 407"/>
                <a:gd name="T51" fmla="*/ 0 h 405"/>
                <a:gd name="T52" fmla="*/ 224 w 407"/>
                <a:gd name="T53" fmla="*/ 1 h 405"/>
                <a:gd name="T54" fmla="*/ 264 w 407"/>
                <a:gd name="T55" fmla="*/ 9 h 405"/>
                <a:gd name="T56" fmla="*/ 300 w 407"/>
                <a:gd name="T57" fmla="*/ 24 h 405"/>
                <a:gd name="T58" fmla="*/ 333 w 407"/>
                <a:gd name="T59" fmla="*/ 46 h 405"/>
                <a:gd name="T60" fmla="*/ 361 w 407"/>
                <a:gd name="T61" fmla="*/ 73 h 405"/>
                <a:gd name="T62" fmla="*/ 382 w 407"/>
                <a:gd name="T63" fmla="*/ 106 h 405"/>
                <a:gd name="T64" fmla="*/ 398 w 407"/>
                <a:gd name="T65" fmla="*/ 142 h 405"/>
                <a:gd name="T66" fmla="*/ 406 w 407"/>
                <a:gd name="T67" fmla="*/ 182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07" h="405">
                  <a:moveTo>
                    <a:pt x="407" y="202"/>
                  </a:moveTo>
                  <a:lnTo>
                    <a:pt x="407" y="202"/>
                  </a:lnTo>
                  <a:lnTo>
                    <a:pt x="406" y="223"/>
                  </a:lnTo>
                  <a:lnTo>
                    <a:pt x="403" y="243"/>
                  </a:lnTo>
                  <a:lnTo>
                    <a:pt x="398" y="263"/>
                  </a:lnTo>
                  <a:lnTo>
                    <a:pt x="390" y="281"/>
                  </a:lnTo>
                  <a:lnTo>
                    <a:pt x="382" y="298"/>
                  </a:lnTo>
                  <a:lnTo>
                    <a:pt x="372" y="316"/>
                  </a:lnTo>
                  <a:lnTo>
                    <a:pt x="361" y="331"/>
                  </a:lnTo>
                  <a:lnTo>
                    <a:pt x="347" y="345"/>
                  </a:lnTo>
                  <a:lnTo>
                    <a:pt x="333" y="359"/>
                  </a:lnTo>
                  <a:lnTo>
                    <a:pt x="317" y="370"/>
                  </a:lnTo>
                  <a:lnTo>
                    <a:pt x="300" y="380"/>
                  </a:lnTo>
                  <a:lnTo>
                    <a:pt x="283" y="388"/>
                  </a:lnTo>
                  <a:lnTo>
                    <a:pt x="264" y="396"/>
                  </a:lnTo>
                  <a:lnTo>
                    <a:pt x="245" y="401"/>
                  </a:lnTo>
                  <a:lnTo>
                    <a:pt x="224" y="404"/>
                  </a:lnTo>
                  <a:lnTo>
                    <a:pt x="204" y="405"/>
                  </a:lnTo>
                  <a:lnTo>
                    <a:pt x="204" y="405"/>
                  </a:lnTo>
                  <a:lnTo>
                    <a:pt x="183" y="404"/>
                  </a:lnTo>
                  <a:lnTo>
                    <a:pt x="163" y="401"/>
                  </a:lnTo>
                  <a:lnTo>
                    <a:pt x="143" y="396"/>
                  </a:lnTo>
                  <a:lnTo>
                    <a:pt x="125" y="388"/>
                  </a:lnTo>
                  <a:lnTo>
                    <a:pt x="107" y="380"/>
                  </a:lnTo>
                  <a:lnTo>
                    <a:pt x="90" y="370"/>
                  </a:lnTo>
                  <a:lnTo>
                    <a:pt x="74" y="359"/>
                  </a:lnTo>
                  <a:lnTo>
                    <a:pt x="60" y="345"/>
                  </a:lnTo>
                  <a:lnTo>
                    <a:pt x="47" y="331"/>
                  </a:lnTo>
                  <a:lnTo>
                    <a:pt x="35" y="316"/>
                  </a:lnTo>
                  <a:lnTo>
                    <a:pt x="25" y="298"/>
                  </a:lnTo>
                  <a:lnTo>
                    <a:pt x="17" y="281"/>
                  </a:lnTo>
                  <a:lnTo>
                    <a:pt x="10" y="263"/>
                  </a:lnTo>
                  <a:lnTo>
                    <a:pt x="5" y="243"/>
                  </a:lnTo>
                  <a:lnTo>
                    <a:pt x="1" y="223"/>
                  </a:lnTo>
                  <a:lnTo>
                    <a:pt x="0" y="202"/>
                  </a:lnTo>
                  <a:lnTo>
                    <a:pt x="0" y="202"/>
                  </a:lnTo>
                  <a:lnTo>
                    <a:pt x="1" y="182"/>
                  </a:lnTo>
                  <a:lnTo>
                    <a:pt x="5" y="161"/>
                  </a:lnTo>
                  <a:lnTo>
                    <a:pt x="10" y="142"/>
                  </a:lnTo>
                  <a:lnTo>
                    <a:pt x="17" y="124"/>
                  </a:lnTo>
                  <a:lnTo>
                    <a:pt x="25" y="106"/>
                  </a:lnTo>
                  <a:lnTo>
                    <a:pt x="35" y="89"/>
                  </a:lnTo>
                  <a:lnTo>
                    <a:pt x="47" y="73"/>
                  </a:lnTo>
                  <a:lnTo>
                    <a:pt x="60" y="59"/>
                  </a:lnTo>
                  <a:lnTo>
                    <a:pt x="74" y="46"/>
                  </a:lnTo>
                  <a:lnTo>
                    <a:pt x="90" y="35"/>
                  </a:lnTo>
                  <a:lnTo>
                    <a:pt x="107" y="24"/>
                  </a:lnTo>
                  <a:lnTo>
                    <a:pt x="125" y="16"/>
                  </a:lnTo>
                  <a:lnTo>
                    <a:pt x="143" y="9"/>
                  </a:lnTo>
                  <a:lnTo>
                    <a:pt x="163" y="4"/>
                  </a:lnTo>
                  <a:lnTo>
                    <a:pt x="183" y="1"/>
                  </a:lnTo>
                  <a:lnTo>
                    <a:pt x="204" y="0"/>
                  </a:lnTo>
                  <a:lnTo>
                    <a:pt x="204" y="0"/>
                  </a:lnTo>
                  <a:lnTo>
                    <a:pt x="224" y="1"/>
                  </a:lnTo>
                  <a:lnTo>
                    <a:pt x="245" y="4"/>
                  </a:lnTo>
                  <a:lnTo>
                    <a:pt x="264" y="9"/>
                  </a:lnTo>
                  <a:lnTo>
                    <a:pt x="283" y="16"/>
                  </a:lnTo>
                  <a:lnTo>
                    <a:pt x="300" y="24"/>
                  </a:lnTo>
                  <a:lnTo>
                    <a:pt x="317" y="35"/>
                  </a:lnTo>
                  <a:lnTo>
                    <a:pt x="333" y="46"/>
                  </a:lnTo>
                  <a:lnTo>
                    <a:pt x="347" y="59"/>
                  </a:lnTo>
                  <a:lnTo>
                    <a:pt x="361" y="73"/>
                  </a:lnTo>
                  <a:lnTo>
                    <a:pt x="372" y="89"/>
                  </a:lnTo>
                  <a:lnTo>
                    <a:pt x="382" y="106"/>
                  </a:lnTo>
                  <a:lnTo>
                    <a:pt x="390" y="124"/>
                  </a:lnTo>
                  <a:lnTo>
                    <a:pt x="398" y="142"/>
                  </a:lnTo>
                  <a:lnTo>
                    <a:pt x="403" y="161"/>
                  </a:lnTo>
                  <a:lnTo>
                    <a:pt x="406" y="182"/>
                  </a:lnTo>
                  <a:lnTo>
                    <a:pt x="407" y="2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19473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0" r:id="rId31"/>
    <p:sldLayoutId id="2147483731" r:id="rId32"/>
    <p:sldLayoutId id="2147483732" r:id="rId33"/>
    <p:sldLayoutId id="2147483733" r:id="rId34"/>
    <p:sldLayoutId id="2147483734" r:id="rId35"/>
    <p:sldLayoutId id="2147483735" r:id="rId3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55600" indent="-2667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67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90600" indent="-266700" algn="l" defTabSz="914400" rtl="0" eaLnBrk="1" latinLnBrk="0" hangingPunct="1">
        <a:lnSpc>
          <a:spcPct val="100000"/>
        </a:lnSpc>
        <a:spcBef>
          <a:spcPts val="500"/>
        </a:spcBef>
        <a:buClr>
          <a:schemeClr val="accent4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257300" indent="-266700" algn="l" defTabSz="914400" rtl="0" eaLnBrk="1" latinLnBrk="0" hangingPunct="1">
        <a:lnSpc>
          <a:spcPct val="10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12900" indent="-266700" algn="l" defTabSz="914400" rtl="0" eaLnBrk="1" latinLnBrk="0" hangingPunct="1">
        <a:lnSpc>
          <a:spcPct val="10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lang="en-US" sz="18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83">
          <p15:clr>
            <a:srgbClr val="F26B43"/>
          </p15:clr>
        </p15:guide>
        <p15:guide id="4" pos="7197">
          <p15:clr>
            <a:srgbClr val="F26B43"/>
          </p15:clr>
        </p15:guide>
        <p15:guide id="5" orient="horz" pos="504">
          <p15:clr>
            <a:srgbClr val="F26B43"/>
          </p15:clr>
        </p15:guide>
        <p15:guide id="6" orient="horz" pos="381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EF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306"/>
          <a:stretch/>
        </p:blipFill>
        <p:spPr bwMode="auto">
          <a:xfrm rot="10800000">
            <a:off x="0" y="5716456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120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78"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20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381"/>
          <a:stretch/>
        </p:blipFill>
        <p:spPr bwMode="auto">
          <a:xfrm>
            <a:off x="1" y="0"/>
            <a:ext cx="12191998" cy="1141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Box 4"/>
          <p:cNvSpPr txBox="1">
            <a:spLocks noChangeArrowheads="1"/>
          </p:cNvSpPr>
          <p:nvPr userDrawn="1"/>
        </p:nvSpPr>
        <p:spPr bwMode="auto">
          <a:xfrm>
            <a:off x="10438637" y="6705655"/>
            <a:ext cx="1664738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en-GB" sz="700" b="0" dirty="0">
                <a:solidFill>
                  <a:srgbClr val="898989"/>
                </a:solidFill>
                <a:latin typeface="+mj-lt"/>
              </a:rPr>
              <a:t>Copyright</a:t>
            </a:r>
            <a:r>
              <a:rPr lang="en-GB" sz="700" b="0" baseline="0" dirty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>
                <a:solidFill>
                  <a:srgbClr val="898989"/>
                </a:solidFill>
                <a:latin typeface="+mj-lt"/>
              </a:rPr>
              <a:t>©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2021</a:t>
            </a:r>
            <a:r>
              <a:rPr lang="en-GB" sz="700" b="0" baseline="0" dirty="0" smtClean="0">
                <a:solidFill>
                  <a:srgbClr val="898989"/>
                </a:solidFill>
                <a:latin typeface="+mj-lt"/>
              </a:rPr>
              <a:t> </a:t>
            </a:r>
            <a:r>
              <a:rPr lang="en-GB" sz="700" b="0" dirty="0" smtClean="0">
                <a:solidFill>
                  <a:srgbClr val="898989"/>
                </a:solidFill>
                <a:latin typeface="+mj-lt"/>
              </a:rPr>
              <a:t>SCK CEN</a:t>
            </a:r>
            <a:endParaRPr lang="en-GB" sz="700" b="0" dirty="0">
              <a:solidFill>
                <a:srgbClr val="898989"/>
              </a:solidFill>
              <a:latin typeface="+mj-lt"/>
            </a:endParaRPr>
          </a:p>
        </p:txBody>
      </p:sp>
      <p:sp>
        <p:nvSpPr>
          <p:cNvPr id="26" name="Text Box 4"/>
          <p:cNvSpPr txBox="1">
            <a:spLocks noChangeArrowheads="1"/>
          </p:cNvSpPr>
          <p:nvPr userDrawn="1"/>
        </p:nvSpPr>
        <p:spPr bwMode="auto">
          <a:xfrm>
            <a:off x="10438637" y="6574431"/>
            <a:ext cx="166473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B9CD9413-B2A0-4D48-9D45-C313C489C51C}" type="slidenum">
              <a:rPr lang="nl-BE" sz="800" smtClean="0">
                <a:solidFill>
                  <a:srgbClr val="898989"/>
                </a:solidFill>
              </a:rPr>
              <a:pPr algn="r"/>
              <a:t>‹#›</a:t>
            </a:fld>
            <a:endParaRPr lang="nl-BE" sz="800" dirty="0">
              <a:solidFill>
                <a:srgbClr val="898989"/>
              </a:solidFill>
            </a:endParaRPr>
          </a:p>
        </p:txBody>
      </p:sp>
      <p:sp>
        <p:nvSpPr>
          <p:cNvPr id="27" name="TextBox 26" title="AlexandriaReference"/>
          <p:cNvSpPr txBox="1"/>
          <p:nvPr userDrawn="1"/>
        </p:nvSpPr>
        <p:spPr>
          <a:xfrm>
            <a:off x="5026029" y="6552775"/>
            <a:ext cx="2139947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lang="nl-BE" sz="700" b="0" kern="1200" noProof="0" smtClean="0">
                <a:solidFill>
                  <a:srgbClr val="898989"/>
                </a:solidFill>
                <a:latin typeface="+mj-lt"/>
                <a:ea typeface="+mn-ea"/>
                <a:cs typeface="+mn-cs"/>
              </a:rPr>
              <a:t>SCK CEN/43764911</a:t>
            </a:r>
            <a:endParaRPr lang="nl-BE" sz="700" b="0" kern="1200" noProof="0" dirty="0">
              <a:solidFill>
                <a:srgbClr val="898989"/>
              </a:solidFill>
              <a:latin typeface="+mj-lt"/>
              <a:ea typeface="+mn-ea"/>
              <a:cs typeface="+mn-cs"/>
            </a:endParaRPr>
          </a:p>
        </p:txBody>
      </p:sp>
      <p:sp>
        <p:nvSpPr>
          <p:cNvPr id="28" name="TextBox 27" title="AlexandriaDistributionLimitations"/>
          <p:cNvSpPr txBox="1"/>
          <p:nvPr userDrawn="1"/>
        </p:nvSpPr>
        <p:spPr>
          <a:xfrm>
            <a:off x="4498121" y="6672269"/>
            <a:ext cx="3195760" cy="20005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2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>
                <a:tab pos="3780095" algn="r"/>
              </a:tabLst>
              <a:defRPr/>
            </a:pPr>
            <a:r>
              <a:rPr lang="nl-BE" sz="700" b="0" kern="1200" noProof="0" smtClean="0">
                <a:solidFill>
                  <a:srgbClr val="7F7F7F"/>
                </a:solidFill>
                <a:latin typeface="+mj-lt"/>
                <a:ea typeface="+mn-ea"/>
                <a:cs typeface="+mn-cs"/>
              </a:rPr>
              <a:t>ISC: Restricted</a:t>
            </a:r>
            <a:endParaRPr lang="nl-BE" sz="700" b="0" kern="1200" noProof="0" dirty="0">
              <a:solidFill>
                <a:srgbClr val="7F7F7F"/>
              </a:solidFill>
              <a:latin typeface="+mj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01170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749" r:id="rId13"/>
    <p:sldLayoutId id="2147483750" r:id="rId14"/>
    <p:sldLayoutId id="2147483751" r:id="rId15"/>
  </p:sldLayoutIdLst>
  <p:hf hdr="0" dt="0"/>
  <p:txStyles>
    <p:titleStyle>
      <a:lvl1pPr algn="ctr" defTabSz="1072892" rtl="0" eaLnBrk="1" latinLnBrk="0" hangingPunct="1">
        <a:spcBef>
          <a:spcPct val="0"/>
        </a:spcBef>
        <a:buNone/>
        <a:defRPr lang="nl-BE" sz="2400" b="1" kern="0" dirty="0">
          <a:solidFill>
            <a:srgbClr val="3E8FCD"/>
          </a:solidFill>
          <a:latin typeface="Segoe UI" pitchFamily="34" charset="0"/>
          <a:ea typeface="Segoe UI" pitchFamily="34" charset="0"/>
          <a:cs typeface="Segoe UI" pitchFamily="34" charset="0"/>
        </a:defRPr>
      </a:lvl1pPr>
    </p:titleStyle>
    <p:bodyStyle>
      <a:lvl1pPr marL="402335" indent="-402335" algn="l" defTabSz="1072892" rtl="0" eaLnBrk="1" latinLnBrk="0" hangingPunct="1">
        <a:spcBef>
          <a:spcPct val="20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871725" indent="-335278" algn="l" defTabSz="1072892" rtl="0" eaLnBrk="1" latinLnBrk="0" hangingPunct="1">
        <a:spcBef>
          <a:spcPct val="200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341116" indent="-268223" algn="l" defTabSz="1072892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877562" indent="-268223" algn="l" defTabSz="1072892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414007" indent="-268223" algn="l" defTabSz="1072892" rtl="0" eaLnBrk="1" latinLnBrk="0" hangingPunct="1">
        <a:spcBef>
          <a:spcPct val="20000"/>
        </a:spcBef>
        <a:buClr>
          <a:schemeClr val="accent4"/>
        </a:buClr>
        <a:buSzPct val="100000"/>
        <a:buFont typeface="Arial" panose="020B0604020202020204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950454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86900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3346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59792" indent="-268223" algn="l" defTabSz="1072892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4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92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338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85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231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677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123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569" algn="l" defTabSz="1072892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44BC75-4F0D-48F4-BD87-12C2C41854A0}" type="datetimeFigureOut">
              <a:rPr lang="en-US" smtClean="0"/>
              <a:t>7/18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92D4E7-C85B-466B-97CA-1D2B039785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508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17.bin"/><Relationship Id="rId5" Type="http://schemas.microsoft.com/office/2007/relationships/hdphoto" Target="../media/hdphoto1.wdp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27.xml"/><Relationship Id="rId7" Type="http://schemas.openxmlformats.org/officeDocument/2006/relationships/image" Target="../media/image23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2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5.xml"/><Relationship Id="rId9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hyperlink" Target="https://economie.fgov.be/fr/publications/etude-combustible-nucleaire" TargetMode="Externa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jpeg"/><Relationship Id="rId7" Type="http://schemas.openxmlformats.org/officeDocument/2006/relationships/image" Target="../media/image39.png"/><Relationship Id="rId12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jpeg"/><Relationship Id="rId11" Type="http://schemas.openxmlformats.org/officeDocument/2006/relationships/image" Target="../media/image43.png"/><Relationship Id="rId5" Type="http://schemas.openxmlformats.org/officeDocument/2006/relationships/image" Target="../media/image37.jpeg"/><Relationship Id="rId10" Type="http://schemas.openxmlformats.org/officeDocument/2006/relationships/image" Target="../media/image42.png"/><Relationship Id="rId4" Type="http://schemas.openxmlformats.org/officeDocument/2006/relationships/image" Target="../media/image36.jpeg"/><Relationship Id="rId9" Type="http://schemas.openxmlformats.org/officeDocument/2006/relationships/image" Target="../media/image4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5" Type="http://schemas.openxmlformats.org/officeDocument/2006/relationships/image" Target="../media/image16.png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1.bin"/><Relationship Id="rId5" Type="http://schemas.openxmlformats.org/officeDocument/2006/relationships/image" Target="../media/image45.jpeg"/><Relationship Id="rId10" Type="http://schemas.openxmlformats.org/officeDocument/2006/relationships/image" Target="../media/image48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6.xml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7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56.jpeg"/><Relationship Id="rId4" Type="http://schemas.openxmlformats.org/officeDocument/2006/relationships/image" Target="../media/image55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2.emf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64.xml"/><Relationship Id="rId6" Type="http://schemas.openxmlformats.org/officeDocument/2006/relationships/image" Target="../media/image61.emf"/><Relationship Id="rId5" Type="http://schemas.openxmlformats.org/officeDocument/2006/relationships/image" Target="../media/image60.emf"/><Relationship Id="rId4" Type="http://schemas.openxmlformats.org/officeDocument/2006/relationships/image" Target="../media/image59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7" Type="http://schemas.openxmlformats.org/officeDocument/2006/relationships/image" Target="../media/image68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67.png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1.jpe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13" Type="http://schemas.openxmlformats.org/officeDocument/2006/relationships/image" Target="../media/image7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.emf"/><Relationship Id="rId12" Type="http://schemas.openxmlformats.org/officeDocument/2006/relationships/image" Target="../media/image77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2.bin"/><Relationship Id="rId11" Type="http://schemas.openxmlformats.org/officeDocument/2006/relationships/image" Target="../media/image76.jpeg"/><Relationship Id="rId5" Type="http://schemas.openxmlformats.org/officeDocument/2006/relationships/image" Target="../media/image72.png"/><Relationship Id="rId10" Type="http://schemas.openxmlformats.org/officeDocument/2006/relationships/image" Target="../media/image75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74.jpeg"/><Relationship Id="rId14" Type="http://schemas.openxmlformats.org/officeDocument/2006/relationships/image" Target="../media/image7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png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2.jpg"/><Relationship Id="rId4" Type="http://schemas.openxmlformats.org/officeDocument/2006/relationships/image" Target="../media/image91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95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1.png"/><Relationship Id="rId3" Type="http://schemas.openxmlformats.org/officeDocument/2006/relationships/image" Target="../media/image96.jpeg"/><Relationship Id="rId7" Type="http://schemas.openxmlformats.org/officeDocument/2006/relationships/image" Target="../media/image100.png"/><Relationship Id="rId12" Type="http://schemas.openxmlformats.org/officeDocument/2006/relationships/image" Target="../media/image10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99.png"/><Relationship Id="rId11" Type="http://schemas.openxmlformats.org/officeDocument/2006/relationships/image" Target="../media/image104.png"/><Relationship Id="rId5" Type="http://schemas.openxmlformats.org/officeDocument/2006/relationships/image" Target="../media/image98.png"/><Relationship Id="rId10" Type="http://schemas.openxmlformats.org/officeDocument/2006/relationships/image" Target="../media/image103.png"/><Relationship Id="rId4" Type="http://schemas.openxmlformats.org/officeDocument/2006/relationships/image" Target="../media/image97.png"/><Relationship Id="rId9" Type="http://schemas.openxmlformats.org/officeDocument/2006/relationships/image" Target="../media/image102.pn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2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0056440" y="4247014"/>
            <a:ext cx="1802938" cy="2271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0"/>
            <a:ext cx="12192000" cy="6507276"/>
          </a:xfrm>
          <a:prstGeom prst="rect">
            <a:avLst/>
          </a:prstGeom>
          <a:solidFill>
            <a:schemeClr val="tx1">
              <a:alpha val="4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0" y="6513361"/>
            <a:ext cx="12192000" cy="338554"/>
          </a:xfrm>
          <a:prstGeom prst="rect">
            <a:avLst/>
          </a:prstGeom>
          <a:solidFill>
            <a:schemeClr val="bg2"/>
          </a:solidFill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600" b="1" dirty="0"/>
              <a:t>TRIUMF Science Week </a:t>
            </a:r>
            <a:r>
              <a:rPr lang="en-US" sz="1600" b="1" dirty="0" smtClean="0"/>
              <a:t>2022, </a:t>
            </a:r>
            <a:r>
              <a:rPr lang="en-US" sz="1600" b="1" dirty="0" smtClean="0">
                <a:latin typeface="Segoe UI"/>
              </a:rPr>
              <a:t>July 18-22, 2022, Vancouver (BC), Canada</a:t>
            </a:r>
            <a:endParaRPr kumimoji="0" lang="nl-BE" sz="1200" b="0" i="0" u="none" strike="noStrike" kern="1200" cap="none" spc="0" normalizeH="0" baseline="0" noProof="0" dirty="0">
              <a:ln>
                <a:solidFill>
                  <a:sysClr val="windowText" lastClr="000000"/>
                </a:solidFill>
              </a:ln>
              <a:effectLst/>
              <a:uLnTx/>
              <a:uFillTx/>
              <a:latin typeface="Segoe U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34875"/>
            <a:ext cx="12192000" cy="2570546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endParaRPr lang="en-US" sz="4800" b="1" dirty="0" smtClean="0">
              <a:solidFill>
                <a:schemeClr val="bg2"/>
              </a:solidFill>
              <a:latin typeface="+mj-lt"/>
            </a:endParaRPr>
          </a:p>
          <a:p>
            <a:pPr algn="ctr"/>
            <a:r>
              <a:rPr lang="en-US" sz="4800" b="1" dirty="0" smtClean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latin typeface="+mj-lt"/>
              </a:rPr>
              <a:t>MYRRHA</a:t>
            </a:r>
          </a:p>
          <a:p>
            <a:pPr algn="ctr"/>
            <a:r>
              <a:rPr lang="en-US" sz="3200" b="1" dirty="0">
                <a:solidFill>
                  <a:schemeClr val="bg1"/>
                </a:solidFill>
              </a:rPr>
              <a:t>Accelerator Driven Systems; the path towards sustainable Nuclear Energy</a:t>
            </a:r>
            <a:endParaRPr lang="en-US" sz="4000" b="1" dirty="0">
              <a:ln>
                <a:solidFill>
                  <a:sysClr val="windowText" lastClr="000000"/>
                </a:solidFill>
              </a:ln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215680" y="2852936"/>
            <a:ext cx="6264696" cy="20274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000" b="1" dirty="0" smtClean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latin typeface="+mj-lt"/>
              </a:rPr>
              <a:t>Hamid AÏT ABDERRAHIM</a:t>
            </a:r>
          </a:p>
          <a:p>
            <a:pPr algn="ctr"/>
            <a:r>
              <a:rPr lang="nl-BE" sz="2000" b="1" dirty="0" smtClean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latin typeface="+mj-lt"/>
              </a:rPr>
              <a:t>DDG SCK CEN, Director of MYRRHA</a:t>
            </a:r>
            <a:endParaRPr lang="nl-BE" sz="2000" b="1" dirty="0">
              <a:ln>
                <a:solidFill>
                  <a:sysClr val="windowText" lastClr="000000"/>
                </a:solidFill>
              </a:ln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nl-BE" sz="2000" b="1" dirty="0" smtClean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latin typeface="+mj-lt"/>
              </a:rPr>
              <a:t>SCK </a:t>
            </a:r>
            <a:r>
              <a:rPr lang="nl-BE" sz="2000" b="1" dirty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latin typeface="+mj-lt"/>
              </a:rPr>
              <a:t>CEN, Boeretang 200, B-2400 Mol, </a:t>
            </a:r>
            <a:r>
              <a:rPr lang="nl-BE" sz="2000" b="1" dirty="0" smtClean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latin typeface="+mj-lt"/>
              </a:rPr>
              <a:t>Belgium</a:t>
            </a:r>
          </a:p>
          <a:p>
            <a:pPr algn="ctr"/>
            <a:endParaRPr lang="nl-BE" sz="2000" b="1" dirty="0" smtClean="0">
              <a:ln>
                <a:solidFill>
                  <a:sysClr val="windowText" lastClr="000000"/>
                </a:solidFill>
              </a:ln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nl-BE" sz="2000" b="1" dirty="0" smtClean="0">
                <a:ln>
                  <a:solidFill>
                    <a:sysClr val="windowText" lastClr="000000"/>
                  </a:solidFill>
                </a:ln>
                <a:solidFill>
                  <a:schemeClr val="bg1"/>
                </a:solidFill>
                <a:latin typeface="+mj-lt"/>
              </a:rPr>
              <a:t>haitabde@sckcen.be or myrrha@sckcen.be</a:t>
            </a:r>
          </a:p>
        </p:txBody>
      </p:sp>
    </p:spTree>
    <p:extLst>
      <p:ext uri="{BB962C8B-B14F-4D97-AF65-F5344CB8AC3E}">
        <p14:creationId xmlns:p14="http://schemas.microsoft.com/office/powerpoint/2010/main" val="373813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echnology Readiness Level (TRL)</a:t>
            </a:r>
          </a:p>
        </p:txBody>
      </p:sp>
      <p:sp>
        <p:nvSpPr>
          <p:cNvPr id="7" name="Rectangle 6"/>
          <p:cNvSpPr/>
          <p:nvPr/>
        </p:nvSpPr>
        <p:spPr>
          <a:xfrm>
            <a:off x="1202422" y="1008486"/>
            <a:ext cx="9652932" cy="52475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46100" indent="-457200">
              <a:spcAft>
                <a:spcPts val="600"/>
              </a:spcAft>
              <a:buFont typeface="+mj-lt"/>
              <a:buAutoNum type="arabicPeriod"/>
            </a:pPr>
            <a:r>
              <a:rPr lang="en-US" sz="2000" b="1" dirty="0"/>
              <a:t>Advanced partitioning </a:t>
            </a:r>
            <a:r>
              <a:rPr lang="en-US" sz="2000" dirty="0"/>
              <a:t>= “sorting of the waste” beyond classical PUREX </a:t>
            </a:r>
          </a:p>
          <a:p>
            <a:pPr marL="355600" lvl="1" indent="0">
              <a:spcAft>
                <a:spcPts val="600"/>
              </a:spcAft>
              <a:buNone/>
            </a:pPr>
            <a:r>
              <a:rPr lang="en-US" sz="2000" dirty="0"/>
              <a:t>	</a:t>
            </a:r>
            <a:r>
              <a:rPr lang="en-US" dirty="0"/>
              <a:t>TRL = 7 ~ </a:t>
            </a:r>
            <a:r>
              <a:rPr lang="en-US" dirty="0" smtClean="0"/>
              <a:t>8</a:t>
            </a:r>
          </a:p>
          <a:p>
            <a:pPr marL="546100" indent="-457200">
              <a:spcAft>
                <a:spcPts val="600"/>
              </a:spcAft>
              <a:buFont typeface="+mj-lt"/>
              <a:buAutoNum type="arabicPeriod"/>
            </a:pPr>
            <a:r>
              <a:rPr lang="en-US" sz="2000" b="1" dirty="0" smtClean="0"/>
              <a:t>Fabrication </a:t>
            </a:r>
            <a:r>
              <a:rPr lang="en-US" sz="2000" b="1" dirty="0"/>
              <a:t>of dedicated transmutation fuel </a:t>
            </a:r>
            <a:r>
              <a:rPr lang="en-US" sz="2000" dirty="0"/>
              <a:t>(loaded with Minor Actinides)</a:t>
            </a:r>
          </a:p>
          <a:p>
            <a:pPr marL="355600" lvl="1" indent="0">
              <a:spcAft>
                <a:spcPts val="600"/>
              </a:spcAft>
              <a:buNone/>
            </a:pPr>
            <a:r>
              <a:rPr lang="en-US" sz="2000" dirty="0"/>
              <a:t>	</a:t>
            </a:r>
            <a:r>
              <a:rPr lang="en-US" dirty="0"/>
              <a:t>TRL = 3 ~ </a:t>
            </a:r>
            <a:r>
              <a:rPr lang="en-US" dirty="0" smtClean="0"/>
              <a:t>4</a:t>
            </a:r>
          </a:p>
          <a:p>
            <a:pPr marL="546100" indent="-457200">
              <a:spcAft>
                <a:spcPts val="600"/>
              </a:spcAft>
              <a:buFont typeface="+mj-lt"/>
              <a:buAutoNum type="arabicPeriod"/>
            </a:pPr>
            <a:r>
              <a:rPr lang="en-US" sz="2000" b="1" dirty="0" smtClean="0"/>
              <a:t>Pre-Industrial </a:t>
            </a:r>
            <a:r>
              <a:rPr lang="en-US" sz="2000" b="1" dirty="0"/>
              <a:t>sized </a:t>
            </a:r>
            <a:r>
              <a:rPr lang="en-US" sz="2000" b="1" dirty="0" err="1"/>
              <a:t>transmuter</a:t>
            </a:r>
            <a:r>
              <a:rPr lang="en-US" sz="2000" b="1" dirty="0"/>
              <a:t> </a:t>
            </a:r>
            <a:r>
              <a:rPr lang="en-US" sz="2000" b="1" dirty="0" smtClean="0"/>
              <a:t>demonstration (MYRRHA)</a:t>
            </a:r>
            <a:endParaRPr lang="en-US" sz="2000" b="1" dirty="0"/>
          </a:p>
          <a:p>
            <a:pPr marL="355600" lvl="1" indent="0">
              <a:spcAft>
                <a:spcPts val="600"/>
              </a:spcAft>
              <a:buNone/>
            </a:pPr>
            <a:r>
              <a:rPr lang="en-US" sz="2000" dirty="0"/>
              <a:t>	</a:t>
            </a:r>
            <a:r>
              <a:rPr lang="en-US" dirty="0"/>
              <a:t>TRL (FR = 9, </a:t>
            </a:r>
            <a:r>
              <a:rPr lang="en-US" b="1" dirty="0">
                <a:solidFill>
                  <a:srgbClr val="FF0000"/>
                </a:solidFill>
              </a:rPr>
              <a:t>ADS = 4 ~ </a:t>
            </a:r>
            <a:r>
              <a:rPr lang="en-US" b="1" dirty="0" smtClean="0">
                <a:solidFill>
                  <a:srgbClr val="FF0000"/>
                </a:solidFill>
              </a:rPr>
              <a:t>5 after building MYRRHA </a:t>
            </a:r>
            <a:r>
              <a:rPr lang="en-US" b="1" dirty="0" smtClean="0">
                <a:solidFill>
                  <a:srgbClr val="FF0000"/>
                </a:solidFill>
                <a:sym typeface="Wingdings" panose="05000000000000000000" pitchFamily="2" charset="2"/>
              </a:rPr>
              <a:t> 9</a:t>
            </a:r>
            <a:r>
              <a:rPr lang="en-US" dirty="0" smtClean="0"/>
              <a:t>)</a:t>
            </a:r>
            <a:endParaRPr lang="en-US" dirty="0"/>
          </a:p>
          <a:p>
            <a:pPr marL="546100" indent="-457200">
              <a:spcAft>
                <a:spcPts val="600"/>
              </a:spcAft>
              <a:buFont typeface="+mj-lt"/>
              <a:buAutoNum type="arabicPeriod"/>
            </a:pPr>
            <a:r>
              <a:rPr lang="en-US" sz="2000" b="1" dirty="0"/>
              <a:t>Advanced reprocessing of </a:t>
            </a:r>
            <a:r>
              <a:rPr lang="en-US" sz="2000" b="1" dirty="0" err="1"/>
              <a:t>transmuter</a:t>
            </a:r>
            <a:r>
              <a:rPr lang="en-US" sz="2000" b="1" dirty="0"/>
              <a:t> fuel </a:t>
            </a:r>
            <a:r>
              <a:rPr lang="en-US" sz="2000" dirty="0"/>
              <a:t>(≠ from 1, </a:t>
            </a:r>
            <a:r>
              <a:rPr lang="en-US" sz="2000" dirty="0" err="1"/>
              <a:t>Pyroreprocessing</a:t>
            </a:r>
            <a:r>
              <a:rPr lang="en-US" sz="2000" dirty="0"/>
              <a:t> as the most promising)</a:t>
            </a:r>
          </a:p>
          <a:p>
            <a:pPr marL="88900" indent="0">
              <a:spcAft>
                <a:spcPts val="600"/>
              </a:spcAft>
              <a:buNone/>
            </a:pPr>
            <a:r>
              <a:rPr lang="en-US" sz="2000" dirty="0"/>
              <a:t>	</a:t>
            </a:r>
            <a:r>
              <a:rPr lang="en-US" dirty="0"/>
              <a:t>TRL = 3 </a:t>
            </a:r>
          </a:p>
          <a:p>
            <a:pPr marL="546100" indent="-457200">
              <a:spcAft>
                <a:spcPts val="600"/>
              </a:spcAft>
              <a:buFont typeface="+mj-lt"/>
              <a:buAutoNum type="arabicPeriod" startAt="5"/>
            </a:pPr>
            <a:r>
              <a:rPr lang="en-GB" sz="2000" b="1" dirty="0"/>
              <a:t>Advanced</a:t>
            </a:r>
            <a:r>
              <a:rPr lang="en-US" sz="2000" b="1" dirty="0"/>
              <a:t> fuel technological aspects: </a:t>
            </a:r>
            <a:r>
              <a:rPr lang="en-US" sz="2000" dirty="0"/>
              <a:t>transportation, cooling, and </a:t>
            </a:r>
            <a:r>
              <a:rPr lang="en-US" sz="2000" dirty="0" smtClean="0"/>
              <a:t>handling</a:t>
            </a:r>
          </a:p>
          <a:p>
            <a:pPr marL="88900">
              <a:spcAft>
                <a:spcPts val="600"/>
              </a:spcAft>
            </a:pPr>
            <a:r>
              <a:rPr lang="en-US" sz="2000" dirty="0"/>
              <a:t>	</a:t>
            </a:r>
            <a:r>
              <a:rPr lang="en-US" dirty="0" smtClean="0"/>
              <a:t>TRL = 3 ~ 4</a:t>
            </a:r>
          </a:p>
          <a:p>
            <a:pPr marL="88900">
              <a:spcAft>
                <a:spcPts val="1200"/>
              </a:spcAft>
            </a:pPr>
            <a:r>
              <a:rPr lang="en-GB" altLang="en-US" sz="2000" b="1" dirty="0"/>
              <a:t>NSC Task Force on Demonstration of Fuel Cycle Closure including Partitioning and Transmutation (P&amp;T) for Industrial Readiness by 2050</a:t>
            </a:r>
            <a:r>
              <a:rPr lang="fr-FR" altLang="en-US" sz="2000" b="1" dirty="0"/>
              <a:t> (TF-FCPT</a:t>
            </a:r>
            <a:r>
              <a:rPr lang="fr-FR" altLang="en-US" sz="2000" b="1" dirty="0" smtClean="0"/>
              <a:t>) </a:t>
            </a:r>
            <a:r>
              <a:rPr lang="fr-FR" altLang="en-US" sz="2000" b="1" dirty="0" err="1" smtClean="0"/>
              <a:t>with</a:t>
            </a:r>
            <a:r>
              <a:rPr lang="fr-FR" altLang="en-US" sz="2000" b="1" dirty="0" smtClean="0"/>
              <a:t> experts </a:t>
            </a:r>
            <a:r>
              <a:rPr lang="fr-FR" altLang="en-US" sz="2000" b="1" dirty="0" err="1" smtClean="0"/>
              <a:t>from</a:t>
            </a:r>
            <a:r>
              <a:rPr lang="fr-FR" altLang="en-US" sz="2000" b="1" dirty="0" smtClean="0"/>
              <a:t> </a:t>
            </a:r>
            <a:r>
              <a:rPr lang="en-US" sz="2000" b="1" dirty="0"/>
              <a:t>Belgium</a:t>
            </a:r>
            <a:r>
              <a:rPr lang="en-US" sz="2000" dirty="0"/>
              <a:t>, </a:t>
            </a:r>
            <a:r>
              <a:rPr lang="en-US" sz="2000" b="1" dirty="0"/>
              <a:t>France</a:t>
            </a:r>
            <a:r>
              <a:rPr lang="en-US" sz="2000" dirty="0"/>
              <a:t>, </a:t>
            </a:r>
            <a:r>
              <a:rPr lang="en-US" sz="2000" b="1" dirty="0"/>
              <a:t>Japan, Russia, UK</a:t>
            </a:r>
            <a:r>
              <a:rPr lang="en-US" sz="2000" dirty="0"/>
              <a:t>, </a:t>
            </a:r>
            <a:r>
              <a:rPr lang="en-US" sz="2000" b="1" dirty="0"/>
              <a:t>US </a:t>
            </a:r>
            <a:r>
              <a:rPr lang="en-US" sz="2000" dirty="0" smtClean="0"/>
              <a:t>and </a:t>
            </a:r>
            <a:r>
              <a:rPr lang="en-US" sz="2000" b="1" dirty="0"/>
              <a:t>EC</a:t>
            </a:r>
          </a:p>
        </p:txBody>
      </p:sp>
    </p:spTree>
    <p:extLst>
      <p:ext uri="{BB962C8B-B14F-4D97-AF65-F5344CB8AC3E}">
        <p14:creationId xmlns:p14="http://schemas.microsoft.com/office/powerpoint/2010/main" val="1390891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2608730" y="5242040"/>
            <a:ext cx="7207601" cy="372961"/>
          </a:xfrm>
          <a:prstGeom prst="rect">
            <a:avLst/>
          </a:prstGeom>
          <a:solidFill>
            <a:srgbClr val="FFFF0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727200" y="4256895"/>
            <a:ext cx="87376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ore safety parameters limit the amount of MA that can be loaded in the critical core for transmutation, leading to transmutation rates of:</a:t>
            </a:r>
          </a:p>
          <a:p>
            <a:pPr marL="800080" marR="0" lvl="1" indent="-342891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 = 2 to 4 kg/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Wh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800080" marR="0" lvl="1" indent="-342891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S = 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5 kg/</a:t>
            </a:r>
            <a:r>
              <a:rPr kumimoji="0" lang="en-U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Wh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based on a 400 </a:t>
            </a:r>
            <a:r>
              <a:rPr kumimoji="0" lang="en-US" sz="22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</a:t>
            </a:r>
            <a:r>
              <a:rPr kumimoji="0" lang="en-US" sz="2200" b="0" i="0" u="none" strike="noStrike" kern="1200" cap="none" spc="0" normalizeH="0" baseline="-2500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h</a:t>
            </a:r>
            <a:r>
              <a:rPr kumimoji="0" lang="en-US" sz="2200" b="0" i="0" u="none" strike="noStrike" kern="1200" cap="none" spc="0" normalizeH="0" baseline="-2500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FIT design</a:t>
            </a:r>
            <a:r>
              <a:rPr kumimoji="0" lang="en-US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Wingdings" panose="05000000000000000000" pitchFamily="2" charset="2"/>
              </a:rPr>
              <a:t>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S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erforms the best</a:t>
            </a:r>
            <a:endParaRPr kumimoji="0" lang="en-US" sz="2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Three options for Minor Actinide (MA) transmutation</a:t>
            </a:r>
            <a:endParaRPr lang="en-US" dirty="0">
              <a:solidFill>
                <a:srgbClr val="00B050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2907959" y="2599488"/>
            <a:ext cx="1836000" cy="720000"/>
            <a:chOff x="2106384" y="3581400"/>
            <a:chExt cx="1836000" cy="720000"/>
          </a:xfrm>
        </p:grpSpPr>
        <p:sp>
          <p:nvSpPr>
            <p:cNvPr id="4" name="Rectangle 3"/>
            <p:cNvSpPr/>
            <p:nvPr/>
          </p:nvSpPr>
          <p:spPr bwMode="auto">
            <a:xfrm>
              <a:off x="2394384" y="3581400"/>
              <a:ext cx="1260000" cy="720000"/>
            </a:xfrm>
            <a:prstGeom prst="rect">
              <a:avLst/>
            </a:prstGeom>
            <a:solidFill>
              <a:srgbClr val="FF99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5" name="Rectangle 4"/>
            <p:cNvSpPr/>
            <p:nvPr/>
          </p:nvSpPr>
          <p:spPr bwMode="auto">
            <a:xfrm>
              <a:off x="2106384" y="3581400"/>
              <a:ext cx="288000" cy="720000"/>
            </a:xfrm>
            <a:prstGeom prst="rect">
              <a:avLst/>
            </a:prstGeom>
            <a:pattFill prst="lgCheck">
              <a:fgClr>
                <a:srgbClr val="663300"/>
              </a:fgClr>
              <a:bgClr>
                <a:srgbClr val="C00000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3654384" y="3581400"/>
              <a:ext cx="288000" cy="720000"/>
            </a:xfrm>
            <a:prstGeom prst="rect">
              <a:avLst/>
            </a:prstGeom>
            <a:pattFill prst="lgCheck">
              <a:fgClr>
                <a:srgbClr val="663300"/>
              </a:fgClr>
              <a:bgClr>
                <a:srgbClr val="C00000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48132" y="2599488"/>
            <a:ext cx="1836000" cy="720000"/>
            <a:chOff x="4555670" y="3581400"/>
            <a:chExt cx="1836000" cy="720000"/>
          </a:xfrm>
        </p:grpSpPr>
        <p:sp>
          <p:nvSpPr>
            <p:cNvPr id="9" name="Rectangle 8"/>
            <p:cNvSpPr/>
            <p:nvPr/>
          </p:nvSpPr>
          <p:spPr bwMode="auto">
            <a:xfrm>
              <a:off x="4843670" y="3581400"/>
              <a:ext cx="1260000" cy="720000"/>
            </a:xfrm>
            <a:prstGeom prst="rect">
              <a:avLst/>
            </a:prstGeom>
            <a:pattFill prst="lgCheck">
              <a:fgClr>
                <a:srgbClr val="FF9900"/>
              </a:fgClr>
              <a:bgClr>
                <a:srgbClr val="C00000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4555670" y="3581400"/>
              <a:ext cx="288000" cy="720000"/>
            </a:xfrm>
            <a:prstGeom prst="rect">
              <a:avLst/>
            </a:prstGeom>
            <a:solidFill>
              <a:srgbClr val="6633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6103670" y="3581400"/>
              <a:ext cx="288000" cy="720000"/>
            </a:xfrm>
            <a:prstGeom prst="rect">
              <a:avLst/>
            </a:prstGeom>
            <a:solidFill>
              <a:srgbClr val="663300"/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7818331" y="2599486"/>
            <a:ext cx="1836000" cy="720000"/>
            <a:chOff x="7205870" y="3581400"/>
            <a:chExt cx="1260000" cy="720000"/>
          </a:xfrm>
        </p:grpSpPr>
        <p:sp>
          <p:nvSpPr>
            <p:cNvPr id="12" name="Rectangle 11"/>
            <p:cNvSpPr/>
            <p:nvPr/>
          </p:nvSpPr>
          <p:spPr bwMode="auto">
            <a:xfrm>
              <a:off x="7205870" y="3581400"/>
              <a:ext cx="1260000" cy="720000"/>
            </a:xfrm>
            <a:prstGeom prst="rect">
              <a:avLst/>
            </a:prstGeom>
            <a:pattFill prst="solidDmnd">
              <a:fgClr>
                <a:srgbClr val="FF9900"/>
              </a:fgClr>
              <a:bgClr>
                <a:srgbClr val="C00000"/>
              </a:bgClr>
            </a:patt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  <p:sp>
          <p:nvSpPr>
            <p:cNvPr id="13" name="Rounded Rectangle 12"/>
            <p:cNvSpPr/>
            <p:nvPr/>
          </p:nvSpPr>
          <p:spPr bwMode="auto">
            <a:xfrm>
              <a:off x="7782363" y="3581400"/>
              <a:ext cx="107013" cy="359999"/>
            </a:xfrm>
            <a:prstGeom prst="roundRect">
              <a:avLst/>
            </a:prstGeom>
            <a:solidFill>
              <a:srgbClr val="F8F8F8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" pitchFamily="34" charset="0"/>
                <a:ea typeface="+mn-ea"/>
                <a:cs typeface="+mn-cs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2745959" y="1759373"/>
            <a:ext cx="2160000" cy="78319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eterogeneou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86132" y="1759375"/>
            <a:ext cx="2160000" cy="78319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homogeneou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656331" y="1759375"/>
            <a:ext cx="2160000" cy="78319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S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739497" y="3391285"/>
            <a:ext cx="2172924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river fuel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lanket with MA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5179671" y="3391285"/>
            <a:ext cx="2172924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uel with MA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lanke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649870" y="3391285"/>
            <a:ext cx="2172924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uel with MA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7800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722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5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722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1143001" y="1"/>
            <a:ext cx="171979" cy="211667"/>
          </a:xfrm>
          <a:prstGeom prst="rect">
            <a:avLst/>
          </a:prstGeom>
          <a:solidFill>
            <a:schemeClr val="accent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32" name="Content Placeholder 2"/>
          <p:cNvSpPr txBox="1">
            <a:spLocks/>
          </p:cNvSpPr>
          <p:nvPr/>
        </p:nvSpPr>
        <p:spPr>
          <a:xfrm>
            <a:off x="1055440" y="1070281"/>
            <a:ext cx="9876648" cy="5047019"/>
          </a:xfrm>
          <a:prstGeom prst="rect">
            <a:avLst/>
          </a:prstGeom>
        </p:spPr>
        <p:txBody>
          <a:bodyPr lIns="107287" tIns="53643" rIns="107287" bIns="53643"/>
          <a:lstStyle>
            <a:lvl1pPr marL="309563" indent="-309563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7DC3"/>
              </a:buClr>
              <a:buSzPct val="100000"/>
              <a:buFont typeface="Wingdings" pitchFamily="2" charset="2"/>
              <a:buChar char="l"/>
              <a:defRPr sz="22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666750" indent="-2444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11AAFF"/>
              </a:buClr>
              <a:buSzPct val="100000"/>
              <a:buFont typeface="Wingdings" pitchFamily="2" charset="2"/>
              <a:buChar char="l"/>
              <a:defRPr sz="2000"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1028700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8FD7FF"/>
              </a:buClr>
              <a:buSzPct val="100000"/>
              <a:buFont typeface="Wingdings" pitchFamily="2" charset="2"/>
              <a:buChar char="l"/>
              <a:defRPr>
                <a:solidFill>
                  <a:schemeClr val="tx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439863" indent="-204788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900">
                <a:solidFill>
                  <a:schemeClr val="tx1"/>
                </a:solidFill>
                <a:latin typeface="Times New Roman" pitchFamily="18" charset="0"/>
              </a:defRPr>
            </a:lvl4pPr>
            <a:lvl5pPr marL="18526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5pPr>
            <a:lvl6pPr marL="23098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6pPr>
            <a:lvl7pPr marL="27670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7pPr>
            <a:lvl8pPr marL="32242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8pPr>
            <a:lvl9pPr marL="3681413" indent="-206375" algn="l" defTabSz="685800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9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marL="309563" marR="0" lvl="0" indent="-309563" algn="l" defTabSz="6858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DC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Europe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should go for 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regional approach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(see PATEROS, ARCAS)</a:t>
            </a:r>
          </a:p>
          <a:p>
            <a:pPr marL="309563" marR="0" lvl="0" indent="-309563" algn="l" defTabSz="6858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7DC3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Countries with different nuclear energy policies to collaborate together</a:t>
            </a:r>
          </a:p>
          <a:p>
            <a:pPr marL="666750" marR="0" lvl="1" indent="-244475" algn="l" defTabSz="6858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1AA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Countries willing to continue Nuclear Energy</a:t>
            </a:r>
          </a:p>
          <a:p>
            <a:pPr marL="666750" marR="0" lvl="1" indent="-244475" algn="l" defTabSz="6858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1AA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Countries willing to develop fast reactor systems</a:t>
            </a:r>
          </a:p>
          <a:p>
            <a:pPr marL="666750" marR="0" lvl="1" indent="-244475" algn="l" defTabSz="6858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1AA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Countries in nuclear phase out, interested in Partitioning &amp;Transmutation (P&amp;T)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sp>
        <p:nvSpPr>
          <p:cNvPr id="14" name="Footer Placeholder 5"/>
          <p:cNvSpPr txBox="1">
            <a:spLocks/>
          </p:cNvSpPr>
          <p:nvPr/>
        </p:nvSpPr>
        <p:spPr>
          <a:xfrm>
            <a:off x="1571498" y="6355125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urce: 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[TBD]</a:t>
            </a:r>
            <a:endParaRPr kumimoji="0" lang="nl-BE" sz="700" b="0" i="1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1571498" y="44625"/>
            <a:ext cx="9065152" cy="927198"/>
          </a:xfrm>
          <a:prstGeom prst="rect">
            <a:avLst/>
          </a:prstGeom>
        </p:spPr>
        <p:txBody>
          <a:bodyPr vert="horz" lIns="107287" tIns="53643" rIns="107287" bIns="53643" rtlCol="0" anchor="ctr">
            <a:noAutofit/>
          </a:bodyPr>
          <a:lstStyle>
            <a:lvl1pPr algn="ctr">
              <a:spcBef>
                <a:spcPct val="0"/>
              </a:spcBef>
              <a:buNone/>
              <a:defRPr lang="nl-BE" sz="2400" b="1" kern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3E8FCD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Shared &amp; efficient solution for Minor Actinides management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3E8FCD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EU case with 144 power reactors using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3E8FCD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EFIT</a:t>
            </a:r>
            <a:r>
              <a:rPr kumimoji="0" lang="en-GB" sz="2400" b="1" i="0" u="none" strike="noStrike" kern="0" cap="none" spc="0" normalizeH="0" baseline="0" noProof="0" dirty="0">
                <a:ln>
                  <a:noFill/>
                </a:ln>
                <a:solidFill>
                  <a:srgbClr val="3E8FCD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 400 </a:t>
            </a:r>
            <a:r>
              <a:rPr kumimoji="0" lang="en-GB" sz="2400" b="1" i="0" u="none" strike="noStrike" kern="0" cap="none" spc="0" normalizeH="0" baseline="0" noProof="0" dirty="0" err="1">
                <a:ln>
                  <a:noFill/>
                </a:ln>
                <a:solidFill>
                  <a:srgbClr val="3E8FCD"/>
                </a:solidFill>
                <a:effectLst/>
                <a:uLnTx/>
                <a:uFillTx/>
                <a:latin typeface="Segoe UI" pitchFamily="34" charset="0"/>
                <a:cs typeface="Segoe UI" pitchFamily="34" charset="0"/>
              </a:rPr>
              <a:t>MWth</a:t>
            </a: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srgbClr val="3E8FCD"/>
              </a:solidFill>
              <a:effectLst/>
              <a:uLnTx/>
              <a:uFillTx/>
              <a:latin typeface="Segoe UI" pitchFamily="34" charset="0"/>
              <a:cs typeface="Segoe UI" pitchFamily="34" charset="0"/>
            </a:endParaRPr>
          </a:p>
        </p:txBody>
      </p:sp>
      <p:grpSp>
        <p:nvGrpSpPr>
          <p:cNvPr id="10" name="Canvas 224"/>
          <p:cNvGrpSpPr/>
          <p:nvPr/>
        </p:nvGrpSpPr>
        <p:grpSpPr>
          <a:xfrm>
            <a:off x="695401" y="2636912"/>
            <a:ext cx="7739056" cy="4221088"/>
            <a:chOff x="0" y="0"/>
            <a:chExt cx="5468816" cy="2440305"/>
          </a:xfrm>
        </p:grpSpPr>
        <p:sp>
          <p:nvSpPr>
            <p:cNvPr id="11" name="Rectangle 10"/>
            <p:cNvSpPr/>
            <p:nvPr/>
          </p:nvSpPr>
          <p:spPr>
            <a:xfrm>
              <a:off x="0" y="0"/>
              <a:ext cx="5467985" cy="2440305"/>
            </a:xfrm>
            <a:prstGeom prst="rect">
              <a:avLst/>
            </a:prstGeom>
          </p:spPr>
        </p:sp>
        <p:pic>
          <p:nvPicPr>
            <p:cNvPr id="12" name="Picture 11"/>
            <p:cNvPicPr/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10"/>
              <a:ext cx="2879725" cy="2333625"/>
            </a:xfrm>
            <a:prstGeom prst="rect">
              <a:avLst/>
            </a:prstGeom>
            <a:noFill/>
          </p:spPr>
        </p:pic>
        <p:pic>
          <p:nvPicPr>
            <p:cNvPr id="15" name="Picture 14"/>
            <p:cNvPicPr/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3909" y="17594"/>
              <a:ext cx="2924907" cy="2322877"/>
            </a:xfrm>
            <a:prstGeom prst="rect">
              <a:avLst/>
            </a:prstGeom>
            <a:noFill/>
          </p:spPr>
        </p:pic>
      </p:grpSp>
      <p:sp>
        <p:nvSpPr>
          <p:cNvPr id="16" name="TextBox 15"/>
          <p:cNvSpPr txBox="1"/>
          <p:nvPr/>
        </p:nvSpPr>
        <p:spPr>
          <a:xfrm>
            <a:off x="8256240" y="3068960"/>
            <a:ext cx="3528392" cy="29854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5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EFIT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* 400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th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= 6000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th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 all EU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HLW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reatment</a:t>
            </a: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oel (BE) = 9000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t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ihange (BE) = 9000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t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Graveline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(FR) = 17118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t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Zaporizhzhy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(UA) = 18000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t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Bruce (CND) = 18702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t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Kashiwazaki-Kariwa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= 23895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Wth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34357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15086"/>
            <a:ext cx="10515600" cy="884477"/>
          </a:xfrm>
        </p:spPr>
        <p:txBody>
          <a:bodyPr>
            <a:normAutofit/>
          </a:bodyPr>
          <a:lstStyle/>
          <a:p>
            <a:pPr algn="ctr"/>
            <a:r>
              <a:rPr lang="en-US" dirty="0" smtClean="0"/>
              <a:t>Transport issues of MA-Fuels FR vs ADS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118093" y="1883226"/>
            <a:ext cx="6399460" cy="4549023"/>
            <a:chOff x="3267693" y="1735708"/>
            <a:chExt cx="7024255" cy="4612124"/>
          </a:xfrm>
        </p:grpSpPr>
        <p:sp>
          <p:nvSpPr>
            <p:cNvPr id="4" name="TextBox 3"/>
            <p:cNvSpPr txBox="1"/>
            <p:nvPr/>
          </p:nvSpPr>
          <p:spPr>
            <a:xfrm>
              <a:off x="6131626" y="3755147"/>
              <a:ext cx="2268187" cy="6552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Reprocessing &amp;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uel Fabrication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4682836" y="2456701"/>
              <a:ext cx="878774" cy="48267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4696647" y="5605482"/>
              <a:ext cx="878774" cy="48267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6543304" y="5865157"/>
              <a:ext cx="878774" cy="48267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8900555" y="5138784"/>
              <a:ext cx="878774" cy="48267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9413174" y="3227840"/>
              <a:ext cx="878774" cy="48267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8150474" y="2708489"/>
              <a:ext cx="878774" cy="48267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787241" y="1735708"/>
              <a:ext cx="878774" cy="48267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517075" y="3121957"/>
              <a:ext cx="878774" cy="48267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3267693" y="4283759"/>
              <a:ext cx="878774" cy="482675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cxnSp>
          <p:nvCxnSpPr>
            <p:cNvPr id="16" name="Straight Arrow Connector 15"/>
            <p:cNvCxnSpPr>
              <a:stCxn id="5" idx="5"/>
              <a:endCxn id="4" idx="0"/>
            </p:cNvCxnSpPr>
            <p:nvPr/>
          </p:nvCxnSpPr>
          <p:spPr bwMode="auto">
            <a:xfrm>
              <a:off x="5432918" y="2868690"/>
              <a:ext cx="1832801" cy="886457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/>
            <p:cNvCxnSpPr>
              <a:stCxn id="4" idx="0"/>
              <a:endCxn id="10" idx="3"/>
            </p:cNvCxnSpPr>
            <p:nvPr/>
          </p:nvCxnSpPr>
          <p:spPr bwMode="auto">
            <a:xfrm flipV="1">
              <a:off x="7265719" y="3120478"/>
              <a:ext cx="1013447" cy="634669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Arrow Connector 17"/>
            <p:cNvCxnSpPr>
              <a:stCxn id="4" idx="3"/>
              <a:endCxn id="9" idx="2"/>
            </p:cNvCxnSpPr>
            <p:nvPr/>
          </p:nvCxnSpPr>
          <p:spPr bwMode="auto">
            <a:xfrm flipV="1">
              <a:off x="8399813" y="3469178"/>
              <a:ext cx="1013362" cy="613618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/>
            <p:cNvCxnSpPr>
              <a:stCxn id="13" idx="6"/>
              <a:endCxn id="4" idx="1"/>
            </p:cNvCxnSpPr>
            <p:nvPr/>
          </p:nvCxnSpPr>
          <p:spPr bwMode="auto">
            <a:xfrm>
              <a:off x="4395849" y="3363295"/>
              <a:ext cx="1735776" cy="719501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/>
            <p:cNvCxnSpPr>
              <a:stCxn id="14" idx="6"/>
              <a:endCxn id="4" idx="1"/>
            </p:cNvCxnSpPr>
            <p:nvPr/>
          </p:nvCxnSpPr>
          <p:spPr bwMode="auto">
            <a:xfrm flipV="1">
              <a:off x="4146467" y="4082796"/>
              <a:ext cx="1985158" cy="442301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Arrow Connector 20"/>
            <p:cNvCxnSpPr>
              <a:stCxn id="6" idx="7"/>
              <a:endCxn id="4" idx="2"/>
            </p:cNvCxnSpPr>
            <p:nvPr/>
          </p:nvCxnSpPr>
          <p:spPr bwMode="auto">
            <a:xfrm flipV="1">
              <a:off x="5446728" y="4410444"/>
              <a:ext cx="1818991" cy="1265724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/>
            <p:cNvCxnSpPr>
              <a:stCxn id="4" idx="2"/>
              <a:endCxn id="7" idx="0"/>
            </p:cNvCxnSpPr>
            <p:nvPr/>
          </p:nvCxnSpPr>
          <p:spPr bwMode="auto">
            <a:xfrm flipH="1">
              <a:off x="6982691" y="4410444"/>
              <a:ext cx="283028" cy="1454714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>
              <a:stCxn id="4" idx="2"/>
              <a:endCxn id="8" idx="1"/>
            </p:cNvCxnSpPr>
            <p:nvPr/>
          </p:nvCxnSpPr>
          <p:spPr bwMode="auto">
            <a:xfrm>
              <a:off x="7265719" y="4410444"/>
              <a:ext cx="1763529" cy="799026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Arrow Connector 37"/>
            <p:cNvCxnSpPr>
              <a:endCxn id="11" idx="4"/>
            </p:cNvCxnSpPr>
            <p:nvPr/>
          </p:nvCxnSpPr>
          <p:spPr bwMode="auto">
            <a:xfrm flipH="1" flipV="1">
              <a:off x="6226629" y="2218383"/>
              <a:ext cx="1039090" cy="1460324"/>
            </a:xfrm>
            <a:prstGeom prst="straightConnector1">
              <a:avLst/>
            </a:prstGeom>
            <a:ln>
              <a:headEnd type="arrow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/>
          <p:cNvSpPr txBox="1"/>
          <p:nvPr/>
        </p:nvSpPr>
        <p:spPr>
          <a:xfrm>
            <a:off x="1406120" y="851454"/>
            <a:ext cx="467435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mutation in Fast Reactors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Large number of FRs needed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any transport of MA-Fuels on the road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998901" y="851454"/>
            <a:ext cx="51284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Transmutation in ADS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mall units in small number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Wingdings" panose="05000000000000000000" pitchFamily="2" charset="2"/>
              </a:rPr>
              <a:t> Single site</a:t>
            </a: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  <a:sym typeface="Wingdings" panose="05000000000000000000" pitchFamily="2" charset="2"/>
              </a:rPr>
              <a:t>Few or no transport of MA Fuel on the roads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28" name="Group 27"/>
          <p:cNvGrpSpPr/>
          <p:nvPr/>
        </p:nvGrpSpPr>
        <p:grpSpPr>
          <a:xfrm>
            <a:off x="6973756" y="3625815"/>
            <a:ext cx="5088604" cy="2573191"/>
            <a:chOff x="3530930" y="3206420"/>
            <a:chExt cx="6008256" cy="2603736"/>
          </a:xfrm>
        </p:grpSpPr>
        <p:sp>
          <p:nvSpPr>
            <p:cNvPr id="30" name="TextBox 29"/>
            <p:cNvSpPr txBox="1"/>
            <p:nvPr/>
          </p:nvSpPr>
          <p:spPr>
            <a:xfrm>
              <a:off x="6131626" y="3755793"/>
              <a:ext cx="2268187" cy="65400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Reprocessing &amp;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Fuel Fabrication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5041548" y="3820038"/>
              <a:ext cx="1090076" cy="525516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DS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8399812" y="3820037"/>
              <a:ext cx="1139374" cy="525516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DS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595057" y="4439594"/>
              <a:ext cx="1169425" cy="525516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DS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6595057" y="3206420"/>
              <a:ext cx="1169425" cy="525516"/>
            </a:xfrm>
            <a:prstGeom prst="ellipse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ADS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3530930" y="5396682"/>
              <a:ext cx="4868882" cy="413474"/>
            </a:xfrm>
            <a:prstGeom prst="round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no or limited “on-the-road” transpor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72332539"/>
      </p:ext>
    </p:extLst>
  </p:cSld>
  <p:clrMapOvr>
    <a:masterClrMapping/>
  </p:clrMapOvr>
  <p:transition spd="med">
    <p:zoom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/>
          <p:nvPr/>
        </p:nvPicPr>
        <p:blipFill>
          <a:blip r:embed="rId2"/>
          <a:stretch>
            <a:fillRect/>
          </a:stretch>
        </p:blipFill>
        <p:spPr>
          <a:xfrm>
            <a:off x="335360" y="1196752"/>
            <a:ext cx="8352928" cy="4464496"/>
          </a:xfrm>
          <a:prstGeom prst="rect">
            <a:avLst/>
          </a:prstGeom>
        </p:spPr>
      </p:pic>
      <p:sp>
        <p:nvSpPr>
          <p:cNvPr id="3" name="Rounded Rectangle 2"/>
          <p:cNvSpPr/>
          <p:nvPr/>
        </p:nvSpPr>
        <p:spPr bwMode="auto">
          <a:xfrm>
            <a:off x="407368" y="1988840"/>
            <a:ext cx="8280920" cy="1080120"/>
          </a:xfrm>
          <a:prstGeom prst="roundRect">
            <a:avLst/>
          </a:prstGeom>
          <a:solidFill>
            <a:srgbClr val="92D050">
              <a:alpha val="38000"/>
            </a:srgb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13546" y="155730"/>
            <a:ext cx="8579821" cy="500801"/>
          </a:xfrm>
        </p:spPr>
        <p:txBody>
          <a:bodyPr/>
          <a:lstStyle/>
          <a:p>
            <a:r>
              <a:rPr lang="en-GB" dirty="0" smtClean="0">
                <a:solidFill>
                  <a:schemeClr val="accent5">
                    <a:lumMod val="50000"/>
                  </a:schemeClr>
                </a:solidFill>
              </a:rPr>
              <a:t>Even with completely different national NE policies</a:t>
            </a:r>
            <a:br>
              <a:rPr lang="en-GB" dirty="0" smtClean="0">
                <a:solidFill>
                  <a:schemeClr val="accent5">
                    <a:lumMod val="50000"/>
                  </a:schemeClr>
                </a:solidFill>
              </a:rPr>
            </a:br>
            <a:r>
              <a:rPr lang="en-GB" dirty="0" smtClean="0">
                <a:solidFill>
                  <a:schemeClr val="accent5">
                    <a:lumMod val="50000"/>
                  </a:schemeClr>
                </a:solidFill>
              </a:rPr>
              <a:t>European solution for HLW works with ADS</a:t>
            </a:r>
            <a:endParaRPr lang="en-GB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79376" y="5971346"/>
            <a:ext cx="1080120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FP6 PATEROS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project: Scenario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1 objective: elimination of A’s spent fuel by 2100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 = Countries Phasing Out, B = Countries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Continu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005173" y="1087442"/>
            <a:ext cx="2750883" cy="4016484"/>
          </a:xfrm>
          <a:prstGeom prst="rect">
            <a:avLst/>
          </a:prstGeom>
          <a:solidFill>
            <a:srgbClr val="92D050">
              <a:alpha val="48000"/>
            </a:srgbClr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dvantages for A</a:t>
            </a: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DS shared with B</a:t>
            </a: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DS burn A’s Pu&amp; MA</a:t>
            </a: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Smaller Fu-Cycle units &amp; shared</a:t>
            </a: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sz="2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q"/>
              <a:tabLst/>
              <a:defRPr/>
            </a:pPr>
            <a:r>
              <a:rPr kumimoji="0" lang="en-US" sz="2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dvantages for B</a:t>
            </a: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DS shared with B</a:t>
            </a: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DS burn B’s MA</a:t>
            </a: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A’s uses B’s Pu (part) as resource in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F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FR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fleet not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contam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 with MA’s</a:t>
            </a:r>
          </a:p>
          <a:p>
            <a:pPr marL="285750" marR="0" lvl="0" indent="-28575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 pitchFamily="34" charset="0"/>
                <a:ea typeface="Segoe UI" pitchFamily="34" charset="0"/>
                <a:cs typeface="Segoe UI" pitchFamily="34" charset="0"/>
              </a:rPr>
              <a:t>Smaller Fu-Cycle units &amp; shared</a:t>
            </a:r>
          </a:p>
        </p:txBody>
      </p:sp>
    </p:spTree>
    <p:extLst>
      <p:ext uri="{BB962C8B-B14F-4D97-AF65-F5344CB8AC3E}">
        <p14:creationId xmlns:p14="http://schemas.microsoft.com/office/powerpoint/2010/main" val="151487581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ational context evolution (3)</a:t>
            </a:r>
            <a:br>
              <a:rPr lang="en-GB" dirty="0"/>
            </a:br>
            <a:r>
              <a:rPr lang="en-GB" dirty="0"/>
              <a:t>2015 -&gt; Today (National Program on waste management)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  <a:hlinkClick r:id="rId2"/>
              </a:rPr>
              <a:t>https://economie.fgov.be/fr/publications/etude-combustible-nucleaire</a:t>
            </a:r>
            <a:endParaRPr kumimoji="0" lang="en-US" sz="800" b="0" i="1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800" b="0" i="1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4294967295"/>
          </p:nvPr>
        </p:nvSpPr>
        <p:spPr>
          <a:xfrm>
            <a:off x="0" y="1141413"/>
            <a:ext cx="10972800" cy="4984750"/>
          </a:xfrm>
          <a:prstGeom prst="rect">
            <a:avLst/>
          </a:prstGeom>
        </p:spPr>
        <p:txBody>
          <a:bodyPr>
            <a:normAutofit/>
          </a:bodyPr>
          <a:lstStyle/>
          <a:p>
            <a:endParaRPr lang="en-US" sz="3600" dirty="0">
              <a:solidFill>
                <a:schemeClr val="accent2">
                  <a:lumMod val="50000"/>
                </a:schemeClr>
              </a:solidFill>
            </a:endParaRPr>
          </a:p>
          <a:p>
            <a:endParaRPr lang="fr-BE" sz="3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fr-BE" sz="36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9" name="Down Arrow 8"/>
          <p:cNvSpPr/>
          <p:nvPr/>
        </p:nvSpPr>
        <p:spPr>
          <a:xfrm>
            <a:off x="5597009" y="2199900"/>
            <a:ext cx="931819" cy="713077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59003" y="1121329"/>
            <a:ext cx="10407832" cy="1015663"/>
          </a:xfrm>
          <a:prstGeom prst="rect">
            <a:avLst/>
          </a:prstGeom>
          <a:solidFill>
            <a:schemeClr val="bg1"/>
          </a:solidFill>
          <a:ln w="28575">
            <a:solidFill>
              <a:srgbClr val="0070C0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014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the national policy for the management of spent fuel from commercial nuclear power plants is the safe storage of spent fuel followed by it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processing &amp; disposal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or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rect disposal 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882287" y="2947667"/>
            <a:ext cx="10427426" cy="3311676"/>
          </a:xfrm>
          <a:prstGeom prst="rect">
            <a:avLst/>
          </a:prstGeom>
          <a:solidFill>
            <a:schemeClr val="bg1"/>
          </a:solidFill>
          <a:ln w="38100">
            <a:solidFill>
              <a:srgbClr val="00B050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17: Prospective </a:t>
            </a:r>
            <a:r>
              <a:rPr kumimoji="0" lang="fr-B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udy</a:t>
            </a:r>
            <a:r>
              <a:rPr kumimoji="0" lang="fr-B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on the </a:t>
            </a:r>
            <a:r>
              <a:rPr kumimoji="0" lang="fr-B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trategies</a:t>
            </a:r>
            <a:r>
              <a:rPr kumimoji="0" lang="fr-B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or the management of </a:t>
            </a:r>
            <a:r>
              <a:rPr kumimoji="0" lang="fr-B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lgian</a:t>
            </a:r>
            <a:r>
              <a:rPr kumimoji="0" lang="fr-B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B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uclear</a:t>
            </a:r>
            <a:r>
              <a:rPr kumimoji="0" lang="fr-B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fr-BE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pent</a:t>
            </a:r>
            <a:r>
              <a:rPr kumimoji="0" lang="fr-BE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uel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	6 </a:t>
            </a:r>
            <a:r>
              <a:rPr kumimoji="0" lang="fr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fferent</a:t>
            </a:r>
            <a:r>
              <a:rPr kumimoji="0" lang="fr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fr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trategies</a:t>
            </a:r>
            <a:r>
              <a:rPr kumimoji="0" lang="fr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re </a:t>
            </a:r>
            <a:r>
              <a:rPr kumimoji="0" lang="fr-B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ssessed</a:t>
            </a:r>
            <a:r>
              <a:rPr kumimoji="0" lang="fr-B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:</a:t>
            </a:r>
          </a:p>
          <a:p>
            <a:pPr marL="1072866" marR="0" lvl="2" indent="0" algn="l" defTabSz="10728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rect </a:t>
            </a: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sposal</a:t>
            </a: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3AEDB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072866" marR="0" lvl="2" indent="0" algn="l" defTabSz="10728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lassical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processing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of full </a:t>
            </a: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nventory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&amp; </a:t>
            </a: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73AEDB">
                    <a:lumMod val="5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isposal</a:t>
            </a: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73AEDB">
                  <a:lumMod val="5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072866" marR="0" lvl="2" indent="0" algn="l" defTabSz="10728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artial </a:t>
            </a: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processing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</a:p>
          <a:p>
            <a:pPr marL="1072866" marR="0" lvl="2" indent="0" algn="l" defTabSz="10728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vanced </a:t>
            </a: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eparation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(</a:t>
            </a: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&amp;C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</a:p>
          <a:p>
            <a:pPr marL="1072866" marR="0" lvl="2" indent="0" algn="l" defTabSz="10728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artitioning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&amp; Transmutation (</a:t>
            </a:r>
            <a:r>
              <a:rPr kumimoji="0" lang="fr-FR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&amp;T</a:t>
            </a: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</a:p>
          <a:p>
            <a:pPr marL="1072866" marR="0" lvl="2" indent="0" algn="l" defTabSz="1072866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dditional</a:t>
            </a:r>
            <a:r>
              <a:rPr kumimoji="0" lang="fr-FR" sz="1600" b="0" i="0" u="none" strike="noStrike" kern="1200" cap="none" spc="0" normalizeH="0" baseline="0" noProof="0" dirty="0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fr-FR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3E8FCD">
                    <a:lumMod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research</a:t>
            </a:r>
            <a:endParaRPr kumimoji="0" lang="fr-FR" sz="1600" b="0" i="0" u="none" strike="noStrike" kern="1200" cap="none" spc="0" normalizeH="0" baseline="0" noProof="0" dirty="0">
              <a:ln>
                <a:noFill/>
              </a:ln>
              <a:solidFill>
                <a:srgbClr val="3E8FCD">
                  <a:lumMod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984"/>
            <a:ext cx="1492907" cy="972000"/>
          </a:xfrm>
          <a:prstGeom prst="rect">
            <a:avLst/>
          </a:prstGeom>
          <a:effectLst/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7473" y="3739827"/>
            <a:ext cx="1765495" cy="245794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29881" y="3731557"/>
            <a:ext cx="1737782" cy="2474488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653399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lgian geological repository: impact on gallery length (km</a:t>
            </a:r>
            <a:r>
              <a:rPr lang="en-US" dirty="0" smtClean="0"/>
              <a:t>)</a:t>
            </a:r>
            <a:endParaRPr lang="en-US" dirty="0"/>
          </a:p>
        </p:txBody>
      </p:sp>
      <p:pic>
        <p:nvPicPr>
          <p:cNvPr id="4" name="image16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39416" y="1052736"/>
            <a:ext cx="10513168" cy="547260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685309" y="1052737"/>
            <a:ext cx="2567709" cy="831482"/>
          </a:xfrm>
          <a:prstGeom prst="rect">
            <a:avLst/>
          </a:prstGeom>
          <a:solidFill>
            <a:srgbClr val="FF0000">
              <a:alpha val="63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94545" y="5514110"/>
            <a:ext cx="2540000" cy="443346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66875" y="1066597"/>
            <a:ext cx="2516908" cy="817622"/>
          </a:xfrm>
          <a:prstGeom prst="rect">
            <a:avLst/>
          </a:prstGeom>
          <a:solidFill>
            <a:srgbClr val="FFC000">
              <a:alpha val="63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39159" y="5518734"/>
            <a:ext cx="2540000" cy="443346"/>
          </a:xfrm>
          <a:prstGeom prst="rect">
            <a:avLst/>
          </a:prstGeom>
          <a:noFill/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783778" y="1061985"/>
            <a:ext cx="2568805" cy="831482"/>
          </a:xfrm>
          <a:prstGeom prst="rect">
            <a:avLst/>
          </a:prstGeom>
          <a:solidFill>
            <a:srgbClr val="00B050">
              <a:alpha val="63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783770" y="5523358"/>
            <a:ext cx="2540000" cy="443346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699162" y="5971304"/>
            <a:ext cx="2540000" cy="443346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6243776" y="5975928"/>
            <a:ext cx="2540000" cy="443346"/>
          </a:xfrm>
          <a:prstGeom prst="rect">
            <a:avLst/>
          </a:prstGeom>
          <a:noFill/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788387" y="5980552"/>
            <a:ext cx="2540000" cy="443346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601659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lgian geological repository: impact on footprint (</a:t>
            </a:r>
            <a:r>
              <a:rPr lang="en-US" dirty="0" smtClean="0"/>
              <a:t>km²)</a:t>
            </a:r>
            <a:endParaRPr lang="en-US" dirty="0"/>
          </a:p>
        </p:txBody>
      </p:sp>
      <p:pic>
        <p:nvPicPr>
          <p:cNvPr id="4" name="image17.png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86057" y="980728"/>
            <a:ext cx="11254559" cy="561662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445165" y="966868"/>
            <a:ext cx="2715490" cy="917351"/>
          </a:xfrm>
          <a:prstGeom prst="rect">
            <a:avLst/>
          </a:prstGeom>
          <a:solidFill>
            <a:srgbClr val="FF0000">
              <a:alpha val="63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456991" y="5514110"/>
            <a:ext cx="2703662" cy="507998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160655" y="980728"/>
            <a:ext cx="2715490" cy="917351"/>
          </a:xfrm>
          <a:prstGeom prst="rect">
            <a:avLst/>
          </a:prstGeom>
          <a:solidFill>
            <a:srgbClr val="FFC000">
              <a:alpha val="63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160653" y="5518733"/>
            <a:ext cx="2694195" cy="503375"/>
          </a:xfrm>
          <a:prstGeom prst="rect">
            <a:avLst/>
          </a:prstGeom>
          <a:noFill/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8876145" y="976116"/>
            <a:ext cx="2725815" cy="917351"/>
          </a:xfrm>
          <a:prstGeom prst="rect">
            <a:avLst/>
          </a:prstGeom>
          <a:solidFill>
            <a:srgbClr val="00B050">
              <a:alpha val="63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8876144" y="5514110"/>
            <a:ext cx="2743177" cy="535718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445164" y="6063676"/>
            <a:ext cx="2698811" cy="472987"/>
          </a:xfrm>
          <a:prstGeom prst="rect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160654" y="6054441"/>
            <a:ext cx="2694194" cy="482222"/>
          </a:xfrm>
          <a:prstGeom prst="rect">
            <a:avLst/>
          </a:prstGeom>
          <a:noFill/>
          <a:ln w="508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8876143" y="6063676"/>
            <a:ext cx="2747795" cy="443346"/>
          </a:xfrm>
          <a:prstGeom prst="rect">
            <a:avLst/>
          </a:prstGeom>
          <a:noFill/>
          <a:ln w="5080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5173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12654"/>
          <a:stretch/>
        </p:blipFill>
        <p:spPr>
          <a:xfrm>
            <a:off x="-24682" y="-27384"/>
            <a:ext cx="12216681" cy="7802414"/>
          </a:xfrm>
          <a:prstGeom prst="rect">
            <a:avLst/>
          </a:prstGeom>
        </p:spPr>
      </p:pic>
      <p:sp>
        <p:nvSpPr>
          <p:cNvPr id="22" name="Rounded Rectangle 21"/>
          <p:cNvSpPr/>
          <p:nvPr/>
        </p:nvSpPr>
        <p:spPr>
          <a:xfrm>
            <a:off x="240237" y="160361"/>
            <a:ext cx="11688411" cy="6537278"/>
          </a:xfrm>
          <a:prstGeom prst="roundRect">
            <a:avLst>
              <a:gd name="adj" fmla="val 1544"/>
            </a:avLst>
          </a:prstGeom>
          <a:solidFill>
            <a:schemeClr val="accent5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15" name="Rectangle 6"/>
          <p:cNvSpPr>
            <a:spLocks noGrp="1" noChangeArrowheads="1"/>
          </p:cNvSpPr>
          <p:nvPr>
            <p:ph idx="1"/>
          </p:nvPr>
        </p:nvSpPr>
        <p:spPr>
          <a:xfrm>
            <a:off x="830763" y="3665534"/>
            <a:ext cx="6399109" cy="2380498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>
            <a:noAutofit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en-US" sz="2800" b="1" cap="small" dirty="0" smtClean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/>
              </a:rPr>
              <a:t></a:t>
            </a:r>
            <a:r>
              <a:rPr lang="en-US" b="1" cap="small" dirty="0" smtClean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US" sz="2800" b="1" cap="small" dirty="0" smtClean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Transmutation demonstration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b="1" cap="small" dirty="0" smtClean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     </a:t>
            </a:r>
            <a:r>
              <a:rPr lang="en-US" sz="2800" b="1" cap="small" dirty="0" smtClean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/>
              </a:rPr>
              <a:t></a:t>
            </a:r>
            <a:r>
              <a:rPr lang="en-US" sz="2800" b="1" cap="small" dirty="0" smtClean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ADS at pre-industrial scale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2800" b="1" cap="small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 </a:t>
            </a:r>
            <a:r>
              <a:rPr lang="en-US" sz="2800" b="1" cap="small" dirty="0" smtClean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           </a:t>
            </a:r>
            <a:r>
              <a:rPr lang="en-US" sz="2800" b="1" cap="small" dirty="0" smtClean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/>
              </a:rPr>
              <a:t> </a:t>
            </a:r>
            <a:r>
              <a:rPr lang="en-US" sz="2800" b="1" cap="small" dirty="0" smtClean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Flexible </a:t>
            </a:r>
            <a:r>
              <a:rPr lang="en-US" sz="2800" b="1" cap="small" dirty="0">
                <a:solidFill>
                  <a:schemeClr val="accent5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sym typeface="Wingdings" panose="05000000000000000000" pitchFamily="2" charset="2"/>
              </a:rPr>
              <a:t>irradiation facility</a:t>
            </a:r>
            <a:endParaRPr lang="en-US" sz="2800" cap="small" dirty="0">
              <a:solidFill>
                <a:schemeClr val="accent5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8570323" y="1853955"/>
            <a:ext cx="9316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600 </a:t>
            </a:r>
            <a:r>
              <a:rPr kumimoji="0" lang="en-US" sz="1400" b="1" i="0" u="none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M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</a:t>
            </a:r>
            <a:r>
              <a:rPr kumimoji="0" lang="en-US" sz="1400" b="1" i="0" u="none" strike="noStrike" kern="1200" cap="small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</a:t>
            </a:r>
          </a:p>
        </p:txBody>
      </p:sp>
      <p:sp>
        <p:nvSpPr>
          <p:cNvPr id="16" name="Rectangle 15"/>
          <p:cNvSpPr/>
          <p:nvPr/>
        </p:nvSpPr>
        <p:spPr>
          <a:xfrm>
            <a:off x="5931810" y="1445516"/>
            <a:ext cx="21645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small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Linear accelerator</a:t>
            </a:r>
            <a:endParaRPr kumimoji="0" lang="en-US" sz="1800" b="1" i="1" u="none" strike="noStrike" kern="1200" cap="small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503987" y="1853955"/>
            <a:ext cx="93166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100 M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e</a:t>
            </a:r>
            <a:r>
              <a:rPr kumimoji="0" lang="en-US" sz="1400" b="1" i="0" u="none" strike="noStrike" kern="1200" cap="small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V</a:t>
            </a:r>
            <a:endParaRPr kumimoji="0" lang="en-US" sz="1400" b="1" i="0" u="none" strike="noStrike" kern="1200" cap="small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463720" y="1445516"/>
            <a:ext cx="995785" cy="369332"/>
          </a:xfrm>
          <a:prstGeom prst="rect">
            <a:avLst/>
          </a:prstGeom>
          <a:solidFill>
            <a:schemeClr val="bg1"/>
          </a:solidFill>
          <a:ln>
            <a:solidFill>
              <a:srgbClr val="272957"/>
            </a:solidFill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small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hase 1</a:t>
            </a:r>
            <a:endParaRPr kumimoji="0" lang="en-US" sz="1800" b="1" i="1" u="none" strike="noStrike" kern="1200" cap="small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538262" y="1445516"/>
            <a:ext cx="99578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small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hase 2</a:t>
            </a:r>
            <a:endParaRPr kumimoji="0" lang="en-US" sz="1800" b="1" i="1" u="none" strike="noStrike" kern="1200" cap="small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7827895" y="3929913"/>
            <a:ext cx="99578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50000"/>
              </a:schemeClr>
            </a:solidFill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small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Phase 3</a:t>
            </a:r>
            <a:endParaRPr kumimoji="0" lang="en-US" sz="1800" b="1" i="1" u="none" strike="noStrike" kern="1200" cap="small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7497755" y="5729152"/>
            <a:ext cx="2399055" cy="646331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1200" cap="small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Sub-Critical React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i="1" cap="small" dirty="0" err="1" smtClean="0">
                <a:solidFill>
                  <a:srgbClr val="4472C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Pb</a:t>
            </a:r>
            <a:r>
              <a:rPr lang="en-US" sz="1800" b="1" i="1" cap="small" dirty="0" smtClean="0">
                <a:solidFill>
                  <a:srgbClr val="4472C4">
                    <a:lumMod val="75000"/>
                  </a:srgb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-Bi Cooled</a:t>
            </a:r>
            <a:endParaRPr kumimoji="0" lang="en-US" sz="1800" b="1" i="1" u="none" strike="noStrike" kern="1200" cap="small" spc="0" normalizeH="0" baseline="0" noProof="0" dirty="0">
              <a:ln>
                <a:noFill/>
              </a:ln>
              <a:solidFill>
                <a:srgbClr val="4472C4">
                  <a:lumMod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1700" y="1785934"/>
            <a:ext cx="3144030" cy="147077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562" y="3201264"/>
            <a:ext cx="1814494" cy="257037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0057" y="2222849"/>
            <a:ext cx="6326396" cy="105059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1852661" y="342819"/>
            <a:ext cx="8452237" cy="662332"/>
          </a:xfrm>
          <a:prstGeom prst="rect">
            <a:avLst/>
          </a:prstGeom>
          <a:solidFill>
            <a:srgbClr val="203864">
              <a:alpha val="56078"/>
            </a:srgbClr>
          </a:solidFill>
        </p:spPr>
        <p:txBody>
          <a:bodyPr wrap="square" lIns="107287" tIns="53643" rIns="107287" bIns="53643" rtlCol="0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YRRHA:  </a:t>
            </a:r>
            <a:r>
              <a:rPr kumimoji="0" lang="en-US" sz="3600" b="1" i="0" u="none" strike="noStrike" kern="1200" cap="sm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ccelerator Driven System</a:t>
            </a:r>
            <a:endParaRPr kumimoji="0" lang="en-US" sz="3600" b="1" i="0" u="none" strike="noStrike" kern="1200" cap="sm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124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12654"/>
          <a:stretch/>
        </p:blipFill>
        <p:spPr>
          <a:xfrm>
            <a:off x="-24682" y="-27384"/>
            <a:ext cx="12216681" cy="7802414"/>
          </a:xfrm>
          <a:prstGeom prst="rect">
            <a:avLst/>
          </a:prstGeom>
        </p:spPr>
      </p:pic>
      <p:sp>
        <p:nvSpPr>
          <p:cNvPr id="22" name="Rounded Rectangle 21"/>
          <p:cNvSpPr/>
          <p:nvPr/>
        </p:nvSpPr>
        <p:spPr>
          <a:xfrm>
            <a:off x="251796" y="304296"/>
            <a:ext cx="11688411" cy="6537278"/>
          </a:xfrm>
          <a:prstGeom prst="roundRect">
            <a:avLst>
              <a:gd name="adj" fmla="val 1544"/>
            </a:avLst>
          </a:prstGeom>
          <a:solidFill>
            <a:schemeClr val="accent5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55054" y="-27384"/>
            <a:ext cx="8961426" cy="662332"/>
          </a:xfrm>
          <a:prstGeom prst="rect">
            <a:avLst/>
          </a:prstGeom>
          <a:solidFill>
            <a:srgbClr val="203864">
              <a:alpha val="56078"/>
            </a:srgbClr>
          </a:solidFill>
        </p:spPr>
        <p:txBody>
          <a:bodyPr wrap="square" lIns="107287" tIns="53643" rIns="107287" bIns="53643" rtlCol="0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YRRHA’s</a:t>
            </a:r>
            <a:r>
              <a:rPr kumimoji="0" lang="en-US" sz="36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Application Portfolio</a:t>
            </a:r>
            <a:endParaRPr kumimoji="0" lang="en-US" sz="3600" b="1" i="0" u="none" strike="noStrike" kern="1200" cap="small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862655" y="1916832"/>
            <a:ext cx="1700279" cy="1758747"/>
            <a:chOff x="3529831" y="4221248"/>
            <a:chExt cx="1700279" cy="1758747"/>
          </a:xfrm>
        </p:grpSpPr>
        <p:pic>
          <p:nvPicPr>
            <p:cNvPr id="19" name="Picture 2"/>
            <p:cNvPicPr>
              <a:picLocks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3683353" y="4221248"/>
              <a:ext cx="1440000" cy="1440000"/>
            </a:xfrm>
            <a:prstGeom prst="ellipse">
              <a:avLst/>
            </a:prstGeom>
            <a:noFill/>
            <a:effectLst>
              <a:outerShdw blurRad="63500" dist="38100" dir="2700000" algn="tl" rotWithShape="0">
                <a:prstClr val="black">
                  <a:alpha val="7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/>
            <p:cNvSpPr txBox="1"/>
            <p:nvPr/>
          </p:nvSpPr>
          <p:spPr>
            <a:xfrm>
              <a:off x="3529831" y="5583995"/>
              <a:ext cx="1700279" cy="396000"/>
            </a:xfrm>
            <a:prstGeom prst="rect">
              <a:avLst/>
            </a:prstGeom>
            <a:solidFill>
              <a:srgbClr val="3E8FCD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bg2"/>
                  </a:solidFill>
                  <a:latin typeface="Segoe UI" panose="020B0502040204020203" pitchFamily="34" charset="0"/>
                </a:defRPr>
              </a:lvl1pPr>
            </a:lstStyle>
            <a:p>
              <a:r>
                <a:rPr lang="en-US" sz="1400" dirty="0"/>
                <a:t>Radio-isotopes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8140137" y="4293096"/>
            <a:ext cx="1700279" cy="1863099"/>
            <a:chOff x="8715764" y="2591764"/>
            <a:chExt cx="1700279" cy="1863099"/>
          </a:xfrm>
        </p:grpSpPr>
        <p:pic>
          <p:nvPicPr>
            <p:cNvPr id="23" name="Picture 2"/>
            <p:cNvPicPr>
              <a:picLocks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8821518" y="2591764"/>
              <a:ext cx="1440000" cy="1440000"/>
            </a:xfrm>
            <a:prstGeom prst="ellipse">
              <a:avLst/>
            </a:prstGeom>
            <a:noFill/>
            <a:effectLst>
              <a:outerShdw blurRad="63500" dist="38100" dir="2700000" algn="tl" rotWithShape="0">
                <a:prstClr val="black">
                  <a:alpha val="71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4" name="TextBox 23"/>
            <p:cNvSpPr txBox="1"/>
            <p:nvPr/>
          </p:nvSpPr>
          <p:spPr>
            <a:xfrm>
              <a:off x="8715764" y="3846534"/>
              <a:ext cx="1700279" cy="608329"/>
            </a:xfrm>
            <a:prstGeom prst="rect">
              <a:avLst/>
            </a:prstGeom>
            <a:solidFill>
              <a:srgbClr val="3E8FCD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07287" tIns="53643" rIns="107287" bIns="53643" numCol="1" rtlCol="0" anchor="ctr" anchorCtr="0" compatLnSpc="1">
              <a:prstTxWarp prst="textNoShape">
                <a:avLst/>
              </a:prstTxWarp>
            </a:bodyPr>
            <a:lstStyle>
              <a:defPPr>
                <a:defRPr lang="nl-BE"/>
              </a:defPPr>
              <a:lvl1pPr algn="ctr">
                <a:defRPr sz="1400" b="1">
                  <a:solidFill>
                    <a:schemeClr val="bg2"/>
                  </a:solidFill>
                  <a:latin typeface="Segoe UI" panose="020B0502040204020203" pitchFamily="34" charset="0"/>
                </a:defRPr>
              </a:lvl1pPr>
            </a:lstStyle>
            <a:p>
              <a:r>
                <a:rPr lang="en-US" dirty="0"/>
                <a:t>Fundamental research</a:t>
              </a:r>
            </a:p>
          </p:txBody>
        </p:sp>
      </p:grpSp>
      <p:sp>
        <p:nvSpPr>
          <p:cNvPr id="30" name="Title 1"/>
          <p:cNvSpPr txBox="1">
            <a:spLocks/>
          </p:cNvSpPr>
          <p:nvPr/>
        </p:nvSpPr>
        <p:spPr bwMode="auto">
          <a:xfrm>
            <a:off x="4913563" y="2748448"/>
            <a:ext cx="1857699" cy="2319903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200"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pPr algn="l"/>
            <a:r>
              <a:rPr lang="fr-BE" sz="2100" dirty="0"/>
              <a:t>  M</a:t>
            </a:r>
            <a:r>
              <a:rPr lang="fr-BE" sz="2100" b="0" dirty="0"/>
              <a:t>ultipurpose</a:t>
            </a:r>
          </a:p>
          <a:p>
            <a:pPr algn="l"/>
            <a:r>
              <a:rPr lang="fr-BE" sz="2100" b="0" dirty="0" err="1"/>
              <a:t>h</a:t>
            </a:r>
            <a:r>
              <a:rPr lang="fr-BE" sz="2100" dirty="0" err="1"/>
              <a:t>Y</a:t>
            </a:r>
            <a:r>
              <a:rPr lang="fr-BE" sz="2100" b="0" dirty="0" err="1"/>
              <a:t>brid</a:t>
            </a:r>
            <a:endParaRPr lang="fr-BE" sz="2100" b="0" dirty="0"/>
          </a:p>
          <a:p>
            <a:pPr algn="l"/>
            <a:r>
              <a:rPr lang="fr-BE" sz="2100" dirty="0"/>
              <a:t>  </a:t>
            </a:r>
            <a:r>
              <a:rPr lang="fr-BE" sz="2100" dirty="0" err="1"/>
              <a:t>R</a:t>
            </a:r>
            <a:r>
              <a:rPr lang="fr-BE" sz="2100" b="0" dirty="0" err="1"/>
              <a:t>esearch</a:t>
            </a:r>
            <a:endParaRPr lang="fr-BE" sz="2100" b="0" dirty="0"/>
          </a:p>
          <a:p>
            <a:pPr algn="l"/>
            <a:r>
              <a:rPr lang="fr-BE" sz="2100" dirty="0"/>
              <a:t>  </a:t>
            </a:r>
            <a:r>
              <a:rPr lang="fr-BE" sz="2100" dirty="0" err="1"/>
              <a:t>R</a:t>
            </a:r>
            <a:r>
              <a:rPr lang="fr-BE" sz="2100" b="0" dirty="0" err="1"/>
              <a:t>eactor</a:t>
            </a:r>
            <a:r>
              <a:rPr lang="fr-BE" sz="2100" b="0" dirty="0"/>
              <a:t> for</a:t>
            </a:r>
          </a:p>
          <a:p>
            <a:pPr algn="l"/>
            <a:r>
              <a:rPr lang="fr-BE" sz="2100" dirty="0"/>
              <a:t>  H</a:t>
            </a:r>
            <a:r>
              <a:rPr lang="fr-BE" sz="2100" b="0" dirty="0"/>
              <a:t>igh-tech</a:t>
            </a:r>
          </a:p>
          <a:p>
            <a:pPr algn="l"/>
            <a:r>
              <a:rPr lang="fr-BE" sz="2100" dirty="0"/>
              <a:t>  A</a:t>
            </a:r>
            <a:r>
              <a:rPr lang="fr-BE" sz="2100" b="0" dirty="0"/>
              <a:t>pplications</a:t>
            </a:r>
            <a:endParaRPr lang="en-US" sz="2100" b="0" dirty="0"/>
          </a:p>
        </p:txBody>
      </p:sp>
      <p:grpSp>
        <p:nvGrpSpPr>
          <p:cNvPr id="7" name="Group 6"/>
          <p:cNvGrpSpPr/>
          <p:nvPr/>
        </p:nvGrpSpPr>
        <p:grpSpPr>
          <a:xfrm>
            <a:off x="8121891" y="1916832"/>
            <a:ext cx="1699200" cy="1758747"/>
            <a:chOff x="7346673" y="1287452"/>
            <a:chExt cx="1699200" cy="1758747"/>
          </a:xfrm>
        </p:grpSpPr>
        <p:pic>
          <p:nvPicPr>
            <p:cNvPr id="33" name="Picture 6"/>
            <p:cNvPicPr>
              <a:picLocks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7421251" y="1287452"/>
              <a:ext cx="1440000" cy="1440000"/>
            </a:xfrm>
            <a:prstGeom prst="ellipse">
              <a:avLst/>
            </a:prstGeom>
            <a:noFill/>
            <a:effectLst>
              <a:outerShdw blurRad="63500" dist="38100" dir="2700000" algn="tl" rotWithShape="0">
                <a:prstClr val="black">
                  <a:alpha val="71000"/>
                </a:prstClr>
              </a:outerShdw>
            </a:effectLst>
          </p:spPr>
        </p:pic>
        <p:sp>
          <p:nvSpPr>
            <p:cNvPr id="34" name="TextBox 33"/>
            <p:cNvSpPr txBox="1"/>
            <p:nvPr/>
          </p:nvSpPr>
          <p:spPr>
            <a:xfrm>
              <a:off x="7346673" y="2650199"/>
              <a:ext cx="1699200" cy="396000"/>
            </a:xfrm>
            <a:prstGeom prst="rect">
              <a:avLst/>
            </a:prstGeom>
            <a:solidFill>
              <a:srgbClr val="3E8FCD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07287" tIns="53643" rIns="107287" bIns="53643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bg2"/>
                  </a:solidFill>
                  <a:latin typeface="Segoe UI" panose="020B0502040204020203" pitchFamily="34" charset="0"/>
                </a:defRPr>
              </a:lvl1pPr>
            </a:lstStyle>
            <a:p>
              <a:r>
                <a:rPr lang="en-US" sz="1400" dirty="0"/>
                <a:t>Fusion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4992812" y="799748"/>
            <a:ext cx="1699200" cy="1746204"/>
            <a:chOff x="647095" y="2852936"/>
            <a:chExt cx="1699200" cy="1746204"/>
          </a:xfrm>
        </p:grpSpPr>
        <p:sp>
          <p:nvSpPr>
            <p:cNvPr id="39" name="Oval 38"/>
            <p:cNvSpPr/>
            <p:nvPr/>
          </p:nvSpPr>
          <p:spPr bwMode="auto">
            <a:xfrm>
              <a:off x="776695" y="2852936"/>
              <a:ext cx="1440001" cy="1440000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nl-BE" sz="700">
                <a:latin typeface="Segoe UI" panose="020B0502040204020203" pitchFamily="34" charset="0"/>
              </a:endParaRPr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920306" y="3181582"/>
              <a:ext cx="1245093" cy="782707"/>
              <a:chOff x="3478963" y="1030652"/>
              <a:chExt cx="2919046" cy="1835012"/>
            </a:xfrm>
          </p:grpSpPr>
          <p:pic>
            <p:nvPicPr>
              <p:cNvPr id="42" name="Picture 2" descr="O:\DOKUMENT\Diensten\COM\MPR\mpr\Presentations\MYRRHA\images\waste.png"/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78963" y="1178742"/>
                <a:ext cx="1570867" cy="125599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3" name="Picture 2" descr="O:\DOKUMENT\Diensten\COM\MPR\mpr\Presentations\MYRRHA\images\waste.png"/>
              <p:cNvPicPr>
                <a:picLocks noChangeAspect="1" noChangeArrowheads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73943" y="1236616"/>
                <a:ext cx="1424066" cy="11386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2" descr="O:\DOKUMENT\Diensten\COM\MPR\mpr\Presentations\MYRRHA\images\waste.png"/>
              <p:cNvPicPr>
                <a:picLocks noChangeAspect="1" noChangeArrowheads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43677" y="1101777"/>
                <a:ext cx="1853910" cy="148230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5" name="Picture 2" descr="O:\DOKUMENT\Diensten\COM\MPR\mpr\Presentations\MYRRHA\images\waste.png"/>
              <p:cNvPicPr>
                <a:picLocks noChangeAspect="1" noChangeArrowheads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98470" y="1030652"/>
                <a:ext cx="2295043" cy="18350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41" name="TextBox 40"/>
            <p:cNvSpPr txBox="1"/>
            <p:nvPr/>
          </p:nvSpPr>
          <p:spPr>
            <a:xfrm>
              <a:off x="647095" y="4203140"/>
              <a:ext cx="1699200" cy="396000"/>
            </a:xfrm>
            <a:prstGeom prst="rect">
              <a:avLst/>
            </a:prstGeom>
            <a:solidFill>
              <a:srgbClr val="3E8FCD"/>
            </a:soli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107287" tIns="53643" rIns="107287" bIns="53643" numCol="1" rtlCol="0" anchor="ctr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bg2"/>
                  </a:solidFill>
                  <a:latin typeface="Segoe UI" panose="020B0502040204020203" pitchFamily="34" charset="0"/>
                </a:defRPr>
              </a:lvl1pPr>
            </a:lstStyle>
            <a:p>
              <a:r>
                <a:rPr lang="en-US" sz="1400" dirty="0" err="1"/>
                <a:t>SNF</a:t>
              </a:r>
              <a:r>
                <a:rPr lang="en-US" sz="1400" dirty="0"/>
                <a:t>*/ Waste</a:t>
              </a:r>
            </a:p>
          </p:txBody>
        </p:sp>
      </p:grpSp>
      <p:sp>
        <p:nvSpPr>
          <p:cNvPr id="46" name="TextBox 45"/>
          <p:cNvSpPr txBox="1"/>
          <p:nvPr/>
        </p:nvSpPr>
        <p:spPr>
          <a:xfrm>
            <a:off x="390560" y="6438309"/>
            <a:ext cx="2128988" cy="323777"/>
          </a:xfrm>
          <a:prstGeom prst="rect">
            <a:avLst/>
          </a:prstGeom>
          <a:noFill/>
        </p:spPr>
        <p:txBody>
          <a:bodyPr wrap="none" lIns="107287" tIns="53643" rIns="107287" bIns="53643" rtlCol="0">
            <a:spAutoFit/>
          </a:bodyPr>
          <a:lstStyle/>
          <a:p>
            <a:r>
              <a:rPr lang="nl-BE" sz="1400" dirty="0"/>
              <a:t>*</a:t>
            </a:r>
            <a:r>
              <a:rPr lang="nl-BE" sz="1400" dirty="0" err="1"/>
              <a:t>SNF</a:t>
            </a:r>
            <a:r>
              <a:rPr lang="nl-BE" sz="1400" dirty="0"/>
              <a:t> = </a:t>
            </a:r>
            <a:r>
              <a:rPr lang="nl-BE" sz="1400" dirty="0" err="1"/>
              <a:t>Spent</a:t>
            </a:r>
            <a:r>
              <a:rPr lang="nl-BE" sz="1400" dirty="0"/>
              <a:t> </a:t>
            </a:r>
            <a:r>
              <a:rPr lang="nl-BE" sz="1400" dirty="0" err="1"/>
              <a:t>Nuclear</a:t>
            </a:r>
            <a:r>
              <a:rPr lang="nl-BE" sz="1400" dirty="0"/>
              <a:t> </a:t>
            </a:r>
            <a:r>
              <a:rPr lang="nl-BE" sz="1400" dirty="0" err="1"/>
              <a:t>Fuel</a:t>
            </a:r>
            <a:endParaRPr lang="en-GB" sz="1400" dirty="0"/>
          </a:p>
        </p:txBody>
      </p:sp>
      <p:pic>
        <p:nvPicPr>
          <p:cNvPr id="27" name="Picture 4"/>
          <p:cNvPicPr>
            <a:picLocks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63712" y="4293832"/>
            <a:ext cx="1440000" cy="1440000"/>
          </a:xfrm>
          <a:prstGeom prst="ellipse">
            <a:avLst/>
          </a:prstGeom>
          <a:noFill/>
          <a:effectLst>
            <a:outerShdw blurRad="63500" dist="38100" dir="2700000" algn="tl" rotWithShape="0">
              <a:prstClr val="black">
                <a:alpha val="71000"/>
              </a:prstClr>
            </a:outerShdw>
          </a:effectLst>
        </p:spPr>
      </p:pic>
      <p:sp>
        <p:nvSpPr>
          <p:cNvPr id="32" name="Rectangle 9"/>
          <p:cNvSpPr>
            <a:spLocks noChangeArrowheads="1"/>
          </p:cNvSpPr>
          <p:nvPr/>
        </p:nvSpPr>
        <p:spPr bwMode="auto">
          <a:xfrm>
            <a:off x="2063384" y="5660751"/>
            <a:ext cx="1435170" cy="396000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GB" sz="1400" b="1" dirty="0" smtClean="0">
                <a:solidFill>
                  <a:schemeClr val="bg2"/>
                </a:solidFill>
                <a:latin typeface="Segoe UI" panose="020B0502040204020203" pitchFamily="34" charset="0"/>
              </a:rPr>
              <a:t>Mat.&amp; Fuel  </a:t>
            </a:r>
            <a:r>
              <a:rPr lang="en-GB" sz="1400" b="1" dirty="0">
                <a:solidFill>
                  <a:schemeClr val="bg2"/>
                </a:solidFill>
                <a:latin typeface="Segoe UI" panose="020B0502040204020203" pitchFamily="34" charset="0"/>
              </a:rPr>
              <a:t>GEN IV</a:t>
            </a:r>
          </a:p>
        </p:txBody>
      </p:sp>
      <p:pic>
        <p:nvPicPr>
          <p:cNvPr id="26" name="Picture 2" descr="C:\Users\sproost\Documents\Project MYRRHA\Presentations - Funding\2016_10_04 Meeting Westinghouse\SMR - Picture 1_circle.png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67150" y="5085184"/>
            <a:ext cx="1440000" cy="14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5159896" y="6449803"/>
            <a:ext cx="1452358" cy="396000"/>
          </a:xfrm>
          <a:prstGeom prst="rect">
            <a:avLst/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107287" tIns="53643" rIns="107287" bIns="53643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r>
              <a:rPr lang="en-US" sz="1400" dirty="0" smtClean="0"/>
              <a:t>Support to</a:t>
            </a:r>
          </a:p>
          <a:p>
            <a:r>
              <a:rPr lang="en-US" sz="1400" dirty="0" err="1" smtClean="0"/>
              <a:t>SMR</a:t>
            </a:r>
            <a:r>
              <a:rPr lang="en-US" sz="1400" dirty="0" smtClean="0"/>
              <a:t> </a:t>
            </a:r>
            <a:r>
              <a:rPr lang="en-US" sz="1400" dirty="0" err="1"/>
              <a:t>LF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682260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38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celerator Driven System: intrinsic safety</a:t>
            </a:r>
            <a:endParaRPr lang="en-US" dirty="0"/>
          </a:p>
        </p:txBody>
      </p:sp>
      <p:pic>
        <p:nvPicPr>
          <p:cNvPr id="5" name="Media1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43000" y="836713"/>
            <a:ext cx="9906000" cy="557212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71464" y="3016984"/>
            <a:ext cx="2880320" cy="1708160"/>
          </a:xfrm>
          <a:prstGeom prst="rect">
            <a:avLst/>
          </a:prstGeom>
          <a:solidFill>
            <a:srgbClr val="EAEFF5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To keep the reactor operating we need CW proton beam with very high reliability</a:t>
            </a:r>
          </a:p>
        </p:txBody>
      </p:sp>
    </p:spTree>
    <p:extLst>
      <p:ext uri="{BB962C8B-B14F-4D97-AF65-F5344CB8AC3E}">
        <p14:creationId xmlns:p14="http://schemas.microsoft.com/office/powerpoint/2010/main" val="41980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740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468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5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0950" y="620617"/>
            <a:ext cx="10907232" cy="6123757"/>
          </a:xfrm>
          <a:prstGeom prst="rect">
            <a:avLst/>
          </a:prstGeom>
          <a:ln w="38100">
            <a:noFill/>
          </a:ln>
        </p:spPr>
      </p:pic>
      <p:sp>
        <p:nvSpPr>
          <p:cNvPr id="23" name="Rectangle 22"/>
          <p:cNvSpPr/>
          <p:nvPr/>
        </p:nvSpPr>
        <p:spPr bwMode="auto">
          <a:xfrm>
            <a:off x="1162525" y="668099"/>
            <a:ext cx="10318275" cy="3147425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600">
              <a:latin typeface="Arial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 rot="19200478">
            <a:off x="8410369" y="2328426"/>
            <a:ext cx="514211" cy="186139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600"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-737498" y="1939064"/>
            <a:ext cx="3147426" cy="605491"/>
          </a:xfrm>
          <a:prstGeom prst="rect">
            <a:avLst/>
          </a:prstGeom>
          <a:solidFill>
            <a:srgbClr val="002060">
              <a:alpha val="56000"/>
            </a:srgbClr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r>
              <a:rPr lang="en-GB" sz="1400" dirty="0"/>
              <a:t>Phase 1 – 100 </a:t>
            </a:r>
            <a:r>
              <a:rPr lang="en-GB" sz="1400" dirty="0" smtClean="0"/>
              <a:t>MeV </a:t>
            </a:r>
          </a:p>
          <a:p>
            <a:r>
              <a:rPr lang="en-GB" sz="1400" dirty="0" smtClean="0"/>
              <a:t>+ Proton Target Facility  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1162525" y="3869006"/>
            <a:ext cx="7908150" cy="2765970"/>
          </a:xfrm>
          <a:prstGeom prst="rect">
            <a:avLst/>
          </a:prstGeom>
          <a:noFill/>
          <a:ln w="412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600">
              <a:latin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 rot="16200000">
            <a:off x="-563635" y="4960459"/>
            <a:ext cx="2743538" cy="605491"/>
          </a:xfrm>
          <a:prstGeom prst="rect">
            <a:avLst/>
          </a:prstGeom>
          <a:solidFill>
            <a:srgbClr val="002060">
              <a:alpha val="56000"/>
            </a:srgbClr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r>
              <a:rPr lang="en-GB" sz="1400" dirty="0"/>
              <a:t>Phase 2 – 600 MeV</a:t>
            </a:r>
          </a:p>
        </p:txBody>
      </p:sp>
      <p:sp>
        <p:nvSpPr>
          <p:cNvPr id="20" name="Footer Placeholder 5"/>
          <p:cNvSpPr txBox="1">
            <a:spLocks/>
          </p:cNvSpPr>
          <p:nvPr/>
        </p:nvSpPr>
        <p:spPr>
          <a:xfrm>
            <a:off x="479376" y="6393030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>
                <a:solidFill>
                  <a:schemeClr val="bg1"/>
                </a:solidFill>
              </a:rPr>
              <a:t>Source: </a:t>
            </a:r>
            <a:r>
              <a:rPr lang="en-US" dirty="0">
                <a:solidFill>
                  <a:schemeClr val="bg1"/>
                </a:solidFill>
              </a:rPr>
              <a:t>SCK CEN </a:t>
            </a:r>
            <a:r>
              <a:rPr lang="nl-BE" dirty="0" err="1">
                <a:solidFill>
                  <a:schemeClr val="bg1"/>
                </a:solidFill>
              </a:rPr>
              <a:t>MYRRHA</a:t>
            </a:r>
            <a:r>
              <a:rPr lang="nl-BE" dirty="0">
                <a:solidFill>
                  <a:schemeClr val="bg1"/>
                </a:solidFill>
              </a:rPr>
              <a:t> Project Team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92988" y="27914"/>
            <a:ext cx="11235194" cy="539221"/>
          </a:xfrm>
          <a:prstGeom prst="rect">
            <a:avLst/>
          </a:prstGeom>
          <a:solidFill>
            <a:srgbClr val="203864">
              <a:alpha val="56078"/>
            </a:srgbClr>
          </a:solidFill>
        </p:spPr>
        <p:txBody>
          <a:bodyPr wrap="square" lIns="107287" tIns="53643" rIns="107287" bIns="53643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800" b="1" cap="small" smtClean="0">
                <a:solidFill>
                  <a:schemeClr val="bg1"/>
                </a:solidFill>
              </a:rPr>
              <a:t>MYRRHA’s</a:t>
            </a:r>
            <a:r>
              <a:rPr lang="en-US" sz="2800" b="1" cap="small" dirty="0" smtClean="0">
                <a:solidFill>
                  <a:schemeClr val="bg1"/>
                </a:solidFill>
              </a:rPr>
              <a:t> phased </a:t>
            </a:r>
            <a:r>
              <a:rPr lang="en-US" sz="2800" b="1" cap="small" dirty="0">
                <a:solidFill>
                  <a:schemeClr val="bg1"/>
                </a:solidFill>
              </a:rPr>
              <a:t>implementation strategy</a:t>
            </a:r>
            <a:endParaRPr lang="en-US" sz="2800" b="1" cap="small" dirty="0">
              <a:solidFill>
                <a:schemeClr val="bg1"/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467484">
            <a:off x="9184092" y="4186911"/>
            <a:ext cx="626285" cy="68122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0126254" y="4087394"/>
            <a:ext cx="701955" cy="181883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Box 17"/>
          <p:cNvSpPr txBox="1"/>
          <p:nvPr/>
        </p:nvSpPr>
        <p:spPr>
          <a:xfrm rot="16200000">
            <a:off x="9803400" y="4963999"/>
            <a:ext cx="2743537" cy="598411"/>
          </a:xfrm>
          <a:prstGeom prst="rect">
            <a:avLst/>
          </a:prstGeom>
          <a:solidFill>
            <a:srgbClr val="002060">
              <a:alpha val="56000"/>
            </a:srgbClr>
          </a:solidFill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b="1">
                <a:solidFill>
                  <a:schemeClr val="bg2"/>
                </a:solidFill>
                <a:latin typeface="Segoe UI" panose="020B0502040204020203" pitchFamily="34" charset="0"/>
              </a:defRPr>
            </a:lvl1pPr>
          </a:lstStyle>
          <a:p>
            <a:r>
              <a:rPr lang="en-GB" sz="1400" dirty="0"/>
              <a:t>Phase 3 – Reactor </a:t>
            </a: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070675" y="4832037"/>
            <a:ext cx="1316427" cy="1717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3374540" y="2723881"/>
            <a:ext cx="6075834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2400" b="1" dirty="0" smtClean="0">
                <a:solidFill>
                  <a:srgbClr val="00B050"/>
                </a:solidFill>
              </a:rPr>
              <a:t>UNDER CONSTRUCTION</a:t>
            </a:r>
          </a:p>
          <a:p>
            <a:pPr algn="ctr"/>
            <a:r>
              <a:rPr lang="en-GB" sz="2400" b="1" dirty="0" smtClean="0">
                <a:solidFill>
                  <a:srgbClr val="00B050"/>
                </a:solidFill>
              </a:rPr>
              <a:t>MYRRHA phase 1 = MINERVA</a:t>
            </a:r>
          </a:p>
          <a:p>
            <a:pPr algn="ctr"/>
            <a:r>
              <a:rPr lang="en-GB" sz="2400" b="1" dirty="0" smtClean="0">
                <a:solidFill>
                  <a:srgbClr val="00B050"/>
                </a:solidFill>
              </a:rPr>
              <a:t>(see next presentation by Adrian FABICH</a:t>
            </a:r>
            <a:endParaRPr lang="en-US" sz="2400" b="1" dirty="0" err="1" smtClean="0">
              <a:solidFill>
                <a:srgbClr val="00B05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0" y="649465"/>
            <a:ext cx="11728182" cy="3241972"/>
          </a:xfrm>
          <a:prstGeom prst="rect">
            <a:avLst/>
          </a:prstGeom>
          <a:noFill/>
          <a:ln w="603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 bwMode="auto">
          <a:xfrm>
            <a:off x="9083275" y="3815523"/>
            <a:ext cx="1744934" cy="2819452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7287" tIns="53643" rIns="107287" bIns="53643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60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861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8159" y="197867"/>
            <a:ext cx="5273840" cy="3099251"/>
          </a:xfrm>
          <a:prstGeom prst="rect">
            <a:avLst/>
          </a:prstGeom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19336" y="363625"/>
            <a:ext cx="10658475" cy="543672"/>
          </a:xfrm>
        </p:spPr>
        <p:txBody>
          <a:bodyPr/>
          <a:lstStyle/>
          <a:p>
            <a:pPr algn="l"/>
            <a:r>
              <a:rPr lang="en-US" sz="2800" dirty="0" smtClean="0"/>
              <a:t>MINERVA implementation by 2026</a:t>
            </a:r>
            <a:endParaRPr lang="en-US" sz="280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551384" y="1700808"/>
            <a:ext cx="6366775" cy="4206216"/>
          </a:xfrm>
        </p:spPr>
        <p:txBody>
          <a:bodyPr>
            <a:normAutofit/>
          </a:bodyPr>
          <a:lstStyle/>
          <a:p>
            <a:pPr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800" dirty="0" smtClean="0"/>
              <a:t>Overall architecture frozen, main internal floor plan decisions taken</a:t>
            </a:r>
          </a:p>
          <a:p>
            <a:pPr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</a:pPr>
            <a:r>
              <a:rPr lang="en-US" sz="1800" dirty="0" smtClean="0"/>
              <a:t>PTF design close to level of ACC, FPF catching up</a:t>
            </a:r>
          </a:p>
          <a:p>
            <a:pPr>
              <a:lnSpc>
                <a:spcPct val="114000"/>
              </a:lnSpc>
              <a:spcBef>
                <a:spcPts val="0"/>
              </a:spcBef>
              <a:spcAft>
                <a:spcPts val="300"/>
              </a:spcAft>
            </a:pPr>
            <a:endParaRPr lang="en-US" sz="21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14E660-BF25-4843-B2A0-93C6E2B6253B}" type="slidenum">
              <a:rPr kumimoji="0" lang="en-BE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 Black" panose="020B0A02040204020203" pitchFamily="34" charset="0"/>
                <a:cs typeface="Segoe UI Semibold" panose="020B0702040204020203" pitchFamily="34" charset="0"/>
              </a:rPr>
              <a:pPr marL="0" marR="0" lvl="0" indent="0" algn="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B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18158" y="3726669"/>
            <a:ext cx="5273841" cy="27588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139227" y="1969380"/>
            <a:ext cx="2759039" cy="5105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288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14E660-BF25-4843-B2A0-93C6E2B6253B}" type="slidenum">
              <a:rPr kumimoji="0" lang="en-BE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 Black" panose="020B0A02040204020203" pitchFamily="34" charset="0"/>
                <a:cs typeface="Segoe UI Semibold" panose="020B0702040204020203" pitchFamily="34" charset="0"/>
              </a:rPr>
              <a:pPr marL="0" marR="0" lvl="0" indent="0" algn="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B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948383" y="547297"/>
            <a:ext cx="10658475" cy="571500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NF ACC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967930" y="1404285"/>
            <a:ext cx="10843069" cy="4184715"/>
          </a:xfrm>
        </p:spPr>
        <p:txBody>
          <a:bodyPr>
            <a:noAutofit/>
          </a:bodyPr>
          <a:lstStyle/>
          <a:p>
            <a:r>
              <a:rPr lang="en-US" sz="2100" b="1" dirty="0" smtClean="0">
                <a:latin typeface="+mj-lt"/>
                <a:cs typeface="Segoe UI Semibold" panose="020B0702040204020203" pitchFamily="34" charset="0"/>
              </a:rPr>
              <a:t>Outline Basic Design phase</a:t>
            </a:r>
          </a:p>
          <a:p>
            <a:pPr lvl="1"/>
            <a:r>
              <a:rPr lang="en-GB" sz="1800" dirty="0" smtClean="0">
                <a:latin typeface="+mj-lt"/>
                <a:cs typeface="Segoe UI Semibold" panose="020B0702040204020203" pitchFamily="34" charset="0"/>
              </a:rPr>
              <a:t>3D data model</a:t>
            </a:r>
          </a:p>
          <a:p>
            <a:pPr lvl="2"/>
            <a:r>
              <a:rPr lang="en-GB" sz="1400" dirty="0" smtClean="0">
                <a:latin typeface="+mj-lt"/>
                <a:cs typeface="Segoe UI Semibold" panose="020B0702040204020203" pitchFamily="34" charset="0"/>
              </a:rPr>
              <a:t>determines </a:t>
            </a:r>
            <a:r>
              <a:rPr lang="en-GB" sz="1400" u="sng" dirty="0" smtClean="0">
                <a:latin typeface="+mj-lt"/>
                <a:cs typeface="Segoe UI Semibold" panose="020B0702040204020203" pitchFamily="34" charset="0"/>
              </a:rPr>
              <a:t>minimum</a:t>
            </a:r>
            <a:r>
              <a:rPr lang="en-GB" sz="1400" dirty="0" smtClean="0">
                <a:latin typeface="+mj-lt"/>
                <a:cs typeface="Segoe UI Semibold" panose="020B0702040204020203" pitchFamily="34" charset="0"/>
              </a:rPr>
              <a:t> level of detail (LOD 100) of all SSC</a:t>
            </a:r>
          </a:p>
          <a:p>
            <a:pPr lvl="2"/>
            <a:r>
              <a:rPr lang="en-GB" sz="1400" dirty="0" smtClean="0">
                <a:latin typeface="+mj-lt"/>
                <a:cs typeface="Segoe UI Semibold" panose="020B0702040204020203" pitchFamily="34" charset="0"/>
              </a:rPr>
              <a:t>links ‘all’ information</a:t>
            </a:r>
          </a:p>
          <a:p>
            <a:pPr lvl="2"/>
            <a:r>
              <a:rPr lang="en-GB" sz="1400" dirty="0" smtClean="0">
                <a:latin typeface="+mj-lt"/>
                <a:cs typeface="Segoe UI Semibold" panose="020B0702040204020203" pitchFamily="34" charset="0"/>
              </a:rPr>
              <a:t>tool for integration of SSC</a:t>
            </a:r>
          </a:p>
          <a:p>
            <a:pPr lvl="2"/>
            <a:endParaRPr lang="en-GB" sz="1400" dirty="0" smtClean="0">
              <a:latin typeface="+mj-lt"/>
              <a:cs typeface="Segoe UI Semibold" panose="020B0702040204020203" pitchFamily="34" charset="0"/>
            </a:endParaRPr>
          </a:p>
          <a:p>
            <a:pPr lvl="1"/>
            <a:endParaRPr lang="en-US" sz="1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21000" y="1052542"/>
            <a:ext cx="3962400" cy="191383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1000" y="3074891"/>
            <a:ext cx="5040000" cy="3635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422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814E660-BF25-4843-B2A0-93C6E2B6253B}" type="slidenum">
              <a:rPr kumimoji="0" lang="en-BE" sz="10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Segoe UI Black" panose="020B0A02040204020203" pitchFamily="34" charset="0"/>
                <a:cs typeface="Segoe UI Semibold" panose="020B0702040204020203" pitchFamily="34" charset="0"/>
              </a:rPr>
              <a:pPr marL="0" marR="0" lvl="0" indent="0" algn="r" defTabSz="10728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BE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948383" y="547297"/>
            <a:ext cx="10658475" cy="571500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NF PTF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5"/>
          </p:nvPr>
        </p:nvSpPr>
        <p:spPr>
          <a:xfrm>
            <a:off x="967930" y="1404285"/>
            <a:ext cx="10843069" cy="4184715"/>
          </a:xfrm>
        </p:spPr>
        <p:txBody>
          <a:bodyPr>
            <a:noAutofit/>
          </a:bodyPr>
          <a:lstStyle/>
          <a:p>
            <a:r>
              <a:rPr lang="en-US" sz="2100" b="1" dirty="0" smtClean="0">
                <a:latin typeface="+mj-lt"/>
                <a:cs typeface="Segoe UI Semibold" panose="020B0702040204020203" pitchFamily="34" charset="0"/>
              </a:rPr>
              <a:t>Conceptual Design phase</a:t>
            </a:r>
          </a:p>
          <a:p>
            <a:pPr lvl="1"/>
            <a:r>
              <a:rPr lang="en-GB" sz="1800" dirty="0" smtClean="0">
                <a:latin typeface="+mj-lt"/>
                <a:cs typeface="Segoe UI Semibold" panose="020B0702040204020203" pitchFamily="34" charset="0"/>
              </a:rPr>
              <a:t>3D data model</a:t>
            </a:r>
          </a:p>
          <a:p>
            <a:pPr lvl="2"/>
            <a:r>
              <a:rPr lang="en-GB" sz="1400" dirty="0" smtClean="0">
                <a:cs typeface="Segoe UI Semibold" panose="020B0702040204020203" pitchFamily="34" charset="0"/>
              </a:rPr>
              <a:t>minimum LOD 100, </a:t>
            </a:r>
            <a:r>
              <a:rPr lang="en-US" sz="1400" dirty="0" smtClean="0">
                <a:cs typeface="Segoe UI Semibold" panose="020B0702040204020203" pitchFamily="34" charset="0"/>
              </a:rPr>
              <a:t>higher level reached</a:t>
            </a:r>
          </a:p>
          <a:p>
            <a:pPr lvl="2"/>
            <a:r>
              <a:rPr lang="en-US" sz="1400" dirty="0" smtClean="0">
                <a:cs typeface="Segoe UI Semibold" panose="020B0702040204020203" pitchFamily="34" charset="0"/>
              </a:rPr>
              <a:t>primary systems included</a:t>
            </a:r>
            <a:endParaRPr lang="en-GB" sz="1400" dirty="0">
              <a:cs typeface="Segoe UI Semibold" panose="020B0702040204020203" pitchFamily="34" charset="0"/>
            </a:endParaRPr>
          </a:p>
          <a:p>
            <a:pPr marL="723900" lvl="2" indent="0">
              <a:buNone/>
            </a:pPr>
            <a:endParaRPr lang="en-US" sz="1400" dirty="0"/>
          </a:p>
          <a:p>
            <a:pPr lvl="1"/>
            <a:endParaRPr lang="en-US" sz="16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057" y="220187"/>
            <a:ext cx="4746975" cy="298381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68" y="2829530"/>
            <a:ext cx="6462525" cy="213196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2057" y="3568994"/>
            <a:ext cx="4769082" cy="2785006"/>
          </a:xfrm>
          <a:prstGeom prst="rect">
            <a:avLst/>
          </a:prstGeom>
        </p:spPr>
      </p:pic>
      <p:sp>
        <p:nvSpPr>
          <p:cNvPr id="10" name="Text Placeholder 9"/>
          <p:cNvSpPr txBox="1">
            <a:spLocks/>
          </p:cNvSpPr>
          <p:nvPr/>
        </p:nvSpPr>
        <p:spPr>
          <a:xfrm>
            <a:off x="407368" y="5302988"/>
            <a:ext cx="6834689" cy="571500"/>
          </a:xfrm>
          <a:solidFill>
            <a:srgbClr val="FFFF00">
              <a:alpha val="73000"/>
            </a:srgbClr>
          </a:solidFill>
          <a:ln>
            <a:solidFill>
              <a:srgbClr val="FF0000"/>
            </a:solidFill>
          </a:ln>
        </p:spPr>
        <p:txBody>
          <a:bodyPr>
            <a:noAutofit/>
          </a:bodyPr>
          <a:lstStyle>
            <a:lvl1pPr marL="88900" indent="0" algn="l" defTabSz="1072892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defRPr lang="en-US" sz="3600" b="1" kern="1200" baseline="0" dirty="0" smtClean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871725" indent="-335278" algn="l" defTabSz="1072892" rtl="0" eaLnBrk="1" latinLnBrk="0" hangingPunct="1">
              <a:spcBef>
                <a:spcPct val="200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16" indent="-268223" algn="l" defTabSz="1072892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7562" indent="-268223" algn="l" defTabSz="1072892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14007" indent="-268223" algn="l" defTabSz="1072892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0454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900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346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792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 smtClean="0">
                <a:solidFill>
                  <a:srgbClr val="7030A0"/>
                </a:solidFill>
              </a:rPr>
              <a:t>Strong &amp; Fruitful collaboration </a:t>
            </a:r>
            <a:r>
              <a:rPr lang="en-US" sz="1800" b="0" dirty="0" smtClean="0">
                <a:solidFill>
                  <a:srgbClr val="7030A0"/>
                </a:solidFill>
              </a:rPr>
              <a:t>between TRIUMF and SCK CEN for the development of ARIEL and ISOL@MYRRHA</a:t>
            </a:r>
            <a:endParaRPr lang="en-US" sz="1800" b="0" dirty="0">
              <a:solidFill>
                <a:srgbClr val="7030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8750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1281" y="0"/>
            <a:ext cx="10515600" cy="1325563"/>
          </a:xfrm>
        </p:spPr>
        <p:txBody>
          <a:bodyPr/>
          <a:lstStyle/>
          <a:p>
            <a:r>
              <a:rPr lang="en-US" dirty="0" smtClean="0"/>
              <a:t>SC single spoke cavities &amp; </a:t>
            </a:r>
            <a:r>
              <a:rPr lang="en-US" dirty="0" err="1" smtClean="0"/>
              <a:t>cryo</a:t>
            </a:r>
            <a:r>
              <a:rPr lang="en-US" dirty="0" smtClean="0"/>
              <a:t> module</a:t>
            </a:r>
            <a:endParaRPr lang="en-US" dirty="0"/>
          </a:p>
        </p:txBody>
      </p:sp>
      <p:pic>
        <p:nvPicPr>
          <p:cNvPr id="4" name="Image 49" descr="C:\Users\bippus\Documents\Myrrha\Montage proto myrrha\Photos premier montage train proto MYRRHA-validation intégration mécanique\5-Ecran thermique et MLI, lignes cryogéniques\IMG_20220509_154406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951" y="3378563"/>
            <a:ext cx="3365397" cy="252360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078" y="1052736"/>
            <a:ext cx="5354774" cy="252351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46946" y="6011152"/>
            <a:ext cx="58370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rototyping progressing at collaboration partner </a:t>
            </a:r>
            <a:r>
              <a:rPr lang="en-US" sz="1600" dirty="0" err="1" smtClean="0"/>
              <a:t>IJCLab</a:t>
            </a:r>
            <a:r>
              <a:rPr lang="en-US" sz="1600" dirty="0" smtClean="0"/>
              <a:t> (FR)</a:t>
            </a:r>
            <a:endParaRPr lang="en-US" sz="1600" dirty="0"/>
          </a:p>
        </p:txBody>
      </p:sp>
      <p:pic>
        <p:nvPicPr>
          <p:cNvPr id="7" name="Picture 2" descr="image00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6971" y="1384498"/>
            <a:ext cx="2603978" cy="154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8"/>
          <p:cNvGrpSpPr/>
          <p:nvPr/>
        </p:nvGrpSpPr>
        <p:grpSpPr>
          <a:xfrm>
            <a:off x="7048375" y="3728416"/>
            <a:ext cx="4328079" cy="2031784"/>
            <a:chOff x="153543" y="3769842"/>
            <a:chExt cx="4328079" cy="2031784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53543" y="3769843"/>
              <a:ext cx="2615503" cy="2031783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70604" y="3769842"/>
              <a:ext cx="2011018" cy="2029968"/>
            </a:xfrm>
            <a:prstGeom prst="rect">
              <a:avLst/>
            </a:prstGeom>
          </p:spPr>
        </p:pic>
      </p:grpSp>
      <p:sp>
        <p:nvSpPr>
          <p:cNvPr id="12" name="TextBox 11"/>
          <p:cNvSpPr txBox="1"/>
          <p:nvPr/>
        </p:nvSpPr>
        <p:spPr>
          <a:xfrm>
            <a:off x="6541012" y="5805264"/>
            <a:ext cx="496724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Production of pre-series single spoke cavity parts</a:t>
            </a:r>
          </a:p>
          <a:p>
            <a:r>
              <a:rPr lang="en-US" sz="1600" dirty="0" smtClean="0"/>
              <a:t>is ongoing at RI (DE)</a:t>
            </a:r>
            <a:endParaRPr lang="en-US" sz="16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765059" y="2184853"/>
            <a:ext cx="3144903" cy="1486415"/>
          </a:xfrm>
          <a:prstGeom prst="rect">
            <a:avLst/>
          </a:prstGeom>
        </p:spPr>
      </p:pic>
      <p:cxnSp>
        <p:nvCxnSpPr>
          <p:cNvPr id="18" name="Straight Connector 17"/>
          <p:cNvCxnSpPr/>
          <p:nvPr/>
        </p:nvCxnSpPr>
        <p:spPr>
          <a:xfrm>
            <a:off x="6046573" y="1199637"/>
            <a:ext cx="16476" cy="51503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128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8598" y="3030496"/>
            <a:ext cx="1335302" cy="1780401"/>
          </a:xfrm>
          <a:prstGeom prst="rect">
            <a:avLst/>
          </a:prstGeom>
        </p:spPr>
      </p:pic>
      <p:pic>
        <p:nvPicPr>
          <p:cNvPr id="14" name="Image 2" descr="IMG_2094.jp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839" t="16155" b="27809"/>
          <a:stretch/>
        </p:blipFill>
        <p:spPr>
          <a:xfrm>
            <a:off x="8564092" y="995705"/>
            <a:ext cx="2614654" cy="2028824"/>
          </a:xfrm>
          <a:prstGeom prst="rect">
            <a:avLst/>
          </a:prstGeom>
        </p:spPr>
      </p:pic>
      <p:pic>
        <p:nvPicPr>
          <p:cNvPr id="15" name="Image 5" descr="DSC_2210.jp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65"/>
          <a:stretch/>
        </p:blipFill>
        <p:spPr>
          <a:xfrm>
            <a:off x="6232369" y="989738"/>
            <a:ext cx="2331723" cy="2033548"/>
          </a:xfrm>
          <a:prstGeom prst="rect">
            <a:avLst/>
          </a:prstGeom>
        </p:spPr>
      </p:pic>
      <p:pic>
        <p:nvPicPr>
          <p:cNvPr id="16" name="Image 5" descr="DSC_2532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56" r="4622"/>
          <a:stretch/>
        </p:blipFill>
        <p:spPr>
          <a:xfrm>
            <a:off x="6232369" y="3030496"/>
            <a:ext cx="2374822" cy="1780401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407368" y="44624"/>
            <a:ext cx="11399513" cy="543065"/>
          </a:xfrm>
          <a:prstGeom prst="rect">
            <a:avLst/>
          </a:prstGeom>
        </p:spPr>
        <p:txBody>
          <a:bodyPr vert="horz" lIns="91440" tIns="45720" rIns="91440" bIns="45720" rtlCol="0" anchor="b">
            <a:normAutofit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88900" marR="0" lvl="0" defTabSz="1072892" fontAlgn="auto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tabLst/>
              <a:defRPr/>
            </a:pPr>
            <a:r>
              <a:rPr lang="en-US" sz="3300" b="1" dirty="0">
                <a:solidFill>
                  <a:srgbClr val="007DC3"/>
                </a:solidFill>
                <a:latin typeface="+mn-lt"/>
              </a:rPr>
              <a:t>Injector test </a:t>
            </a:r>
            <a:r>
              <a:rPr lang="en-US" sz="3300" b="1" dirty="0" smtClean="0">
                <a:solidFill>
                  <a:srgbClr val="007DC3"/>
                </a:solidFill>
                <a:latin typeface="+mn-lt"/>
              </a:rPr>
              <a:t>stand established at CRC (LLN-BE) </a:t>
            </a:r>
            <a:endParaRPr lang="en-US" sz="3300" b="1" dirty="0">
              <a:solidFill>
                <a:srgbClr val="007DC3"/>
              </a:solidFill>
              <a:latin typeface="+mn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8948" y="969375"/>
            <a:ext cx="5721721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K CEN operates an injector test-stand consisting of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R ion sour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BT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solenoid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ison scanner, Faraday cup,</a:t>
            </a:r>
            <a:r>
              <a:rPr kumimoji="0" lang="en-150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ast beam chopp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FQ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 rod design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ed by up to 160 kW RF solid state amplifier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76.1 MHz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quarter wave </a:t>
            </a:r>
            <a:r>
              <a:rPr kumimoji="0" lang="en-U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bunching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F-cavitie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fall, a emittance meter and a bunch shape monitor will be added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à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beam current/cycling achiev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à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FQ commissione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&gt;95%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miss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à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am energy confirmed after the RFQ by </a:t>
            </a:r>
            <a:r>
              <a:rPr kumimoji="0" lang="en-US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F</a:t>
            </a: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Picture 10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2369" y="4818107"/>
            <a:ext cx="2374822" cy="1665071"/>
          </a:xfrm>
          <a:prstGeom prst="rect">
            <a:avLst/>
          </a:prstGeom>
        </p:spPr>
      </p:pic>
      <p:pic>
        <p:nvPicPr>
          <p:cNvPr id="12" name="Picture 1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2490" y="4810897"/>
            <a:ext cx="2556255" cy="1672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254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0" y="-27384"/>
            <a:ext cx="12192000" cy="6885384"/>
          </a:xfrm>
          <a:prstGeom prst="rect">
            <a:avLst/>
          </a:prstGeom>
          <a:solidFill>
            <a:srgbClr val="EAEFF5">
              <a:alpha val="3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sp>
        <p:nvSpPr>
          <p:cNvPr id="11" name="TextBox 10"/>
          <p:cNvSpPr txBox="1"/>
          <p:nvPr/>
        </p:nvSpPr>
        <p:spPr>
          <a:xfrm>
            <a:off x="266651" y="27914"/>
            <a:ext cx="11658698" cy="985497"/>
          </a:xfrm>
          <a:prstGeom prst="rect">
            <a:avLst/>
          </a:prstGeom>
          <a:solidFill>
            <a:srgbClr val="203864">
              <a:alpha val="56078"/>
            </a:srgbClr>
          </a:solidFill>
        </p:spPr>
        <p:txBody>
          <a:bodyPr wrap="square" lIns="107287" tIns="53643" rIns="107287" bIns="53643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800" b="1" cap="small" dirty="0">
                <a:solidFill>
                  <a:schemeClr val="bg1"/>
                </a:solidFill>
              </a:rPr>
              <a:t>MYRRHA </a:t>
            </a:r>
            <a:r>
              <a:rPr lang="en-US" sz="2800" b="1" cap="small" dirty="0" smtClean="0">
                <a:solidFill>
                  <a:schemeClr val="bg1"/>
                </a:solidFill>
              </a:rPr>
              <a:t>Reactor</a:t>
            </a:r>
            <a:r>
              <a:rPr lang="en-US" sz="2400" b="1" i="1" cap="small" dirty="0" smtClean="0">
                <a:solidFill>
                  <a:schemeClr val="bg1"/>
                </a:solidFill>
              </a:rPr>
              <a:t>: </a:t>
            </a:r>
            <a:r>
              <a:rPr lang="en-US" sz="2600" b="1" cap="small" dirty="0">
                <a:solidFill>
                  <a:schemeClr val="bg1"/>
                </a:solidFill>
              </a:rPr>
              <a:t>i</a:t>
            </a:r>
            <a:r>
              <a:rPr lang="en-US" sz="2600" b="1" cap="small" dirty="0" smtClean="0">
                <a:solidFill>
                  <a:schemeClr val="bg1"/>
                </a:solidFill>
              </a:rPr>
              <a:t>mplementation in 2036</a:t>
            </a:r>
            <a:endParaRPr lang="en-US" sz="2600" b="1" i="1" cap="small" dirty="0" smtClean="0">
              <a:solidFill>
                <a:schemeClr val="bg1"/>
              </a:solidFill>
            </a:endParaRPr>
          </a:p>
          <a:p>
            <a:pPr algn="ctr">
              <a:spcBef>
                <a:spcPts val="600"/>
              </a:spcBef>
            </a:pPr>
            <a:r>
              <a:rPr lang="en-US" sz="2400" b="1" cap="small" dirty="0" smtClean="0">
                <a:solidFill>
                  <a:schemeClr val="bg1"/>
                </a:solidFill>
              </a:rPr>
              <a:t> </a:t>
            </a:r>
            <a:r>
              <a:rPr lang="en-US" sz="2000" cap="small" dirty="0" smtClean="0">
                <a:solidFill>
                  <a:schemeClr val="bg1"/>
                </a:solidFill>
              </a:rPr>
              <a:t>Objectives = transmutation + </a:t>
            </a:r>
            <a:r>
              <a:rPr lang="en-US" sz="2000" cap="small" dirty="0">
                <a:solidFill>
                  <a:schemeClr val="bg1"/>
                </a:solidFill>
              </a:rPr>
              <a:t>r</a:t>
            </a:r>
            <a:r>
              <a:rPr lang="en-US" sz="2000" cap="small" dirty="0" smtClean="0">
                <a:solidFill>
                  <a:schemeClr val="bg1"/>
                </a:solidFill>
              </a:rPr>
              <a:t>adioisotopes + fusion material </a:t>
            </a:r>
            <a:r>
              <a:rPr lang="en-US" sz="2000" cap="small" dirty="0" err="1" smtClean="0">
                <a:solidFill>
                  <a:schemeClr val="bg1"/>
                </a:solidFill>
              </a:rPr>
              <a:t>r&amp;d</a:t>
            </a:r>
            <a:r>
              <a:rPr lang="en-US" sz="2000" cap="small" dirty="0" smtClean="0">
                <a:solidFill>
                  <a:schemeClr val="bg1"/>
                </a:solidFill>
              </a:rPr>
              <a:t> + Fission technology platform</a:t>
            </a:r>
            <a:endParaRPr lang="en-US" sz="2000" cap="small" dirty="0">
              <a:solidFill>
                <a:schemeClr val="bg1"/>
              </a:solidFill>
              <a:latin typeface="Segoe UI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74395" y="2170816"/>
            <a:ext cx="11643210" cy="3914593"/>
            <a:chOff x="285438" y="2170816"/>
            <a:chExt cx="11643210" cy="3914593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69370" y="2170816"/>
              <a:ext cx="6959278" cy="3914593"/>
            </a:xfrm>
            <a:prstGeom prst="rect">
              <a:avLst/>
            </a:prstGeom>
            <a:ln w="38100">
              <a:solidFill>
                <a:schemeClr val="accent1">
                  <a:lumMod val="75000"/>
                </a:schemeClr>
              </a:solidFill>
            </a:ln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85438" y="2879940"/>
              <a:ext cx="4560506" cy="2565284"/>
            </a:xfrm>
            <a:prstGeom prst="rect">
              <a:avLst/>
            </a:prstGeom>
            <a:noFill/>
            <a:ln w="38100">
              <a:solidFill>
                <a:schemeClr val="accent1">
                  <a:lumMod val="75000"/>
                </a:schemeClr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437756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-28992" y="0"/>
            <a:ext cx="12220992" cy="6858000"/>
          </a:xfrm>
          <a:prstGeom prst="rect">
            <a:avLst/>
          </a:prstGeom>
          <a:solidFill>
            <a:srgbClr val="D8E9F5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8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737" y="1052736"/>
            <a:ext cx="3882445" cy="2739786"/>
          </a:xfrm>
          <a:prstGeom prst="rect">
            <a:avLst/>
          </a:prstGeom>
          <a:ln w="38100" cap="sq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43179" y="765074"/>
            <a:ext cx="4324631" cy="2877321"/>
          </a:xfrm>
          <a:prstGeom prst="rect">
            <a:avLst/>
          </a:prstGeom>
          <a:ln w="38100" cap="sq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187" y="4135608"/>
            <a:ext cx="4001621" cy="2552758"/>
          </a:xfrm>
          <a:prstGeom prst="rect">
            <a:avLst/>
          </a:prstGeom>
          <a:ln w="38100" cap="sq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153874" y="5453673"/>
            <a:ext cx="2026636" cy="1219116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3577" y="692856"/>
            <a:ext cx="2158945" cy="1440000"/>
          </a:xfrm>
          <a:prstGeom prst="rect">
            <a:avLst/>
          </a:prstGeom>
          <a:ln w="38100" cap="sq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7" name="TextBox 16"/>
          <p:cNvSpPr txBox="1"/>
          <p:nvPr/>
        </p:nvSpPr>
        <p:spPr>
          <a:xfrm>
            <a:off x="492988" y="27914"/>
            <a:ext cx="11235194" cy="539221"/>
          </a:xfrm>
          <a:prstGeom prst="rect">
            <a:avLst/>
          </a:prstGeom>
          <a:solidFill>
            <a:srgbClr val="203864">
              <a:alpha val="80000"/>
            </a:srgbClr>
          </a:solidFill>
        </p:spPr>
        <p:txBody>
          <a:bodyPr wrap="square" lIns="107287" tIns="53643" rIns="107287" bIns="53643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2800" b="1" cap="small" dirty="0" smtClean="0">
                <a:solidFill>
                  <a:schemeClr val="bg1"/>
                </a:solidFill>
              </a:rPr>
              <a:t>MYRRHA reactor Highlights 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12769" y="3840334"/>
            <a:ext cx="2985449" cy="2877321"/>
          </a:xfrm>
          <a:prstGeom prst="rect">
            <a:avLst/>
          </a:prstGeom>
          <a:ln w="38100" cap="sq">
            <a:solidFill>
              <a:schemeClr val="accent1">
                <a:lumMod val="75000"/>
              </a:schemeClr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74739" y="2289178"/>
            <a:ext cx="4691006" cy="313032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28575">
            <a:solidFill>
              <a:schemeClr val="accent1">
                <a:lumMod val="75000"/>
              </a:schemeClr>
            </a:solidFill>
          </a:ln>
          <a:effectLst/>
        </p:spPr>
      </p:pic>
    </p:spTree>
    <p:extLst>
      <p:ext uri="{BB962C8B-B14F-4D97-AF65-F5344CB8AC3E}">
        <p14:creationId xmlns:p14="http://schemas.microsoft.com/office/powerpoint/2010/main" val="5888382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YRRHA reactor primary design Rev. 1.8, frozen end 2020</a:t>
            </a:r>
          </a:p>
        </p:txBody>
      </p:sp>
      <p:pic>
        <p:nvPicPr>
          <p:cNvPr id="6" name="table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04569" y="3963275"/>
            <a:ext cx="5116257" cy="1858740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/>
        </p:nvSpPr>
        <p:spPr>
          <a:xfrm>
            <a:off x="1591000" y="1556792"/>
            <a:ext cx="6143183" cy="2652980"/>
          </a:xfrm>
          <a:prstGeom prst="rect">
            <a:avLst/>
          </a:prstGeom>
        </p:spPr>
        <p:txBody>
          <a:bodyPr vert="horz" lIns="74295" tIns="37148" rIns="74295" bIns="37148" rtlCol="0">
            <a:normAutofit/>
          </a:bodyPr>
          <a:lstStyle>
            <a:lvl1pPr marL="355600" indent="-2667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2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6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4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573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12900" indent="-2667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50000"/>
                </a:schemeClr>
              </a:buClr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>
                <a:solidFill>
                  <a:srgbClr val="000000"/>
                </a:solidFill>
                <a:latin typeface="Segoe UI"/>
              </a:rPr>
              <a:t>Integrated Pool-type concept with LBE coolant</a:t>
            </a: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>
                <a:solidFill>
                  <a:srgbClr val="000000"/>
                </a:solidFill>
                <a:latin typeface="Segoe UI"/>
              </a:rPr>
              <a:t>Fuel assemblies: hexagonal bundles of cylindrical wire-spaced fuel pins (</a:t>
            </a:r>
            <a:r>
              <a:rPr lang="en-US" sz="1463" dirty="0" err="1">
                <a:solidFill>
                  <a:srgbClr val="000000"/>
                </a:solidFill>
                <a:latin typeface="Segoe UI"/>
              </a:rPr>
              <a:t>MOX</a:t>
            </a:r>
            <a:r>
              <a:rPr lang="en-US" sz="1463" dirty="0">
                <a:solidFill>
                  <a:srgbClr val="000000"/>
                </a:solidFill>
                <a:latin typeface="Segoe UI"/>
              </a:rPr>
              <a:t> fuel </a:t>
            </a:r>
            <a:r>
              <a:rPr lang="en-US" sz="1463" dirty="0" err="1">
                <a:solidFill>
                  <a:srgbClr val="000000"/>
                </a:solidFill>
                <a:latin typeface="Segoe UI"/>
              </a:rPr>
              <a:t>30wt</a:t>
            </a:r>
            <a:r>
              <a:rPr lang="en-US" sz="1463" dirty="0">
                <a:solidFill>
                  <a:srgbClr val="000000"/>
                </a:solidFill>
                <a:latin typeface="Segoe UI"/>
              </a:rPr>
              <a:t>.% Pu)</a:t>
            </a: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 err="1">
                <a:solidFill>
                  <a:srgbClr val="000000"/>
                </a:solidFill>
                <a:latin typeface="Segoe UI"/>
              </a:rPr>
              <a:t>4x</a:t>
            </a:r>
            <a:r>
              <a:rPr lang="en-US" sz="1463" dirty="0">
                <a:solidFill>
                  <a:srgbClr val="000000"/>
                </a:solidFill>
                <a:latin typeface="Segoe UI"/>
              </a:rPr>
              <a:t> heat exchangers: double-walled with leak detection; water/steam on secondary side</a:t>
            </a: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 err="1">
                <a:solidFill>
                  <a:srgbClr val="000000"/>
                </a:solidFill>
                <a:latin typeface="Segoe UI"/>
              </a:rPr>
              <a:t>2x</a:t>
            </a:r>
            <a:r>
              <a:rPr lang="en-US" sz="1463" dirty="0">
                <a:solidFill>
                  <a:srgbClr val="000000"/>
                </a:solidFill>
                <a:latin typeface="Segoe UI"/>
              </a:rPr>
              <a:t> primary pumps: vertical shaft mixed-flow design</a:t>
            </a: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>
                <a:solidFill>
                  <a:srgbClr val="000000"/>
                </a:solidFill>
                <a:latin typeface="Segoe UI"/>
              </a:rPr>
              <a:t>Bottom core loading: single in-vessel fuel handling machine (</a:t>
            </a:r>
            <a:r>
              <a:rPr lang="en-US" sz="1463" dirty="0" err="1">
                <a:solidFill>
                  <a:srgbClr val="000000"/>
                </a:solidFill>
                <a:latin typeface="Segoe UI"/>
              </a:rPr>
              <a:t>IVFHM</a:t>
            </a:r>
            <a:r>
              <a:rPr lang="en-US" sz="1463" dirty="0">
                <a:solidFill>
                  <a:srgbClr val="000000"/>
                </a:solidFill>
                <a:latin typeface="Segoe UI"/>
              </a:rPr>
              <a:t>)</a:t>
            </a:r>
          </a:p>
          <a:p>
            <a:pPr marL="288925" indent="-216694" defTabSz="742950">
              <a:spcBef>
                <a:spcPts val="813"/>
              </a:spcBef>
              <a:buClr>
                <a:srgbClr val="73AEDB"/>
              </a:buClr>
            </a:pPr>
            <a:r>
              <a:rPr lang="en-US" sz="1463" dirty="0">
                <a:solidFill>
                  <a:srgbClr val="000000"/>
                </a:solidFill>
                <a:latin typeface="Segoe UI"/>
              </a:rPr>
              <a:t>Safety vessel integrated into the primary vessel</a:t>
            </a:r>
          </a:p>
        </p:txBody>
      </p:sp>
      <p:pic>
        <p:nvPicPr>
          <p:cNvPr id="8" name="Picture 7" descr="image001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7F9FA"/>
              </a:clrFrom>
              <a:clrTo>
                <a:srgbClr val="F7F9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00156" y="1549719"/>
            <a:ext cx="2970982" cy="4177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07077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YRRHA Core design for multipurpose R&amp;D : Subcritical core layout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2135560" y="1052737"/>
            <a:ext cx="8064896" cy="5328591"/>
            <a:chOff x="2351584" y="1439780"/>
            <a:chExt cx="7390473" cy="4738881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7364" y="2528962"/>
              <a:ext cx="2340000" cy="2281693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45522" y="1673805"/>
              <a:ext cx="2632500" cy="131625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87859" y="1695524"/>
              <a:ext cx="2340000" cy="1378929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44117" y="4362974"/>
              <a:ext cx="2047500" cy="1384556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109557" y="4381895"/>
              <a:ext cx="2632500" cy="1391254"/>
            </a:xfrm>
            <a:prstGeom prst="rect">
              <a:avLst/>
            </a:prstGeom>
          </p:spPr>
        </p:pic>
        <p:sp>
          <p:nvSpPr>
            <p:cNvPr id="17" name="TextBox 16"/>
            <p:cNvSpPr txBox="1"/>
            <p:nvPr/>
          </p:nvSpPr>
          <p:spPr>
            <a:xfrm>
              <a:off x="7564184" y="1439780"/>
              <a:ext cx="1866686" cy="2674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138" b="1" dirty="0">
                  <a:solidFill>
                    <a:srgbClr val="000000"/>
                  </a:solidFill>
                  <a:latin typeface="Segoe UI"/>
                </a:rPr>
                <a:t>fuel assembly (78)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2864059" y="1450497"/>
              <a:ext cx="1342889" cy="2674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138" b="1" dirty="0">
                  <a:solidFill>
                    <a:srgbClr val="000000"/>
                  </a:solidFill>
                  <a:latin typeface="Segoe UI"/>
                </a:rPr>
                <a:t>control rods (3)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7281096" y="4131825"/>
              <a:ext cx="1342889" cy="2674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138" b="1" dirty="0">
                  <a:solidFill>
                    <a:srgbClr val="000000"/>
                  </a:solidFill>
                  <a:latin typeface="Segoe UI"/>
                </a:rPr>
                <a:t>experiments (6)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789454" y="4113842"/>
              <a:ext cx="1515049" cy="26744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1138" b="1" dirty="0">
                  <a:solidFill>
                    <a:srgbClr val="000000"/>
                  </a:solidFill>
                  <a:latin typeface="Segoe UI"/>
                </a:rPr>
                <a:t>thermal islands (3)</a:t>
              </a:r>
            </a:p>
          </p:txBody>
        </p:sp>
        <p:sp>
          <p:nvSpPr>
            <p:cNvPr id="21" name="Left-Right Arrow 20"/>
            <p:cNvSpPr/>
            <p:nvPr/>
          </p:nvSpPr>
          <p:spPr>
            <a:xfrm rot="19800000">
              <a:off x="6429504" y="3103207"/>
              <a:ext cx="891278" cy="207725"/>
            </a:xfrm>
            <a:prstGeom prst="leftRightArrow">
              <a:avLst/>
            </a:prstGeom>
            <a:solidFill>
              <a:schemeClr val="bg2">
                <a:lumMod val="95000"/>
              </a:schemeClr>
            </a:solidFill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706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22" name="Left-Right Arrow 21"/>
            <p:cNvSpPr/>
            <p:nvPr/>
          </p:nvSpPr>
          <p:spPr>
            <a:xfrm rot="1980000">
              <a:off x="6341820" y="4009981"/>
              <a:ext cx="891278" cy="207725"/>
            </a:xfrm>
            <a:prstGeom prst="leftRightArrow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706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14" name="Left-Right Arrow 13"/>
            <p:cNvSpPr/>
            <p:nvPr/>
          </p:nvSpPr>
          <p:spPr>
            <a:xfrm rot="19800000">
              <a:off x="4579217" y="4152998"/>
              <a:ext cx="891278" cy="207725"/>
            </a:xfrm>
            <a:prstGeom prst="leftRightArrow">
              <a:avLst/>
            </a:prstGeom>
            <a:solidFill>
              <a:srgbClr val="F583A4"/>
            </a:solidFill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706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23" name="Left-Right Arrow 22"/>
            <p:cNvSpPr/>
            <p:nvPr/>
          </p:nvSpPr>
          <p:spPr>
            <a:xfrm rot="1980000">
              <a:off x="4604708" y="2954260"/>
              <a:ext cx="891278" cy="207725"/>
            </a:xfrm>
            <a:prstGeom prst="leftRightArrow">
              <a:avLst/>
            </a:prstGeom>
            <a:solidFill>
              <a:srgbClr val="FFFF66"/>
            </a:solidFill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 sz="1706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4691618" y="1620484"/>
              <a:ext cx="2515747" cy="44255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78606" indent="-278606">
                <a:buFont typeface="Arial" panose="020B0604020202020204" pitchFamily="34" charset="0"/>
                <a:buChar char="•"/>
                <a:defRPr/>
              </a:pPr>
              <a:r>
                <a:rPr lang="en-US" sz="1138" b="1" dirty="0">
                  <a:solidFill>
                    <a:srgbClr val="000000"/>
                  </a:solidFill>
                  <a:latin typeface="Segoe UI"/>
                </a:rPr>
                <a:t>reflector (42)</a:t>
              </a:r>
            </a:p>
            <a:p>
              <a:pPr marL="278606" indent="-278606">
                <a:buFont typeface="Arial" panose="020B0604020202020204" pitchFamily="34" charset="0"/>
                <a:buChar char="•"/>
                <a:defRPr/>
              </a:pPr>
              <a:r>
                <a:rPr lang="en-US" sz="1138" b="1" dirty="0">
                  <a:solidFill>
                    <a:srgbClr val="000000"/>
                  </a:solidFill>
                  <a:latin typeface="Segoe UI"/>
                </a:rPr>
                <a:t>beam tube + spallation target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2351584" y="5886273"/>
              <a:ext cx="1837106" cy="29238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300" dirty="0">
                  <a:solidFill>
                    <a:srgbClr val="0070C0"/>
                  </a:solidFill>
                </a:rPr>
                <a:t>Source: L. Fiorito, 2019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22476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77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ounded Rectangle 81"/>
          <p:cNvSpPr/>
          <p:nvPr/>
        </p:nvSpPr>
        <p:spPr bwMode="auto">
          <a:xfrm>
            <a:off x="3033129" y="1875581"/>
            <a:ext cx="877587" cy="1744473"/>
          </a:xfrm>
          <a:prstGeom prst="roundRect">
            <a:avLst/>
          </a:prstGeom>
          <a:solidFill>
            <a:srgbClr val="96D9FF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83" name="Rounded Rectangle 82"/>
          <p:cNvSpPr/>
          <p:nvPr/>
        </p:nvSpPr>
        <p:spPr bwMode="auto">
          <a:xfrm>
            <a:off x="7225232" y="2273348"/>
            <a:ext cx="3740448" cy="1223629"/>
          </a:xfrm>
          <a:prstGeom prst="roundRect">
            <a:avLst/>
          </a:prstGeom>
          <a:solidFill>
            <a:schemeClr val="bg2">
              <a:lumMod val="40000"/>
              <a:lumOff val="60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84" name="Rounded Rectangle 40"/>
          <p:cNvSpPr>
            <a:spLocks noChangeArrowheads="1"/>
          </p:cNvSpPr>
          <p:nvPr/>
        </p:nvSpPr>
        <p:spPr bwMode="auto">
          <a:xfrm>
            <a:off x="8101036" y="2330427"/>
            <a:ext cx="2773675" cy="1125525"/>
          </a:xfrm>
          <a:prstGeom prst="roundRect">
            <a:avLst>
              <a:gd name="adj" fmla="val 6778"/>
            </a:avLst>
          </a:prstGeom>
          <a:solidFill>
            <a:srgbClr val="3E8FC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schemeClr val="accent1">
                <a:alpha val="40000"/>
              </a:scheme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4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+mn-cs"/>
            </a:endParaRPr>
          </a:p>
        </p:txBody>
      </p:sp>
      <p:sp>
        <p:nvSpPr>
          <p:cNvPr id="85" name="Oval 84"/>
          <p:cNvSpPr/>
          <p:nvPr/>
        </p:nvSpPr>
        <p:spPr bwMode="auto">
          <a:xfrm>
            <a:off x="3088425" y="1907689"/>
            <a:ext cx="768780" cy="740241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5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U</a:t>
            </a:r>
            <a:r>
              <a:rPr kumimoji="0" lang="fr-BE" sz="15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235</a:t>
            </a:r>
          </a:p>
        </p:txBody>
      </p:sp>
      <p:sp>
        <p:nvSpPr>
          <p:cNvPr id="86" name="Oval 6"/>
          <p:cNvSpPr>
            <a:spLocks noChangeArrowheads="1"/>
          </p:cNvSpPr>
          <p:nvPr/>
        </p:nvSpPr>
        <p:spPr bwMode="auto">
          <a:xfrm>
            <a:off x="2244295" y="2581932"/>
            <a:ext cx="269340" cy="271125"/>
          </a:xfrm>
          <a:prstGeom prst="ellipse">
            <a:avLst/>
          </a:prstGeom>
          <a:solidFill>
            <a:srgbClr val="FFFF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7" name="Oval 86"/>
          <p:cNvSpPr/>
          <p:nvPr/>
        </p:nvSpPr>
        <p:spPr bwMode="auto">
          <a:xfrm>
            <a:off x="7266258" y="2583716"/>
            <a:ext cx="806239" cy="795537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Pu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6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89" name="Right Arrow 88"/>
          <p:cNvSpPr/>
          <p:nvPr/>
        </p:nvSpPr>
        <p:spPr bwMode="auto">
          <a:xfrm>
            <a:off x="2583200" y="2626525"/>
            <a:ext cx="346040" cy="197993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90" name="Right Arrow 89"/>
          <p:cNvSpPr/>
          <p:nvPr/>
        </p:nvSpPr>
        <p:spPr bwMode="auto">
          <a:xfrm>
            <a:off x="4608527" y="2639011"/>
            <a:ext cx="367445" cy="117725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91" name="Oval 35"/>
          <p:cNvSpPr>
            <a:spLocks noChangeArrowheads="1"/>
          </p:cNvSpPr>
          <p:nvPr/>
        </p:nvSpPr>
        <p:spPr bwMode="auto">
          <a:xfrm>
            <a:off x="8149198" y="2564095"/>
            <a:ext cx="857967" cy="834779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p</a:t>
            </a:r>
            <a:endParaRPr kumimoji="0" lang="fr-BE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2" name="Oval 36"/>
          <p:cNvSpPr>
            <a:spLocks noChangeArrowheads="1"/>
          </p:cNvSpPr>
          <p:nvPr/>
        </p:nvSpPr>
        <p:spPr bwMode="auto">
          <a:xfrm>
            <a:off x="9051755" y="2564095"/>
            <a:ext cx="840131" cy="834779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m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600" b="1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3" name="Oval 37"/>
          <p:cNvSpPr>
            <a:spLocks noChangeArrowheads="1"/>
          </p:cNvSpPr>
          <p:nvPr/>
        </p:nvSpPr>
        <p:spPr bwMode="auto">
          <a:xfrm>
            <a:off x="9938261" y="2562308"/>
            <a:ext cx="845480" cy="838347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m</a:t>
            </a:r>
          </a:p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BE" sz="1600" b="1" i="0" u="none" strike="noStrike" kern="1200" cap="none" spc="0" normalizeH="0" baseline="30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4" name="TextBox 42"/>
          <p:cNvSpPr txBox="1">
            <a:spLocks noChangeArrowheads="1"/>
          </p:cNvSpPr>
          <p:nvPr/>
        </p:nvSpPr>
        <p:spPr bwMode="auto">
          <a:xfrm>
            <a:off x="7198479" y="2294753"/>
            <a:ext cx="98937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Actinides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95" name="TextBox 43"/>
          <p:cNvSpPr txBox="1">
            <a:spLocks noChangeArrowheads="1"/>
          </p:cNvSpPr>
          <p:nvPr/>
        </p:nvSpPr>
        <p:spPr bwMode="auto">
          <a:xfrm>
            <a:off x="8713753" y="2276916"/>
            <a:ext cx="151971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Minor Actinides</a:t>
            </a:r>
          </a:p>
        </p:txBody>
      </p:sp>
      <p:sp>
        <p:nvSpPr>
          <p:cNvPr id="96" name="TextBox 30"/>
          <p:cNvSpPr txBox="1">
            <a:spLocks noChangeArrowheads="1"/>
          </p:cNvSpPr>
          <p:nvPr/>
        </p:nvSpPr>
        <p:spPr bwMode="auto">
          <a:xfrm>
            <a:off x="1960685" y="2819164"/>
            <a:ext cx="82942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0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Neutron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97" name="TextBox 35"/>
          <p:cNvSpPr txBox="1">
            <a:spLocks noChangeArrowheads="1"/>
          </p:cNvSpPr>
          <p:nvPr/>
        </p:nvSpPr>
        <p:spPr bwMode="auto">
          <a:xfrm>
            <a:off x="3056317" y="2569445"/>
            <a:ext cx="97925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0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Uranium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srgbClr val="006666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  <p:sp>
        <p:nvSpPr>
          <p:cNvPr id="98" name="TextBox 36"/>
          <p:cNvSpPr txBox="1">
            <a:spLocks noChangeArrowheads="1"/>
          </p:cNvSpPr>
          <p:nvPr/>
        </p:nvSpPr>
        <p:spPr bwMode="auto">
          <a:xfrm>
            <a:off x="3841153" y="2567660"/>
            <a:ext cx="88828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Fission</a:t>
            </a:r>
          </a:p>
        </p:txBody>
      </p:sp>
      <p:sp>
        <p:nvSpPr>
          <p:cNvPr id="99" name="TextBox 33"/>
          <p:cNvSpPr txBox="1">
            <a:spLocks noChangeArrowheads="1"/>
          </p:cNvSpPr>
          <p:nvPr/>
        </p:nvSpPr>
        <p:spPr bwMode="auto">
          <a:xfrm>
            <a:off x="3195450" y="1544621"/>
            <a:ext cx="59754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bg2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bg2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bg2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18FFD"/>
              </a:buClr>
              <a:buSzPct val="100000"/>
              <a:buFont typeface="Wingdings" pitchFamily="2" charset="2"/>
              <a:defRPr sz="1400">
                <a:solidFill>
                  <a:schemeClr val="bg2"/>
                </a:solidFill>
                <a:latin typeface="Arial" charset="0"/>
              </a:defRPr>
            </a:lvl9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4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t>Fuel</a:t>
            </a:r>
          </a:p>
        </p:txBody>
      </p:sp>
      <p:sp>
        <p:nvSpPr>
          <p:cNvPr id="101" name="Oval 100"/>
          <p:cNvSpPr/>
          <p:nvPr/>
        </p:nvSpPr>
        <p:spPr bwMode="auto">
          <a:xfrm>
            <a:off x="3099127" y="2828085"/>
            <a:ext cx="768780" cy="740241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U</a:t>
            </a:r>
            <a:r>
              <a:rPr kumimoji="0" lang="fr-BE" sz="15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238</a:t>
            </a:r>
          </a:p>
        </p:txBody>
      </p:sp>
      <p:sp>
        <p:nvSpPr>
          <p:cNvPr id="102" name="Oval 44"/>
          <p:cNvSpPr>
            <a:spLocks noChangeArrowheads="1"/>
          </p:cNvSpPr>
          <p:nvPr/>
        </p:nvSpPr>
        <p:spPr bwMode="auto">
          <a:xfrm>
            <a:off x="5225691" y="2539123"/>
            <a:ext cx="271124" cy="271125"/>
          </a:xfrm>
          <a:prstGeom prst="ellipse">
            <a:avLst/>
          </a:prstGeom>
          <a:solidFill>
            <a:srgbClr val="FFFF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3" name="Oval 45"/>
          <p:cNvSpPr>
            <a:spLocks noChangeArrowheads="1"/>
          </p:cNvSpPr>
          <p:nvPr/>
        </p:nvSpPr>
        <p:spPr bwMode="auto">
          <a:xfrm>
            <a:off x="5202503" y="2144920"/>
            <a:ext cx="269341" cy="271125"/>
          </a:xfrm>
          <a:prstGeom prst="ellipse">
            <a:avLst/>
          </a:prstGeom>
          <a:solidFill>
            <a:srgbClr val="FFFF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4" name="Oval 46"/>
          <p:cNvSpPr>
            <a:spLocks noChangeArrowheads="1"/>
          </p:cNvSpPr>
          <p:nvPr/>
        </p:nvSpPr>
        <p:spPr bwMode="auto">
          <a:xfrm>
            <a:off x="5227475" y="2847704"/>
            <a:ext cx="269341" cy="271125"/>
          </a:xfrm>
          <a:prstGeom prst="ellipse">
            <a:avLst/>
          </a:prstGeom>
          <a:solidFill>
            <a:srgbClr val="FFFF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</a:t>
            </a:r>
            <a:endParaRPr kumimoji="0" lang="en-US" sz="1200" b="1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5" name="Oval 104"/>
          <p:cNvSpPr/>
          <p:nvPr/>
        </p:nvSpPr>
        <p:spPr bwMode="auto">
          <a:xfrm>
            <a:off x="5896367" y="1615158"/>
            <a:ext cx="768780" cy="740241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U</a:t>
            </a:r>
            <a:r>
              <a:rPr kumimoji="0" lang="fr-BE" sz="15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235</a:t>
            </a:r>
          </a:p>
        </p:txBody>
      </p:sp>
      <p:sp>
        <p:nvSpPr>
          <p:cNvPr id="106" name="Oval 105"/>
          <p:cNvSpPr/>
          <p:nvPr/>
        </p:nvSpPr>
        <p:spPr bwMode="auto">
          <a:xfrm>
            <a:off x="5933826" y="2630089"/>
            <a:ext cx="768781" cy="740243"/>
          </a:xfrm>
          <a:prstGeom prst="ellipse">
            <a:avLst/>
          </a:prstGeom>
          <a:solidFill>
            <a:srgbClr val="00B050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5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U</a:t>
            </a:r>
            <a:r>
              <a:rPr kumimoji="0" lang="fr-BE" sz="15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ＭＳ Ｐゴシック" pitchFamily="-109" charset="-128"/>
                <a:cs typeface="+mn-cs"/>
              </a:rPr>
              <a:t>238</a:t>
            </a:r>
          </a:p>
        </p:txBody>
      </p:sp>
      <p:sp>
        <p:nvSpPr>
          <p:cNvPr id="107" name="Right Arrow 106"/>
          <p:cNvSpPr/>
          <p:nvPr/>
        </p:nvSpPr>
        <p:spPr bwMode="auto">
          <a:xfrm rot="18454178">
            <a:off x="4539854" y="2215378"/>
            <a:ext cx="367445" cy="119509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08" name="Right Arrow 107"/>
          <p:cNvSpPr/>
          <p:nvPr/>
        </p:nvSpPr>
        <p:spPr bwMode="auto">
          <a:xfrm rot="20154555">
            <a:off x="4612095" y="2392857"/>
            <a:ext cx="365661" cy="119508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09" name="Right Arrow 108"/>
          <p:cNvSpPr/>
          <p:nvPr/>
        </p:nvSpPr>
        <p:spPr bwMode="auto">
          <a:xfrm rot="530987">
            <a:off x="4608527" y="2812030"/>
            <a:ext cx="367445" cy="117725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0" name="Right Arrow 109"/>
          <p:cNvSpPr/>
          <p:nvPr/>
        </p:nvSpPr>
        <p:spPr bwMode="auto">
          <a:xfrm rot="2618217">
            <a:off x="4519342" y="3002887"/>
            <a:ext cx="367445" cy="119508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1" name="Right Arrow 110"/>
          <p:cNvSpPr/>
          <p:nvPr/>
        </p:nvSpPr>
        <p:spPr bwMode="auto">
          <a:xfrm rot="20830524">
            <a:off x="5511086" y="2132435"/>
            <a:ext cx="367445" cy="119508"/>
          </a:xfrm>
          <a:prstGeom prst="rightArrow">
            <a:avLst/>
          </a:prstGeom>
          <a:solidFill>
            <a:schemeClr val="tx1">
              <a:lumMod val="65000"/>
              <a:lumOff val="3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2" name="Right Arrow 111"/>
          <p:cNvSpPr/>
          <p:nvPr/>
        </p:nvSpPr>
        <p:spPr bwMode="auto">
          <a:xfrm>
            <a:off x="5530707" y="2919052"/>
            <a:ext cx="367445" cy="119509"/>
          </a:xfrm>
          <a:prstGeom prst="rightArrow">
            <a:avLst/>
          </a:prstGeom>
          <a:solidFill>
            <a:schemeClr val="bg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3" name="Right Arrow 112"/>
          <p:cNvSpPr/>
          <p:nvPr/>
        </p:nvSpPr>
        <p:spPr bwMode="auto">
          <a:xfrm>
            <a:off x="6770388" y="2919052"/>
            <a:ext cx="367445" cy="117725"/>
          </a:xfrm>
          <a:prstGeom prst="rightArrow">
            <a:avLst/>
          </a:prstGeom>
          <a:solidFill>
            <a:schemeClr val="bg2">
              <a:lumMod val="75000"/>
            </a:schemeClr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ＭＳ Ｐゴシック" pitchFamily="-109" charset="-128"/>
              <a:cs typeface="+mn-cs"/>
            </a:endParaRPr>
          </a:p>
        </p:txBody>
      </p:sp>
      <p:sp>
        <p:nvSpPr>
          <p:cNvPr id="114" name="Rectangle 58"/>
          <p:cNvSpPr>
            <a:spLocks noChangeArrowheads="1"/>
          </p:cNvSpPr>
          <p:nvPr/>
        </p:nvSpPr>
        <p:spPr bwMode="auto">
          <a:xfrm>
            <a:off x="7258416" y="3061750"/>
            <a:ext cx="855812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Plutonium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5" name="Rectangle 59"/>
          <p:cNvSpPr>
            <a:spLocks noChangeArrowheads="1"/>
          </p:cNvSpPr>
          <p:nvPr/>
        </p:nvSpPr>
        <p:spPr bwMode="auto">
          <a:xfrm>
            <a:off x="8122237" y="3061750"/>
            <a:ext cx="917238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eptunium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6" name="Rectangle 60"/>
          <p:cNvSpPr>
            <a:spLocks noChangeArrowheads="1"/>
          </p:cNvSpPr>
          <p:nvPr/>
        </p:nvSpPr>
        <p:spPr bwMode="auto">
          <a:xfrm>
            <a:off x="9025001" y="3061750"/>
            <a:ext cx="904343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3000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mericium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7" name="Rectangle 61"/>
          <p:cNvSpPr>
            <a:spLocks noChangeArrowheads="1"/>
          </p:cNvSpPr>
          <p:nvPr/>
        </p:nvSpPr>
        <p:spPr bwMode="auto">
          <a:xfrm>
            <a:off x="10050635" y="3061750"/>
            <a:ext cx="676028" cy="256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BE" sz="16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Curium</a:t>
            </a:r>
            <a:endParaRPr kumimoji="0" lang="en-US" sz="1600" b="1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2" name="Footer Placeholder 5"/>
          <p:cNvSpPr txBox="1">
            <a:spLocks/>
          </p:cNvSpPr>
          <p:nvPr/>
        </p:nvSpPr>
        <p:spPr>
          <a:xfrm>
            <a:off x="1571499" y="6355125"/>
            <a:ext cx="8053200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ource: </a:t>
            </a:r>
            <a:r>
              <a:rPr kumimoji="0" lang="en-US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SCK•CEN</a:t>
            </a:r>
            <a:r>
              <a:rPr kumimoji="0" lang="en-US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nl-BE" sz="7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MYRRHA</a:t>
            </a:r>
            <a:r>
              <a:rPr kumimoji="0" lang="nl-BE" sz="700" b="0" i="1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Project Team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ission generates high level radioactive waste</a:t>
            </a:r>
            <a:endParaRPr lang="en-GB" dirty="0"/>
          </a:p>
        </p:txBody>
      </p:sp>
      <p:sp>
        <p:nvSpPr>
          <p:cNvPr id="59" name="Oval 42"/>
          <p:cNvSpPr>
            <a:spLocks noChangeAspect="1"/>
          </p:cNvSpPr>
          <p:nvPr/>
        </p:nvSpPr>
        <p:spPr bwMode="auto">
          <a:xfrm>
            <a:off x="4881942" y="1464720"/>
            <a:ext cx="506575" cy="485171"/>
          </a:xfrm>
          <a:prstGeom prst="ellipse">
            <a:avLst/>
          </a:prstGeom>
          <a:solidFill>
            <a:srgbClr val="FFC0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P</a:t>
            </a:r>
            <a:endParaRPr kumimoji="0" lang="fr-FR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0" name="Oval 42"/>
          <p:cNvSpPr>
            <a:spLocks noChangeAspect="1"/>
          </p:cNvSpPr>
          <p:nvPr/>
        </p:nvSpPr>
        <p:spPr bwMode="auto">
          <a:xfrm>
            <a:off x="4881942" y="3359872"/>
            <a:ext cx="506575" cy="485171"/>
          </a:xfrm>
          <a:prstGeom prst="ellipse">
            <a:avLst/>
          </a:prstGeom>
          <a:solidFill>
            <a:srgbClr val="FFC000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 anchorCtr="0"/>
          <a:lstStyle/>
          <a:p>
            <a:pPr marL="0" marR="0" lvl="0" indent="0" algn="ctr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1200" cap="none" spc="0" normalizeH="0" baseline="3000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P</a:t>
            </a:r>
            <a:endParaRPr kumimoji="0" lang="fr-FR" sz="1400" b="1" i="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029368" y="4625146"/>
            <a:ext cx="65530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fter 4,5 years the spent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nuclear </a:t>
            </a: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uel contains: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879311" marR="0" lvl="1" indent="-342891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94,7% of resources we can recycle (</a:t>
            </a:r>
            <a:r>
              <a:rPr kumimoji="0" lang="en-US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U+Pu</a:t>
            </a: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)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879311" marR="0" lvl="1" indent="-342891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5,1%</a:t>
            </a:r>
            <a:r>
              <a:rPr kumimoji="0" lang="en-US" b="1" i="0" u="none" strike="noStrike" kern="1200" cap="none" spc="0" normalizeH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of nuclear waste with low radiotoxicity (FP’s) </a:t>
            </a:r>
          </a:p>
          <a:p>
            <a:pPr marL="879311" marR="0" lvl="1" indent="-342891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F366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0,2%</a:t>
            </a:r>
            <a:r>
              <a:rPr kumimoji="0" lang="en-US" b="1" i="0" u="none" strike="noStrike" kern="1200" cap="none" spc="0" normalizeH="0" noProof="0" dirty="0" smtClean="0">
                <a:ln>
                  <a:noFill/>
                </a:ln>
                <a:solidFill>
                  <a:srgbClr val="F3663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of high radiotoxicity nuclear waste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98C3E4">
                  <a:lumMod val="75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771292" y="4432990"/>
            <a:ext cx="3448675" cy="1938992"/>
          </a:xfrm>
          <a:prstGeom prst="rect">
            <a:avLst/>
          </a:prstGeom>
          <a:noFill/>
          <a:ln w="25400" cap="rnd">
            <a:solidFill>
              <a:srgbClr val="0070C0"/>
            </a:solidFill>
            <a:round/>
          </a:ln>
        </p:spPr>
        <p:txBody>
          <a:bodyPr wrap="square" rtlCol="0">
            <a:spAutoFit/>
          </a:bodyPr>
          <a:lstStyle/>
          <a:p>
            <a:pPr marL="0" marR="0" lvl="0" indent="0" algn="l" defTabSz="10728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1 ton of 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nuclear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fuel </a:t>
            </a:r>
            <a:r>
              <a:rPr lang="en-US" sz="2000" dirty="0" smtClean="0">
                <a:solidFill>
                  <a:srgbClr val="000000"/>
                </a:solidFill>
                <a:latin typeface="Segoe UI"/>
              </a:rPr>
              <a:t>used</a:t>
            </a: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 4,5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year in </a:t>
            </a: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commercial PWR reactor</a:t>
            </a:r>
            <a:r>
              <a:rPr kumimoji="0" 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 produces electricity for 100,000 Belgian families per year</a:t>
            </a:r>
            <a:r>
              <a:rPr kumimoji="0" lang="en-US" sz="2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 (3500 kWh/y</a:t>
            </a:r>
            <a:r>
              <a:rPr kumimoji="0" lang="en-US" sz="200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 per family)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srgbClr val="98C3E4">
                  <a:lumMod val="75000"/>
                </a:srgbClr>
              </a:solidFill>
              <a:effectLst/>
              <a:uLnTx/>
              <a:uFillTx/>
              <a:latin typeface="Segoe UI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186220" y="5001408"/>
            <a:ext cx="66717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 </a:t>
            </a:r>
            <a:r>
              <a:rPr lang="en-US" sz="2800" b="1" dirty="0" smtClean="0">
                <a:sym typeface="Wingdings" panose="05000000000000000000" pitchFamily="2" charset="2"/>
              </a:rPr>
              <a:t></a:t>
            </a:r>
            <a:endParaRPr lang="en-US" sz="2800" b="1" dirty="0" smtClean="0"/>
          </a:p>
        </p:txBody>
      </p:sp>
    </p:spTree>
    <p:extLst>
      <p:ext uri="{BB962C8B-B14F-4D97-AF65-F5344CB8AC3E}">
        <p14:creationId xmlns:p14="http://schemas.microsoft.com/office/powerpoint/2010/main" val="16556559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4624"/>
            <a:ext cx="12191999" cy="960107"/>
          </a:xfrm>
        </p:spPr>
        <p:txBody>
          <a:bodyPr>
            <a:noAutofit/>
          </a:bodyPr>
          <a:lstStyle/>
          <a:p>
            <a:pPr algn="ctr"/>
            <a:r>
              <a:rPr lang="en-US" dirty="0" smtClean="0">
                <a:solidFill>
                  <a:schemeClr val="accent2"/>
                </a:solidFill>
              </a:rPr>
              <a:t>MYRRHA: World Class Technology complex </a:t>
            </a:r>
            <a:br>
              <a:rPr lang="en-US" dirty="0" smtClean="0">
                <a:solidFill>
                  <a:schemeClr val="accent2"/>
                </a:solidFill>
              </a:rPr>
            </a:br>
            <a:r>
              <a:rPr lang="en-US" dirty="0" smtClean="0">
                <a:solidFill>
                  <a:schemeClr val="accent2"/>
                </a:solidFill>
              </a:rPr>
              <a:t>to serve HLM SMR development</a:t>
            </a:r>
            <a:endParaRPr lang="en-US" dirty="0">
              <a:solidFill>
                <a:schemeClr val="accent2"/>
              </a:solidFill>
            </a:endParaRPr>
          </a:p>
        </p:txBody>
      </p:sp>
      <p:pic>
        <p:nvPicPr>
          <p:cNvPr id="8" name="Picture 7" descr="image001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7F9FA"/>
              </a:clrFrom>
              <a:clrTo>
                <a:srgbClr val="F7F9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506006" y="2173504"/>
            <a:ext cx="2546967" cy="35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>
            <a:spLocks noGrp="1" noChangeArrowheads="1"/>
          </p:cNvSpPr>
          <p:nvPr>
            <p:ph idx="1"/>
          </p:nvPr>
        </p:nvSpPr>
        <p:spPr>
          <a:xfrm>
            <a:off x="3386977" y="1533474"/>
            <a:ext cx="6394232" cy="4934156"/>
          </a:xfrm>
          <a:prstGeom prst="rect">
            <a:avLst/>
          </a:prstGeom>
        </p:spPr>
        <p:txBody>
          <a:bodyPr>
            <a:normAutofit fontScale="70000" lnSpcReduction="2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n-GB" dirty="0" err="1" smtClean="0"/>
              <a:t>LiLiPuTTeR</a:t>
            </a:r>
            <a:r>
              <a:rPr lang="en-GB" dirty="0" smtClean="0"/>
              <a:t>-II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 err="1" smtClean="0"/>
              <a:t>HELIOS</a:t>
            </a:r>
            <a:r>
              <a:rPr lang="nl-BE" dirty="0" smtClean="0"/>
              <a:t> 3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 smtClean="0"/>
              <a:t>HLM Lab</a:t>
            </a:r>
            <a:endParaRPr lang="nl-BE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/>
              <a:t>MEXICO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 err="1"/>
              <a:t>CRAFT</a:t>
            </a:r>
            <a:r>
              <a:rPr lang="nl-BE" dirty="0"/>
              <a:t> 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 err="1" smtClean="0"/>
              <a:t>LIMETS</a:t>
            </a:r>
            <a:r>
              <a:rPr lang="nl-BE" dirty="0" smtClean="0"/>
              <a:t> 3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 err="1" smtClean="0"/>
              <a:t>RHAPTER</a:t>
            </a:r>
            <a:endParaRPr lang="nl-BE" dirty="0" smtClean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/>
              <a:t>COMPLOT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/>
              <a:t>ESCAPE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 err="1" smtClean="0"/>
              <a:t>Ultrasonic</a:t>
            </a:r>
            <a:r>
              <a:rPr lang="nl-BE" dirty="0" smtClean="0"/>
              <a:t> Lab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nl-BE" dirty="0" err="1" smtClean="0"/>
              <a:t>GUINEVERE</a:t>
            </a:r>
            <a:endParaRPr lang="nl-BE" dirty="0" smtClean="0"/>
          </a:p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endParaRPr lang="en-GB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717122" y="1589881"/>
            <a:ext cx="4224546" cy="4620933"/>
            <a:chOff x="4438818" y="1170665"/>
            <a:chExt cx="4224546" cy="4620933"/>
          </a:xfrm>
        </p:grpSpPr>
        <p:grpSp>
          <p:nvGrpSpPr>
            <p:cNvPr id="9" name="Group 8"/>
            <p:cNvGrpSpPr/>
            <p:nvPr/>
          </p:nvGrpSpPr>
          <p:grpSpPr>
            <a:xfrm>
              <a:off x="4438818" y="1170665"/>
              <a:ext cx="3671707" cy="3792738"/>
              <a:chOff x="4438818" y="1170665"/>
              <a:chExt cx="3671707" cy="3792738"/>
            </a:xfrm>
          </p:grpSpPr>
          <p:sp>
            <p:nvSpPr>
              <p:cNvPr id="15" name="Right Brace 14"/>
              <p:cNvSpPr/>
              <p:nvPr/>
            </p:nvSpPr>
            <p:spPr bwMode="auto">
              <a:xfrm>
                <a:off x="4458448" y="1170665"/>
                <a:ext cx="375592" cy="1572535"/>
              </a:xfrm>
              <a:prstGeom prst="rightBrac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n-GB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Right Brace 15"/>
              <p:cNvSpPr/>
              <p:nvPr/>
            </p:nvSpPr>
            <p:spPr bwMode="auto">
              <a:xfrm>
                <a:off x="4458448" y="3792479"/>
                <a:ext cx="375592" cy="1170924"/>
              </a:xfrm>
              <a:prstGeom prst="rightBrac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n-GB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Right Brace 16"/>
              <p:cNvSpPr/>
              <p:nvPr/>
            </p:nvSpPr>
            <p:spPr bwMode="auto">
              <a:xfrm>
                <a:off x="4438818" y="2759102"/>
                <a:ext cx="395222" cy="1012584"/>
              </a:xfrm>
              <a:prstGeom prst="rightBrace">
                <a:avLst>
                  <a:gd name="adj1" fmla="val 0"/>
                  <a:gd name="adj2" fmla="val 50000"/>
                </a:avLst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n-GB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4995015" y="3063540"/>
                <a:ext cx="3115510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l-BE" sz="2000" dirty="0" err="1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Material</a:t>
                </a:r>
                <a:r>
                  <a:rPr lang="nl-BE" sz="2000" dirty="0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 development </a:t>
                </a:r>
                <a:br>
                  <a:rPr lang="nl-BE" sz="2000" dirty="0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</a:br>
                <a:r>
                  <a:rPr lang="nl-BE" sz="2000" dirty="0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&amp; </a:t>
                </a:r>
                <a:r>
                  <a:rPr lang="nl-BE" sz="2000" dirty="0" err="1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t</a:t>
                </a:r>
                <a:r>
                  <a:rPr lang="nl-BE" sz="2000" dirty="0" err="1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esting</a:t>
                </a:r>
                <a:endParaRPr lang="en-GB" sz="20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4938684" y="1641260"/>
                <a:ext cx="3105165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l-BE" sz="2000" dirty="0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Lead-</a:t>
                </a:r>
                <a:r>
                  <a:rPr lang="nl-BE" sz="2000" dirty="0" err="1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Bismuth</a:t>
                </a:r>
                <a:r>
                  <a:rPr lang="nl-BE" sz="2000" dirty="0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 Chemistry &amp; </a:t>
                </a:r>
                <a:r>
                  <a:rPr lang="nl-BE" sz="2000" dirty="0" err="1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C</a:t>
                </a:r>
                <a:r>
                  <a:rPr lang="nl-BE" sz="2000" dirty="0" err="1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onditioning</a:t>
                </a:r>
                <a:endParaRPr lang="en-GB" sz="20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4938684" y="4043596"/>
                <a:ext cx="3128043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l-BE" sz="2000" dirty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Component </a:t>
                </a:r>
                <a:r>
                  <a:rPr lang="nl-BE" sz="2000" dirty="0" err="1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testing</a:t>
                </a:r>
                <a:r>
                  <a:rPr lang="nl-BE" sz="2000" dirty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 &amp; </a:t>
                </a:r>
                <a:r>
                  <a:rPr lang="nl-BE" sz="2000" dirty="0" err="1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Thermal</a:t>
                </a:r>
                <a:r>
                  <a:rPr lang="nl-BE" sz="2000" dirty="0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 </a:t>
                </a:r>
                <a:r>
                  <a:rPr lang="nl-BE" sz="2000" dirty="0" err="1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Hydraulics</a:t>
                </a:r>
                <a:endParaRPr lang="en-GB" sz="20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4458448" y="4968754"/>
              <a:ext cx="4204916" cy="822844"/>
              <a:chOff x="4458448" y="4968754"/>
              <a:chExt cx="4204916" cy="822844"/>
            </a:xfrm>
          </p:grpSpPr>
          <p:sp>
            <p:nvSpPr>
              <p:cNvPr id="11" name="TextBox 10"/>
              <p:cNvSpPr txBox="1"/>
              <p:nvPr/>
            </p:nvSpPr>
            <p:spPr>
              <a:xfrm>
                <a:off x="4938684" y="4968754"/>
                <a:ext cx="372468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l-BE" sz="2000" dirty="0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Instrumentation &amp; </a:t>
                </a:r>
                <a:r>
                  <a:rPr lang="nl-BE" sz="2000" dirty="0" err="1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Visualisation</a:t>
                </a:r>
                <a:endParaRPr lang="en-GB" sz="20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" name="Right Brace 11"/>
              <p:cNvSpPr/>
              <p:nvPr/>
            </p:nvSpPr>
            <p:spPr bwMode="auto">
              <a:xfrm>
                <a:off x="4458448" y="4990469"/>
                <a:ext cx="393449" cy="344856"/>
              </a:xfrm>
              <a:prstGeom prst="rightBrac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n-GB" smtClean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4963867" y="5391488"/>
                <a:ext cx="3079982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nl-BE" sz="2000" dirty="0" smtClean="0">
                    <a:solidFill>
                      <a:srgbClr val="000000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Lead Zero Power Reactor</a:t>
                </a:r>
                <a:endParaRPr lang="en-GB" sz="2000" dirty="0">
                  <a:solidFill>
                    <a:srgbClr val="000000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4" name="Right Brace 13"/>
              <p:cNvSpPr/>
              <p:nvPr/>
            </p:nvSpPr>
            <p:spPr bwMode="auto">
              <a:xfrm>
                <a:off x="4483632" y="5405252"/>
                <a:ext cx="393449" cy="344856"/>
              </a:xfrm>
              <a:prstGeom prst="rightBrace">
                <a:avLst/>
              </a:prstGeom>
              <a:noFill/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endParaRPr lang="en-GB" smtClean="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l="35720" r="16871"/>
          <a:stretch/>
        </p:blipFill>
        <p:spPr>
          <a:xfrm flipH="1">
            <a:off x="220047" y="1733591"/>
            <a:ext cx="3190875" cy="4407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3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>
            <a:extLst>
              <a:ext uri="{FF2B5EF4-FFF2-40B4-BE49-F238E27FC236}">
                <a16:creationId xmlns:a16="http://schemas.microsoft.com/office/drawing/2014/main" id="{A0A40F5F-8B00-4C92-BBDC-EFEB6A5017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955692" y="1412776"/>
            <a:ext cx="1676342" cy="1763709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778843F-61F1-4E2F-AAA9-94F965CEF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Belgian Government decision of 7 September </a:t>
            </a:r>
            <a:r>
              <a:rPr lang="en-US" sz="2800" dirty="0" smtClean="0"/>
              <a:t>2018</a:t>
            </a:r>
            <a:br>
              <a:rPr lang="en-US" sz="2800" dirty="0" smtClean="0"/>
            </a:br>
            <a:r>
              <a:rPr lang="en-US" sz="2800" dirty="0" smtClean="0">
                <a:solidFill>
                  <a:srgbClr val="00B050"/>
                </a:solidFill>
              </a:rPr>
              <a:t>Confirmed on 23 July 2021 </a:t>
            </a:r>
            <a:r>
              <a:rPr lang="en-US" sz="1800" dirty="0" smtClean="0">
                <a:solidFill>
                  <a:srgbClr val="00B050"/>
                </a:solidFill>
              </a:rPr>
              <a:t>(+ creation of MYRRHA NPO)</a:t>
            </a:r>
            <a:endParaRPr lang="en-GB" sz="2800" dirty="0">
              <a:solidFill>
                <a:srgbClr val="00B050"/>
              </a:solidFill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B14BF262-A395-4F35-A5B0-7ADBCE9B921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5649"/>
          <a:stretch/>
        </p:blipFill>
        <p:spPr bwMode="auto">
          <a:xfrm>
            <a:off x="1487489" y="1407749"/>
            <a:ext cx="2034483" cy="1768736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5">
            <a:extLst>
              <a:ext uri="{FF2B5EF4-FFF2-40B4-BE49-F238E27FC236}">
                <a16:creationId xmlns:a16="http://schemas.microsoft.com/office/drawing/2014/main" id="{A29A6D1D-3353-445D-BB91-6DDAD6AF7B3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04312" y="1412776"/>
            <a:ext cx="1763709" cy="1763709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76A491E-0F36-4EAA-B63E-5CE4A4CBADAD}"/>
              </a:ext>
            </a:extLst>
          </p:cNvPr>
          <p:cNvSpPr txBox="1"/>
          <p:nvPr/>
        </p:nvSpPr>
        <p:spPr>
          <a:xfrm>
            <a:off x="1487488" y="3536526"/>
            <a:ext cx="2034483" cy="2369880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70C0"/>
                </a:solidFill>
              </a:rPr>
              <a:t>Decision to build MYRRHA</a:t>
            </a:r>
            <a:r>
              <a:rPr lang="en-US" sz="1600" dirty="0">
                <a:solidFill>
                  <a:srgbClr val="0070C0"/>
                </a:solidFill>
              </a:rPr>
              <a:t> as large new research infrastructure in Mol, Belgium</a:t>
            </a:r>
          </a:p>
          <a:p>
            <a:pPr algn="ctr"/>
            <a:endParaRPr lang="en-US" sz="1600" dirty="0">
              <a:solidFill>
                <a:srgbClr val="0070C0"/>
              </a:solidFill>
            </a:endParaRPr>
          </a:p>
          <a:p>
            <a:pPr algn="ctr"/>
            <a:endParaRPr lang="en-US" sz="1600" dirty="0">
              <a:solidFill>
                <a:srgbClr val="0070C0"/>
              </a:solidFill>
            </a:endParaRPr>
          </a:p>
          <a:p>
            <a:pPr algn="ctr"/>
            <a:endParaRPr lang="en-US" sz="1600" dirty="0">
              <a:solidFill>
                <a:srgbClr val="0070C0"/>
              </a:solidFill>
            </a:endParaRPr>
          </a:p>
          <a:p>
            <a:endParaRPr lang="fr-FR" b="1" dirty="0" err="1">
              <a:solidFill>
                <a:schemeClr val="bg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A735C5A-FBD3-4107-BB53-258AB9FF5BF9}"/>
              </a:ext>
            </a:extLst>
          </p:cNvPr>
          <p:cNvSpPr txBox="1"/>
          <p:nvPr/>
        </p:nvSpPr>
        <p:spPr>
          <a:xfrm>
            <a:off x="3650073" y="3536526"/>
            <a:ext cx="3103319" cy="2385268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  <a:spcAft>
                <a:spcPts val="0"/>
              </a:spcAft>
            </a:pPr>
            <a:r>
              <a:rPr lang="en-US" sz="1600" dirty="0">
                <a:solidFill>
                  <a:srgbClr val="0070C0"/>
                </a:solidFill>
              </a:rPr>
              <a:t>Belgium </a:t>
            </a:r>
            <a:r>
              <a:rPr lang="en-US" sz="1600" b="1" dirty="0">
                <a:solidFill>
                  <a:srgbClr val="0070C0"/>
                </a:solidFill>
              </a:rPr>
              <a:t>allocates </a:t>
            </a:r>
            <a:r>
              <a:rPr lang="en-US" sz="1600" dirty="0">
                <a:solidFill>
                  <a:srgbClr val="0070C0"/>
                </a:solidFill>
              </a:rPr>
              <a:t>€ 558 m for 2019-2038</a:t>
            </a:r>
          </a:p>
          <a:p>
            <a:pPr marL="87313" lvl="1" indent="-87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70C0"/>
                </a:solidFill>
              </a:rPr>
              <a:t> 2019-2026</a:t>
            </a:r>
            <a:r>
              <a:rPr lang="en-US" sz="1200" dirty="0">
                <a:solidFill>
                  <a:srgbClr val="0070C0"/>
                </a:solidFill>
              </a:rPr>
              <a:t>: construction of MINERVA (linac 100 MeV + PTF &amp; FTS)</a:t>
            </a:r>
          </a:p>
          <a:p>
            <a:pPr marL="87313" lvl="1" indent="-87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70C0"/>
                </a:solidFill>
              </a:rPr>
              <a:t> 2019-2026</a:t>
            </a:r>
            <a:r>
              <a:rPr lang="en-US" sz="1200" dirty="0">
                <a:solidFill>
                  <a:srgbClr val="0070C0"/>
                </a:solidFill>
              </a:rPr>
              <a:t>: design, R&amp;D and licensing for Phases 2 (extended linac 600 MeV) &amp; 3 (reactor)</a:t>
            </a:r>
          </a:p>
          <a:p>
            <a:pPr marL="87313" lvl="1" indent="-87313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200" dirty="0" smtClean="0">
                <a:solidFill>
                  <a:srgbClr val="0070C0"/>
                </a:solidFill>
              </a:rPr>
              <a:t> 2027-2038</a:t>
            </a:r>
            <a:r>
              <a:rPr lang="en-US" sz="1200" dirty="0">
                <a:solidFill>
                  <a:srgbClr val="0070C0"/>
                </a:solidFill>
              </a:rPr>
              <a:t>: MINERVA operations (linac 100 MeV)</a:t>
            </a:r>
          </a:p>
          <a:p>
            <a:endParaRPr lang="fr-FR" sz="1800" b="1" dirty="0" err="1">
              <a:solidFill>
                <a:schemeClr val="bg1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5B304EB-5A35-47BD-819C-93DB7551FCA4}"/>
              </a:ext>
            </a:extLst>
          </p:cNvPr>
          <p:cNvSpPr txBox="1"/>
          <p:nvPr/>
        </p:nvSpPr>
        <p:spPr>
          <a:xfrm>
            <a:off x="6933760" y="3538425"/>
            <a:ext cx="1698274" cy="2400657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600" dirty="0">
                <a:solidFill>
                  <a:srgbClr val="0070C0"/>
                </a:solidFill>
              </a:rPr>
              <a:t>Establishment of </a:t>
            </a:r>
            <a:r>
              <a:rPr lang="en-US" sz="1600" b="1" dirty="0">
                <a:solidFill>
                  <a:srgbClr val="0070C0"/>
                </a:solidFill>
              </a:rPr>
              <a:t>international non-profit </a:t>
            </a:r>
            <a:r>
              <a:rPr lang="en-US" sz="1600" b="1" dirty="0" err="1">
                <a:solidFill>
                  <a:srgbClr val="0070C0"/>
                </a:solidFill>
              </a:rPr>
              <a:t>organisation</a:t>
            </a:r>
            <a:r>
              <a:rPr lang="en-US" sz="1600" b="1" dirty="0">
                <a:solidFill>
                  <a:srgbClr val="0070C0"/>
                </a:solidFill>
              </a:rPr>
              <a:t> </a:t>
            </a:r>
            <a:endParaRPr lang="en-US" sz="1600" b="1" dirty="0" smtClean="0">
              <a:solidFill>
                <a:srgbClr val="0070C0"/>
              </a:solidFill>
            </a:endParaRPr>
          </a:p>
          <a:p>
            <a:pPr algn="ctr">
              <a:spcBef>
                <a:spcPts val="1200"/>
              </a:spcBef>
            </a:pPr>
            <a:r>
              <a:rPr lang="en-US" sz="1600" b="1" dirty="0" smtClean="0">
                <a:solidFill>
                  <a:srgbClr val="0070C0"/>
                </a:solidFill>
              </a:rPr>
              <a:t>MYRRHA AISBL/IVZW</a:t>
            </a:r>
            <a:endParaRPr lang="en-US" sz="1600" b="1" dirty="0">
              <a:solidFill>
                <a:srgbClr val="0070C0"/>
              </a:solidFill>
            </a:endParaRPr>
          </a:p>
          <a:p>
            <a:pPr algn="ctr">
              <a:spcBef>
                <a:spcPts val="1200"/>
              </a:spcBef>
            </a:pPr>
            <a:r>
              <a:rPr lang="en-US" sz="1200" b="1" dirty="0" smtClean="0">
                <a:solidFill>
                  <a:srgbClr val="00B050"/>
                </a:solidFill>
              </a:rPr>
              <a:t>Decided 23.07.2021</a:t>
            </a:r>
          </a:p>
          <a:p>
            <a:pPr algn="ctr">
              <a:spcBef>
                <a:spcPts val="1200"/>
              </a:spcBef>
            </a:pPr>
            <a:r>
              <a:rPr lang="en-US" sz="1200" b="1" dirty="0" smtClean="0">
                <a:solidFill>
                  <a:srgbClr val="00B050"/>
                </a:solidFill>
              </a:rPr>
              <a:t>Created 17.09.2021</a:t>
            </a:r>
            <a:endParaRPr lang="en-US" sz="1200" b="1" dirty="0">
              <a:solidFill>
                <a:srgbClr val="00B050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E2D2D8-106F-487B-AA14-29AF31ADEA69}"/>
              </a:ext>
            </a:extLst>
          </p:cNvPr>
          <p:cNvSpPr txBox="1"/>
          <p:nvPr/>
        </p:nvSpPr>
        <p:spPr>
          <a:xfrm>
            <a:off x="8904312" y="3536526"/>
            <a:ext cx="1763709" cy="2400657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600" b="1" dirty="0">
                <a:solidFill>
                  <a:srgbClr val="0070C0"/>
                </a:solidFill>
              </a:rPr>
              <a:t>Government support </a:t>
            </a:r>
            <a:r>
              <a:rPr lang="en-US" sz="1600" dirty="0">
                <a:solidFill>
                  <a:srgbClr val="0070C0"/>
                </a:solidFill>
              </a:rPr>
              <a:t>for establishing MYRRHA partnerships</a:t>
            </a:r>
          </a:p>
          <a:p>
            <a:pPr marL="0" lvl="1" algn="ctr">
              <a:spcBef>
                <a:spcPts val="1200"/>
              </a:spcBef>
            </a:pPr>
            <a:r>
              <a:rPr lang="en-US" sz="1200" dirty="0">
                <a:solidFill>
                  <a:srgbClr val="0070C0"/>
                </a:solidFill>
              </a:rPr>
              <a:t>Belgium </a:t>
            </a:r>
            <a:r>
              <a:rPr lang="en-US" sz="1200">
                <a:solidFill>
                  <a:srgbClr val="0070C0"/>
                </a:solidFill>
              </a:rPr>
              <a:t>appoints </a:t>
            </a:r>
            <a:r>
              <a:rPr lang="en-US" sz="1200" smtClean="0">
                <a:solidFill>
                  <a:srgbClr val="0070C0"/>
                </a:solidFill>
              </a:rPr>
              <a:t>tutorship </a:t>
            </a:r>
            <a:r>
              <a:rPr lang="en-US" sz="1200" dirty="0">
                <a:solidFill>
                  <a:srgbClr val="0070C0"/>
                </a:solidFill>
              </a:rPr>
              <a:t>ministers to promote and negotiate international partnership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7E87BB2-7591-42F9-8ECA-DE772B49434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9736" y="1412776"/>
            <a:ext cx="3033656" cy="1763710"/>
          </a:xfrm>
          <a:prstGeom prst="rect">
            <a:avLst/>
          </a:prstGeom>
          <a:noFill/>
          <a:ln w="19050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3" name="Footer Placeholder 5"/>
          <p:cNvSpPr txBox="1">
            <a:spLocks/>
          </p:cNvSpPr>
          <p:nvPr/>
        </p:nvSpPr>
        <p:spPr>
          <a:xfrm>
            <a:off x="479376" y="6393030"/>
            <a:ext cx="8970998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/>
              <a:t>Source</a:t>
            </a:r>
            <a:r>
              <a:rPr lang="nl-BE" dirty="0" smtClean="0"/>
              <a:t>: </a:t>
            </a:r>
            <a:r>
              <a:rPr lang="nl-BE" dirty="0" err="1" smtClean="0"/>
              <a:t>Belgian</a:t>
            </a:r>
            <a:r>
              <a:rPr lang="nl-BE" dirty="0" smtClean="0"/>
              <a:t> </a:t>
            </a:r>
            <a:r>
              <a:rPr lang="en-US" dirty="0" smtClean="0"/>
              <a:t>minister of Energy, Environment &amp; Sustainable Development</a:t>
            </a:r>
            <a:endParaRPr lang="nl-BE" dirty="0"/>
          </a:p>
        </p:txBody>
      </p:sp>
      <p:sp>
        <p:nvSpPr>
          <p:cNvPr id="4" name="Rectangle 3"/>
          <p:cNvSpPr/>
          <p:nvPr/>
        </p:nvSpPr>
        <p:spPr>
          <a:xfrm>
            <a:off x="6951156" y="2520000"/>
            <a:ext cx="468000" cy="486000"/>
          </a:xfrm>
          <a:custGeom>
            <a:avLst/>
            <a:gdLst>
              <a:gd name="connsiteX0" fmla="*/ 0 w 440988"/>
              <a:gd name="connsiteY0" fmla="*/ 0 h 432048"/>
              <a:gd name="connsiteX1" fmla="*/ 440988 w 440988"/>
              <a:gd name="connsiteY1" fmla="*/ 0 h 432048"/>
              <a:gd name="connsiteX2" fmla="*/ 440988 w 440988"/>
              <a:gd name="connsiteY2" fmla="*/ 432048 h 432048"/>
              <a:gd name="connsiteX3" fmla="*/ 0 w 440988"/>
              <a:gd name="connsiteY3" fmla="*/ 432048 h 432048"/>
              <a:gd name="connsiteX4" fmla="*/ 0 w 440988"/>
              <a:gd name="connsiteY4" fmla="*/ 0 h 432048"/>
              <a:gd name="connsiteX0" fmla="*/ 0 w 440988"/>
              <a:gd name="connsiteY0" fmla="*/ 0 h 432048"/>
              <a:gd name="connsiteX1" fmla="*/ 440988 w 440988"/>
              <a:gd name="connsiteY1" fmla="*/ 0 h 432048"/>
              <a:gd name="connsiteX2" fmla="*/ 440988 w 440988"/>
              <a:gd name="connsiteY2" fmla="*/ 432048 h 432048"/>
              <a:gd name="connsiteX3" fmla="*/ 0 w 440988"/>
              <a:gd name="connsiteY3" fmla="*/ 432048 h 432048"/>
              <a:gd name="connsiteX4" fmla="*/ 0 w 440988"/>
              <a:gd name="connsiteY4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988" h="432048">
                <a:moveTo>
                  <a:pt x="0" y="0"/>
                </a:moveTo>
                <a:lnTo>
                  <a:pt x="440988" y="0"/>
                </a:lnTo>
                <a:lnTo>
                  <a:pt x="440988" y="432048"/>
                </a:lnTo>
                <a:lnTo>
                  <a:pt x="0" y="432048"/>
                </a:lnTo>
                <a:lnTo>
                  <a:pt x="0" y="0"/>
                </a:lnTo>
                <a:close/>
              </a:path>
            </a:pathLst>
          </a:cu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336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How to participate in MYRRHA</a:t>
            </a:r>
            <a:endParaRPr lang="en-US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575773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YRRHA </a:t>
            </a:r>
            <a:r>
              <a:rPr lang="en-GB" dirty="0" err="1" smtClean="0"/>
              <a:t>AISBL</a:t>
            </a:r>
            <a:r>
              <a:rPr lang="en-GB" dirty="0" smtClean="0"/>
              <a:t>/</a:t>
            </a:r>
            <a:r>
              <a:rPr lang="en-GB" dirty="0" err="1" smtClean="0"/>
              <a:t>IVZW</a:t>
            </a:r>
            <a:r>
              <a:rPr lang="en-GB" dirty="0" smtClean="0"/>
              <a:t> official from 16 December 2021 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smtClean="0"/>
              <a:t>Source:</a:t>
            </a:r>
            <a:endParaRPr lang="nl-BE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472" y="980586"/>
            <a:ext cx="9577064" cy="542069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9264352" y="2996952"/>
            <a:ext cx="1296144" cy="5040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522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20"/>
          </p:nvPr>
        </p:nvSpPr>
        <p:spPr>
          <a:xfrm>
            <a:off x="6353516" y="474041"/>
            <a:ext cx="5553789" cy="5832489"/>
          </a:xfrm>
        </p:spPr>
        <p:txBody>
          <a:bodyPr>
            <a:noAutofit/>
          </a:bodyPr>
          <a:lstStyle/>
          <a:p>
            <a:pPr marL="88900" indent="0">
              <a:buClr>
                <a:schemeClr val="accent4"/>
              </a:buClr>
              <a:buNone/>
            </a:pPr>
            <a:r>
              <a:rPr lang="nl-BE" sz="2000" b="1" dirty="0" smtClean="0"/>
              <a:t>MYRRHA AISBL: </a:t>
            </a:r>
            <a:r>
              <a:rPr lang="en-US" sz="2000" dirty="0" smtClean="0"/>
              <a:t>separate </a:t>
            </a:r>
            <a:r>
              <a:rPr lang="en-US" sz="2000" dirty="0"/>
              <a:t>legal entity needed to find external partners/investors</a:t>
            </a:r>
            <a:endParaRPr lang="nl-BE" sz="2000" dirty="0" smtClean="0"/>
          </a:p>
          <a:p>
            <a:pPr marL="88900" indent="0">
              <a:buClr>
                <a:schemeClr val="accent4"/>
              </a:buClr>
              <a:buNone/>
            </a:pPr>
            <a:endParaRPr lang="en-US" sz="1400" b="1" dirty="0" smtClean="0"/>
          </a:p>
          <a:p>
            <a:pPr marL="88900" indent="0">
              <a:buClr>
                <a:schemeClr val="accent4"/>
              </a:buClr>
              <a:buNone/>
            </a:pPr>
            <a:endParaRPr lang="nl-BE" sz="1400" b="1" dirty="0" smtClean="0"/>
          </a:p>
          <a:p>
            <a:pPr marL="88900" indent="0">
              <a:buClr>
                <a:schemeClr val="accent4"/>
              </a:buClr>
              <a:buNone/>
            </a:pPr>
            <a:endParaRPr lang="nl-BE" sz="1400" b="1" dirty="0"/>
          </a:p>
          <a:p>
            <a:pPr marL="88900" indent="0">
              <a:buClr>
                <a:schemeClr val="accent4"/>
              </a:buClr>
              <a:buNone/>
            </a:pPr>
            <a:endParaRPr lang="nl-BE" sz="1400" b="1" dirty="0" smtClean="0"/>
          </a:p>
          <a:p>
            <a:pPr marL="88900" indent="0">
              <a:buClr>
                <a:schemeClr val="accent4"/>
              </a:buClr>
              <a:buNone/>
            </a:pPr>
            <a:r>
              <a:rPr lang="nl-BE" sz="2000" b="1" dirty="0" smtClean="0"/>
              <a:t>Responsability: </a:t>
            </a:r>
          </a:p>
          <a:p>
            <a:pPr lvl="1">
              <a:buClr>
                <a:schemeClr val="accent4"/>
              </a:buClr>
              <a:buFont typeface="Courier New" panose="02070309020205020404" pitchFamily="49" charset="0"/>
              <a:buChar char="o"/>
            </a:pPr>
            <a:r>
              <a:rPr lang="nl-BE" sz="2000" dirty="0" smtClean="0"/>
              <a:t>SCK CEN</a:t>
            </a:r>
          </a:p>
          <a:p>
            <a:pPr lvl="1"/>
            <a:r>
              <a:rPr lang="en-US" sz="1400" dirty="0"/>
              <a:t>Design &amp; build MINERVA</a:t>
            </a:r>
          </a:p>
          <a:p>
            <a:pPr lvl="1"/>
            <a:r>
              <a:rPr lang="en-US" sz="1400" dirty="0"/>
              <a:t>Conduct R&amp;D for phases 2 ACC-600 &amp; 3 MYRRHA Reactor</a:t>
            </a:r>
          </a:p>
          <a:p>
            <a:pPr lvl="1"/>
            <a:r>
              <a:rPr lang="en-US" sz="1400" dirty="0"/>
              <a:t>Obtain licenses for Phase 1 and later on for Phases 2 &amp; 3</a:t>
            </a:r>
          </a:p>
          <a:p>
            <a:pPr lvl="1"/>
            <a:r>
              <a:rPr lang="en-US" sz="1400" u="sng" dirty="0"/>
              <a:t>Being the nuclear operator </a:t>
            </a:r>
            <a:r>
              <a:rPr lang="en-US" sz="1400" dirty="0"/>
              <a:t>of MYRRHA/MINERVA</a:t>
            </a:r>
            <a:endParaRPr lang="fr-BE" sz="1400" dirty="0">
              <a:solidFill>
                <a:schemeClr val="bg1"/>
              </a:solidFill>
            </a:endParaRPr>
          </a:p>
          <a:p>
            <a:pPr lvl="2">
              <a:buFont typeface="Courier New" panose="02070309020205020404" pitchFamily="49" charset="0"/>
              <a:buChar char="o"/>
            </a:pPr>
            <a:endParaRPr lang="nl-BE" sz="1600" dirty="0" smtClean="0"/>
          </a:p>
          <a:p>
            <a:pPr lvl="1">
              <a:buClr>
                <a:schemeClr val="accent4"/>
              </a:buClr>
              <a:buFont typeface="Courier New" panose="02070309020205020404" pitchFamily="49" charset="0"/>
              <a:buChar char="o"/>
            </a:pPr>
            <a:r>
              <a:rPr lang="nl-BE" sz="2000" dirty="0" smtClean="0"/>
              <a:t>MYRRHA AISBL</a:t>
            </a:r>
          </a:p>
          <a:p>
            <a:pPr lvl="1"/>
            <a:r>
              <a:rPr lang="en-US" sz="1400" dirty="0"/>
              <a:t>Establish the MYRRHA International Consortium</a:t>
            </a:r>
          </a:p>
          <a:p>
            <a:pPr lvl="1"/>
            <a:r>
              <a:rPr lang="en-US" sz="1400" dirty="0"/>
              <a:t>Guarding the overall scope of MYRRHA </a:t>
            </a:r>
            <a:r>
              <a:rPr lang="en-US" sz="1400" dirty="0" err="1" smtClean="0"/>
              <a:t>programme</a:t>
            </a:r>
            <a:endParaRPr lang="en-US" sz="140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CF43244-1CD7-477E-A889-034D6211AB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34</a:t>
            </a:fld>
            <a:endParaRPr lang="en-BE" dirty="0"/>
          </a:p>
        </p:txBody>
      </p:sp>
      <p:grpSp>
        <p:nvGrpSpPr>
          <p:cNvPr id="11" name="Group 10"/>
          <p:cNvGrpSpPr/>
          <p:nvPr/>
        </p:nvGrpSpPr>
        <p:grpSpPr>
          <a:xfrm>
            <a:off x="2291163" y="3856105"/>
            <a:ext cx="2534754" cy="1480980"/>
            <a:chOff x="324705" y="388235"/>
            <a:chExt cx="2099468" cy="2086443"/>
          </a:xfrm>
        </p:grpSpPr>
        <p:sp>
          <p:nvSpPr>
            <p:cNvPr id="12" name="Oval 11"/>
            <p:cNvSpPr/>
            <p:nvPr/>
          </p:nvSpPr>
          <p:spPr>
            <a:xfrm>
              <a:off x="331218" y="388235"/>
              <a:ext cx="2086443" cy="2086443"/>
            </a:xfrm>
            <a:prstGeom prst="ellipse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24705" y="885417"/>
              <a:ext cx="2099468" cy="997288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4000" dirty="0" smtClean="0">
                  <a:solidFill>
                    <a:schemeClr val="bg1"/>
                  </a:solidFill>
                </a:rPr>
                <a:t>MYRRHA</a:t>
              </a:r>
              <a:endParaRPr lang="en-US" sz="4000" dirty="0">
                <a:solidFill>
                  <a:schemeClr val="bg1"/>
                </a:solidFill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37707" y="-43544"/>
            <a:ext cx="6096000" cy="69469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253262" y="4185692"/>
            <a:ext cx="5417252" cy="175432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88900" indent="0" algn="ctr">
              <a:buNone/>
            </a:pPr>
            <a:r>
              <a:rPr lang="en-US" sz="3600" b="1" dirty="0" smtClean="0">
                <a:solidFill>
                  <a:schemeClr val="bg1"/>
                </a:solidFill>
              </a:rPr>
              <a:t>MYRRHA</a:t>
            </a:r>
          </a:p>
          <a:p>
            <a:pPr marL="88900" indent="0" algn="ctr">
              <a:buNone/>
            </a:pPr>
            <a:r>
              <a:rPr lang="en-US" sz="3600" b="1" dirty="0" smtClean="0">
                <a:solidFill>
                  <a:schemeClr val="bg1"/>
                </a:solidFill>
              </a:rPr>
              <a:t> International nonprofit</a:t>
            </a:r>
          </a:p>
          <a:p>
            <a:pPr marL="88900" indent="0" algn="ctr">
              <a:buNone/>
            </a:pPr>
            <a:r>
              <a:rPr lang="en-US" sz="3600" b="1" dirty="0" err="1" smtClean="0">
                <a:solidFill>
                  <a:schemeClr val="bg1"/>
                </a:solidFill>
              </a:rPr>
              <a:t>organisation</a:t>
            </a:r>
            <a:endParaRPr lang="en-US" sz="3600" b="1" dirty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/>
        </p:nvSpPr>
        <p:spPr>
          <a:xfrm>
            <a:off x="1696813" y="758124"/>
            <a:ext cx="2287291" cy="216010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2" name="Group 31"/>
          <p:cNvGrpSpPr/>
          <p:nvPr/>
        </p:nvGrpSpPr>
        <p:grpSpPr>
          <a:xfrm>
            <a:off x="1808912" y="1526453"/>
            <a:ext cx="1224016" cy="1176892"/>
            <a:chOff x="6994026" y="4353275"/>
            <a:chExt cx="1080000" cy="1080000"/>
          </a:xfrm>
        </p:grpSpPr>
        <p:sp>
          <p:nvSpPr>
            <p:cNvPr id="33" name="Oval 32"/>
            <p:cNvSpPr/>
            <p:nvPr/>
          </p:nvSpPr>
          <p:spPr>
            <a:xfrm>
              <a:off x="6994026" y="4353275"/>
              <a:ext cx="1080000" cy="108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75346" y="4669568"/>
              <a:ext cx="917360" cy="481614"/>
            </a:xfrm>
            <a:prstGeom prst="rect">
              <a:avLst/>
            </a:prstGeom>
          </p:spPr>
        </p:pic>
      </p:grpSp>
      <p:grpSp>
        <p:nvGrpSpPr>
          <p:cNvPr id="35" name="Group 34"/>
          <p:cNvGrpSpPr/>
          <p:nvPr/>
        </p:nvGrpSpPr>
        <p:grpSpPr>
          <a:xfrm>
            <a:off x="2724860" y="1033954"/>
            <a:ext cx="1080000" cy="1080000"/>
            <a:chOff x="7968208" y="3686495"/>
            <a:chExt cx="1080000" cy="1080000"/>
          </a:xfrm>
        </p:grpSpPr>
        <p:sp>
          <p:nvSpPr>
            <p:cNvPr id="36" name="Oval 35"/>
            <p:cNvSpPr/>
            <p:nvPr/>
          </p:nvSpPr>
          <p:spPr>
            <a:xfrm>
              <a:off x="7968208" y="3686495"/>
              <a:ext cx="1080000" cy="108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05234" y="3894356"/>
              <a:ext cx="624261" cy="664278"/>
            </a:xfrm>
            <a:prstGeom prst="rect">
              <a:avLst/>
            </a:prstGeom>
          </p:spPr>
        </p:pic>
      </p:grpSp>
      <p:sp>
        <p:nvSpPr>
          <p:cNvPr id="4" name="TextBox 3"/>
          <p:cNvSpPr txBox="1"/>
          <p:nvPr/>
        </p:nvSpPr>
        <p:spPr>
          <a:xfrm>
            <a:off x="1343613" y="2325923"/>
            <a:ext cx="5533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ANS</a:t>
            </a:r>
            <a:endParaRPr lang="en-US" sz="14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1858329" y="2325923"/>
            <a:ext cx="60465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MDB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82200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45833E-6 -4.81481E-6 L 0.09219 -0.02615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609" y="-1319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2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375E-6 -2.22222E-6 L -0.06771 0.01667 " pathEditMode="relative" rAng="0" ptsTypes="AA">
                                      <p:cBhvr>
                                        <p:cTn id="20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385" y="833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1.11022E-16 L -0.03711 -0.02361 " pathEditMode="relative" rAng="0" ptsTypes="AA">
                                      <p:cBhvr>
                                        <p:cTn id="22" dur="2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862" y="-1181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8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8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8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8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4" grpId="0"/>
      <p:bldP spid="19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YRRHA AISBL/IVZW:</a:t>
            </a:r>
            <a:br>
              <a:rPr lang="en-GB" dirty="0" smtClean="0"/>
            </a:br>
            <a:r>
              <a:rPr lang="en-GB" dirty="0" smtClean="0"/>
              <a:t>Membership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l-BE" dirty="0" smtClean="0"/>
              <a:t>Source:</a:t>
            </a:r>
            <a:endParaRPr lang="nl-BE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767408" y="1194250"/>
            <a:ext cx="10441160" cy="4984620"/>
          </a:xfrm>
          <a:prstGeom prst="rect">
            <a:avLst/>
          </a:prstGeom>
          <a:ln>
            <a:noFill/>
          </a:ln>
        </p:spPr>
        <p:txBody>
          <a:bodyPr wrap="square">
            <a:noAutofit/>
          </a:bodyPr>
          <a:lstStyle>
            <a:lvl1pPr marL="402335" indent="-402335" algn="l" defTabSz="1072892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71725" indent="-335278" algn="l" defTabSz="1072892" rtl="0" eaLnBrk="1" latinLnBrk="0" hangingPunct="1">
              <a:spcBef>
                <a:spcPct val="200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41116" indent="-268223" algn="l" defTabSz="1072892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77562" indent="-268223" algn="l" defTabSz="1072892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14007" indent="-268223" algn="l" defTabSz="1072892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50454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86900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3346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59792" indent="-268223" algn="l" defTabSz="107289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9957" indent="-342900"/>
            <a:r>
              <a:rPr lang="en-GB" sz="1800" u="sng" dirty="0"/>
              <a:t>Member categories :</a:t>
            </a:r>
          </a:p>
          <a:p>
            <a:pPr marL="879347" lvl="1" indent="-342900">
              <a:buFont typeface="+mj-lt"/>
              <a:buAutoNum type="alphaLcParenR"/>
            </a:pPr>
            <a:r>
              <a:rPr lang="en-GB" sz="1800" b="1" dirty="0"/>
              <a:t>Founding members </a:t>
            </a:r>
            <a:r>
              <a:rPr lang="en-GB" sz="1800" dirty="0"/>
              <a:t>: Belgian State and SCK </a:t>
            </a:r>
            <a:r>
              <a:rPr lang="en-GB" sz="1800" dirty="0" smtClean="0"/>
              <a:t>CEN</a:t>
            </a:r>
          </a:p>
          <a:p>
            <a:pPr marL="879347" lvl="1" indent="-342900">
              <a:buFont typeface="+mj-lt"/>
              <a:buAutoNum type="alphaLcParenR"/>
            </a:pPr>
            <a:r>
              <a:rPr lang="en-GB" sz="1800" b="1" dirty="0" smtClean="0"/>
              <a:t>Contributing members </a:t>
            </a:r>
            <a:r>
              <a:rPr lang="en-GB" sz="1800" dirty="0" smtClean="0"/>
              <a:t>open for :</a:t>
            </a:r>
            <a:endParaRPr lang="en-US" sz="1800" dirty="0" smtClean="0"/>
          </a:p>
          <a:p>
            <a:pPr marL="1291588" lvl="2" indent="-285750"/>
            <a:r>
              <a:rPr lang="en-GB" sz="1800" dirty="0"/>
              <a:t>Countries  </a:t>
            </a:r>
            <a:r>
              <a:rPr lang="en-GB" sz="1800" dirty="0">
                <a:sym typeface="Wingdings" panose="05000000000000000000" pitchFamily="2" charset="2"/>
              </a:rPr>
              <a:t> </a:t>
            </a:r>
            <a:endParaRPr lang="en-GB" sz="1800" dirty="0"/>
          </a:p>
          <a:p>
            <a:pPr marL="1291588" lvl="2" indent="-285750"/>
            <a:r>
              <a:rPr lang="en-GB" sz="1800" b="1" dirty="0"/>
              <a:t>National Research </a:t>
            </a:r>
            <a:r>
              <a:rPr lang="en-GB" sz="1800" b="1" dirty="0" smtClean="0"/>
              <a:t>Organisations, industries of a country</a:t>
            </a:r>
            <a:endParaRPr lang="en-GB" sz="1800" b="1" dirty="0"/>
          </a:p>
          <a:p>
            <a:pPr marL="1291588" lvl="2" indent="-285750"/>
            <a:r>
              <a:rPr lang="en-GB" sz="1800" dirty="0" smtClean="0"/>
              <a:t>International Institutions or Associations</a:t>
            </a:r>
          </a:p>
          <a:p>
            <a:pPr marL="1291588" lvl="2" indent="-285750"/>
            <a:endParaRPr lang="en-GB" sz="1600" dirty="0" smtClean="0"/>
          </a:p>
          <a:p>
            <a:pPr lvl="2">
              <a:buFont typeface="Wingdings" panose="05000000000000000000" pitchFamily="2" charset="2"/>
              <a:buChar char="q"/>
            </a:pPr>
            <a:endParaRPr lang="en-US" sz="900" dirty="0"/>
          </a:p>
          <a:p>
            <a:pPr marL="409957" indent="-342900"/>
            <a:r>
              <a:rPr lang="en-GB" sz="1800" u="sng" dirty="0" smtClean="0"/>
              <a:t>Rights &amp; Obligations</a:t>
            </a:r>
          </a:p>
          <a:p>
            <a:pPr marL="879347" lvl="1" indent="-342900"/>
            <a:r>
              <a:rPr lang="en-GB" sz="1800" dirty="0" smtClean="0"/>
              <a:t>Contribution in-cash or in-kind to become contributing member</a:t>
            </a:r>
          </a:p>
          <a:p>
            <a:pPr marL="879347" lvl="1" indent="-342900"/>
            <a:r>
              <a:rPr lang="en-GB" sz="1800" dirty="0" smtClean="0">
                <a:sym typeface="Wingdings" panose="05000000000000000000" pitchFamily="2" charset="2"/>
              </a:rPr>
              <a:t>from </a:t>
            </a:r>
            <a:r>
              <a:rPr lang="en-GB" sz="1800" dirty="0">
                <a:sym typeface="Wingdings" panose="05000000000000000000" pitchFamily="2" charset="2"/>
              </a:rPr>
              <a:t>40 M</a:t>
            </a:r>
            <a:r>
              <a:rPr lang="en-GB" sz="1800" dirty="0" smtClean="0">
                <a:sym typeface="Wingdings" panose="05000000000000000000" pitchFamily="2" charset="2"/>
              </a:rPr>
              <a:t>€ contribution :</a:t>
            </a:r>
          </a:p>
          <a:p>
            <a:pPr marL="1348738" lvl="2" indent="-342900"/>
            <a:r>
              <a:rPr lang="en-GB" sz="1800" dirty="0" smtClean="0">
                <a:sym typeface="Wingdings" panose="05000000000000000000" pitchFamily="2" charset="2"/>
              </a:rPr>
              <a:t>1 Director in the Board of Directors (overall maximum of 4)</a:t>
            </a:r>
          </a:p>
          <a:p>
            <a:pPr marL="1348738" lvl="2" indent="-342900"/>
            <a:r>
              <a:rPr lang="en-GB" sz="1800" dirty="0" smtClean="0">
                <a:sym typeface="Wingdings" panose="05000000000000000000" pitchFamily="2" charset="2"/>
              </a:rPr>
              <a:t>1 Voting right in the General Assembly per 40 M€ contribution</a:t>
            </a:r>
          </a:p>
          <a:p>
            <a:pPr marL="879347" lvl="1" indent="-342900"/>
            <a:r>
              <a:rPr lang="en-GB" sz="1800" dirty="0" smtClean="0"/>
              <a:t>Annual membership fee &lt;100 k€ on proposal of </a:t>
            </a:r>
            <a:r>
              <a:rPr lang="en-GB" sz="1800" dirty="0" err="1" smtClean="0"/>
              <a:t>BoD</a:t>
            </a:r>
            <a:r>
              <a:rPr lang="en-GB" sz="1800" dirty="0" smtClean="0"/>
              <a:t> (right of nomination of a representative in the International Scientific and Technical Advisory Board (ISTAB)</a:t>
            </a:r>
            <a:endParaRPr lang="en-GB" sz="1500" dirty="0"/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39679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>
            <a:spLocks/>
          </p:cNvSpPr>
          <p:nvPr/>
        </p:nvSpPr>
        <p:spPr bwMode="auto">
          <a:xfrm>
            <a:off x="1563051" y="704204"/>
            <a:ext cx="8915400" cy="4320480"/>
          </a:xfrm>
          <a:prstGeom prst="roundRect">
            <a:avLst>
              <a:gd name="adj" fmla="val 1307"/>
            </a:avLst>
          </a:prstGeom>
          <a:solidFill>
            <a:schemeClr val="bg2"/>
          </a:solidFill>
          <a:ln w="12700" cap="flat" cmpd="sng" algn="ctr">
            <a:solidFill>
              <a:srgbClr val="C4D4E5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25400" dir="8100000" algn="tr" rotWithShape="0">
              <a:srgbClr val="C4D4E5"/>
            </a:outerShdw>
          </a:effectLst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endParaRPr lang="nl-BE" dirty="0">
              <a:latin typeface="Segoe UI" panose="020B0502040204020203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7527832" y="2672702"/>
            <a:ext cx="1970591" cy="2856670"/>
            <a:chOff x="9112515" y="2450013"/>
            <a:chExt cx="2587768" cy="3986646"/>
          </a:xfrm>
        </p:grpSpPr>
        <p:pic>
          <p:nvPicPr>
            <p:cNvPr id="386050" name="Picture 2" descr="Image result for ground breaking"/>
            <p:cNvPicPr>
              <a:picLocks noChangeAspect="1" noChangeArrowheads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515917" y="4283400"/>
              <a:ext cx="1991694" cy="2153259"/>
            </a:xfrm>
            <a:prstGeom prst="roundRect">
              <a:avLst>
                <a:gd name="adj" fmla="val 5088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bevelT w="381000" h="114300" prst="relaxedInset"/>
              <a:contourClr>
                <a:srgbClr val="969696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90356" flipH="1">
              <a:off x="9112515" y="2450013"/>
              <a:ext cx="2587768" cy="1904763"/>
            </a:xfrm>
            <a:prstGeom prst="rect">
              <a:avLst/>
            </a:prstGeom>
          </p:spPr>
        </p:pic>
      </p:grpSp>
      <p:sp>
        <p:nvSpPr>
          <p:cNvPr id="13" name="Rectangle 12"/>
          <p:cNvSpPr/>
          <p:nvPr/>
        </p:nvSpPr>
        <p:spPr>
          <a:xfrm>
            <a:off x="1845918" y="5661248"/>
            <a:ext cx="3714227" cy="8833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/>
            <a:endParaRPr lang="nl-BE" sz="195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6702254" y="5661248"/>
            <a:ext cx="3714227" cy="88333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90570"/>
            <a:endParaRPr lang="nl-BE" sz="1950">
              <a:solidFill>
                <a:srgbClr val="FFFFFF"/>
              </a:solidFill>
              <a:latin typeface="Segoe UI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859326" y="5713585"/>
            <a:ext cx="8045233" cy="830997"/>
            <a:chOff x="645929" y="1122174"/>
            <a:chExt cx="8045233" cy="830997"/>
          </a:xfrm>
        </p:grpSpPr>
        <p:sp>
          <p:nvSpPr>
            <p:cNvPr id="11" name="Title 1"/>
            <p:cNvSpPr txBox="1">
              <a:spLocks/>
            </p:cNvSpPr>
            <p:nvPr/>
          </p:nvSpPr>
          <p:spPr>
            <a:xfrm>
              <a:off x="645929" y="1133275"/>
              <a:ext cx="3700818" cy="562718"/>
            </a:xfrm>
            <a:prstGeom prst="rect">
              <a:avLst/>
            </a:prstGeom>
          </p:spPr>
          <p:txBody>
            <a:bodyPr/>
            <a:lstStyle>
              <a:lvl1pPr algn="r" defTabSz="685800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6173788" algn="l"/>
                </a:tabLst>
                <a:defRPr sz="2600" b="0">
                  <a:solidFill>
                    <a:srgbClr val="007DC3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defRPr>
              </a:lvl1pPr>
              <a:lvl2pPr algn="r" defTabSz="685800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6173788" algn="l"/>
                </a:tabLst>
                <a:defRPr sz="2600">
                  <a:solidFill>
                    <a:schemeClr val="accent1"/>
                  </a:solidFill>
                  <a:latin typeface="Arial" charset="0"/>
                </a:defRPr>
              </a:lvl2pPr>
              <a:lvl3pPr algn="r" defTabSz="685800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6173788" algn="l"/>
                </a:tabLst>
                <a:defRPr sz="2600">
                  <a:solidFill>
                    <a:schemeClr val="accent1"/>
                  </a:solidFill>
                  <a:latin typeface="Arial" charset="0"/>
                </a:defRPr>
              </a:lvl3pPr>
              <a:lvl4pPr algn="r" defTabSz="685800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6173788" algn="l"/>
                </a:tabLst>
                <a:defRPr sz="2600">
                  <a:solidFill>
                    <a:schemeClr val="accent1"/>
                  </a:solidFill>
                  <a:latin typeface="Arial" charset="0"/>
                </a:defRPr>
              </a:lvl4pPr>
              <a:lvl5pPr algn="r" defTabSz="685800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6173788" algn="l"/>
                </a:tabLst>
                <a:defRPr sz="2600">
                  <a:solidFill>
                    <a:schemeClr val="accent1"/>
                  </a:solidFill>
                  <a:latin typeface="Arial" charset="0"/>
                </a:defRPr>
              </a:lvl5pPr>
              <a:lvl6pPr marL="457200" algn="r" defTabSz="685800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6173788" algn="l"/>
                </a:tabLst>
                <a:defRPr sz="2600">
                  <a:solidFill>
                    <a:schemeClr val="accent1"/>
                  </a:solidFill>
                  <a:latin typeface="Arial" charset="0"/>
                </a:defRPr>
              </a:lvl6pPr>
              <a:lvl7pPr marL="914400" algn="r" defTabSz="685800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6173788" algn="l"/>
                </a:tabLst>
                <a:defRPr sz="2600">
                  <a:solidFill>
                    <a:schemeClr val="accent1"/>
                  </a:solidFill>
                  <a:latin typeface="Arial" charset="0"/>
                </a:defRPr>
              </a:lvl7pPr>
              <a:lvl8pPr marL="1371600" algn="r" defTabSz="685800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6173788" algn="l"/>
                </a:tabLst>
                <a:defRPr sz="2600">
                  <a:solidFill>
                    <a:schemeClr val="accent1"/>
                  </a:solidFill>
                  <a:latin typeface="Arial" charset="0"/>
                </a:defRPr>
              </a:lvl8pPr>
              <a:lvl9pPr marL="1828800" algn="r" defTabSz="685800" rtl="0" eaLnBrk="1" fontAlgn="base" hangingPunct="1">
                <a:lnSpc>
                  <a:spcPct val="80000"/>
                </a:lnSpc>
                <a:spcBef>
                  <a:spcPct val="0"/>
                </a:spcBef>
                <a:spcAft>
                  <a:spcPct val="0"/>
                </a:spcAft>
                <a:tabLst>
                  <a:tab pos="6173788" algn="l"/>
                </a:tabLst>
                <a:defRPr sz="2600">
                  <a:solidFill>
                    <a:schemeClr val="accent1"/>
                  </a:solidFill>
                  <a:latin typeface="Arial" charset="0"/>
                </a:defRPr>
              </a:lvl9pPr>
            </a:lstStyle>
            <a:p>
              <a:pPr algn="ctr">
                <a:lnSpc>
                  <a:spcPct val="100000"/>
                </a:lnSpc>
              </a:pPr>
              <a:r>
                <a:rPr lang="en-US" sz="2289" b="1" kern="0" dirty="0">
                  <a:solidFill>
                    <a:schemeClr val="bg1"/>
                  </a:solidFill>
                </a:rPr>
                <a:t>2018</a:t>
              </a:r>
            </a:p>
            <a:p>
              <a:pPr algn="ctr">
                <a:lnSpc>
                  <a:spcPct val="100000"/>
                </a:lnSpc>
              </a:pPr>
              <a:r>
                <a:rPr lang="en-US" sz="2289" b="1" kern="0" dirty="0" smtClean="0">
                  <a:solidFill>
                    <a:schemeClr val="bg1"/>
                  </a:solidFill>
                </a:rPr>
                <a:t>Positive decision</a:t>
              </a:r>
              <a:endParaRPr lang="en-US" sz="2289" kern="0" dirty="0">
                <a:solidFill>
                  <a:schemeClr val="bg1"/>
                </a:solidFill>
              </a:endParaRPr>
            </a:p>
            <a:p>
              <a:pPr algn="ctr">
                <a:lnSpc>
                  <a:spcPct val="100000"/>
                </a:lnSpc>
              </a:pPr>
              <a:endParaRPr lang="en-US" sz="1200" b="1" kern="0" dirty="0">
                <a:solidFill>
                  <a:schemeClr val="bg1"/>
                </a:solidFill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6049092" y="1122174"/>
              <a:ext cx="2642070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nl-BE" sz="2400" b="1" kern="0" dirty="0" err="1" smtClean="0">
                  <a:solidFill>
                    <a:schemeClr val="bg1"/>
                  </a:solidFill>
                </a:rPr>
                <a:t>Ground</a:t>
              </a:r>
              <a:r>
                <a:rPr lang="nl-BE" sz="2400" b="1" kern="0" dirty="0" smtClean="0">
                  <a:solidFill>
                    <a:schemeClr val="bg1"/>
                  </a:solidFill>
                </a:rPr>
                <a:t> </a:t>
              </a:r>
              <a:r>
                <a:rPr lang="nl-BE" sz="2400" b="1" kern="0" dirty="0" err="1" smtClean="0">
                  <a:solidFill>
                    <a:schemeClr val="bg1"/>
                  </a:solidFill>
                </a:rPr>
                <a:t>breaking</a:t>
              </a:r>
              <a:r>
                <a:rPr lang="nl-BE" sz="2400" b="1" kern="0" dirty="0" smtClean="0">
                  <a:solidFill>
                    <a:schemeClr val="bg1"/>
                  </a:solidFill>
                </a:rPr>
                <a:t/>
              </a:r>
              <a:br>
                <a:rPr lang="nl-BE" sz="2400" b="1" kern="0" dirty="0" smtClean="0">
                  <a:solidFill>
                    <a:schemeClr val="bg1"/>
                  </a:solidFill>
                </a:rPr>
              </a:br>
              <a:r>
                <a:rPr lang="nl-BE" sz="2400" b="1" kern="0" dirty="0" smtClean="0">
                  <a:solidFill>
                    <a:schemeClr val="bg1"/>
                  </a:solidFill>
                </a:rPr>
                <a:t>Q2-</a:t>
              </a:r>
              <a:r>
                <a:rPr lang="nl-BE" sz="2400" b="1" kern="0" dirty="0" smtClean="0">
                  <a:solidFill>
                    <a:schemeClr val="bg1"/>
                  </a:solidFill>
                </a:rPr>
                <a:t>2023</a:t>
              </a:r>
              <a:endParaRPr lang="nl-BE" sz="2400" b="1" kern="0" dirty="0">
                <a:solidFill>
                  <a:schemeClr val="bg1"/>
                </a:solidFill>
              </a:endParaRPr>
            </a:p>
          </p:txBody>
        </p:sp>
        <p:sp>
          <p:nvSpPr>
            <p:cNvPr id="4" name="Right Arrow 3"/>
            <p:cNvSpPr/>
            <p:nvPr/>
          </p:nvSpPr>
          <p:spPr>
            <a:xfrm>
              <a:off x="4549362" y="1484784"/>
              <a:ext cx="691670" cy="288032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80916" flipH="1">
            <a:off x="3688539" y="3777832"/>
            <a:ext cx="1065558" cy="103340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3709735" y="2962478"/>
            <a:ext cx="1119326" cy="1077274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615370" flipH="1">
            <a:off x="6676023" y="3759029"/>
            <a:ext cx="937070" cy="93742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197507" y="2987119"/>
            <a:ext cx="1028010" cy="930266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402153" y="4179106"/>
            <a:ext cx="826882" cy="88977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01046" flipH="1">
            <a:off x="2628549" y="3836262"/>
            <a:ext cx="907793" cy="90547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75392" flipH="1">
            <a:off x="4922799" y="2939321"/>
            <a:ext cx="958711" cy="70942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402153" y="3377210"/>
            <a:ext cx="1052962" cy="911787"/>
          </a:xfrm>
          <a:prstGeom prst="rect">
            <a:avLst/>
          </a:prstGeom>
        </p:spPr>
      </p:pic>
      <p:sp>
        <p:nvSpPr>
          <p:cNvPr id="19" name="Title 18"/>
          <p:cNvSpPr>
            <a:spLocks noGrp="1"/>
          </p:cNvSpPr>
          <p:nvPr>
            <p:ph type="title"/>
          </p:nvPr>
        </p:nvSpPr>
        <p:spPr>
          <a:xfrm>
            <a:off x="609600" y="-27384"/>
            <a:ext cx="10972800" cy="960107"/>
          </a:xfrm>
        </p:spPr>
        <p:txBody>
          <a:bodyPr/>
          <a:lstStyle/>
          <a:p>
            <a:r>
              <a:rPr lang="en-US" dirty="0" smtClean="0"/>
              <a:t>Conclusions</a:t>
            </a:r>
            <a:endParaRPr lang="en-US" dirty="0"/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1693162" y="748093"/>
            <a:ext cx="8702931" cy="2880320"/>
          </a:xfrm>
          <a:prstGeom prst="rect">
            <a:avLst/>
          </a:prstGeom>
        </p:spPr>
        <p:txBody>
          <a:bodyPr/>
          <a:lstStyle>
            <a:lvl1pPr algn="ctr" defTabSz="1072866" rtl="0" eaLnBrk="1" latinLnBrk="0" hangingPunct="1">
              <a:spcBef>
                <a:spcPct val="0"/>
              </a:spcBef>
              <a:buNone/>
              <a:defRPr lang="nl-BE" sz="2400" b="1" kern="0" dirty="0">
                <a:solidFill>
                  <a:srgbClr val="3E8FCD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pPr algn="l"/>
            <a:r>
              <a:rPr lang="en-US" dirty="0" smtClean="0">
                <a:solidFill>
                  <a:schemeClr val="tx1"/>
                </a:solidFill>
              </a:rPr>
              <a:t>Belgium sends a strong signal about its ambitions:</a:t>
            </a:r>
          </a:p>
          <a:p>
            <a:pPr marL="457200" indent="-457200" algn="l"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Maintaining a high level of </a:t>
            </a:r>
            <a:r>
              <a:rPr lang="en-US" sz="2000" dirty="0" smtClean="0">
                <a:solidFill>
                  <a:schemeClr val="tx1"/>
                </a:solidFill>
              </a:rPr>
              <a:t>know-how</a:t>
            </a:r>
            <a:r>
              <a:rPr lang="en-US" sz="2000" b="0" dirty="0" smtClean="0">
                <a:solidFill>
                  <a:schemeClr val="tx1"/>
                </a:solidFill>
              </a:rPr>
              <a:t> in the nuclear field</a:t>
            </a:r>
          </a:p>
          <a:p>
            <a:pPr marL="457200" indent="-457200" algn="l"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Becoming an </a:t>
            </a:r>
            <a:r>
              <a:rPr lang="en-US" sz="2000" dirty="0" smtClean="0">
                <a:solidFill>
                  <a:schemeClr val="tx1"/>
                </a:solidFill>
              </a:rPr>
              <a:t>international pole of attraction </a:t>
            </a:r>
            <a:r>
              <a:rPr lang="en-US" sz="2000" b="0" dirty="0" smtClean="0">
                <a:solidFill>
                  <a:schemeClr val="tx1"/>
                </a:solidFill>
              </a:rPr>
              <a:t>for young talents in nuclear applications</a:t>
            </a:r>
          </a:p>
          <a:p>
            <a:pPr marL="457200" indent="-457200" algn="l"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Convert innovations into </a:t>
            </a:r>
            <a:r>
              <a:rPr lang="en-US" sz="2000" dirty="0" smtClean="0">
                <a:solidFill>
                  <a:schemeClr val="tx1"/>
                </a:solidFill>
              </a:rPr>
              <a:t>solutions </a:t>
            </a:r>
            <a:r>
              <a:rPr lang="en-US" sz="2000" b="0" dirty="0" smtClean="0">
                <a:solidFill>
                  <a:schemeClr val="tx1"/>
                </a:solidFill>
              </a:rPr>
              <a:t>for </a:t>
            </a:r>
            <a:r>
              <a:rPr lang="en-US" sz="2000" dirty="0" smtClean="0">
                <a:solidFill>
                  <a:schemeClr val="tx1"/>
                </a:solidFill>
              </a:rPr>
              <a:t>societal challenges </a:t>
            </a:r>
            <a:r>
              <a:rPr lang="en-US" sz="2000" b="0" dirty="0" smtClean="0">
                <a:solidFill>
                  <a:schemeClr val="tx1"/>
                </a:solidFill>
              </a:rPr>
              <a:t>(nuclear waste, nuclear medicine, sustainability)</a:t>
            </a:r>
          </a:p>
          <a:p>
            <a:pPr marL="457200" indent="-457200" algn="l"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Encourage and welcome </a:t>
            </a:r>
            <a:r>
              <a:rPr lang="en-US" sz="2000" dirty="0" smtClean="0">
                <a:solidFill>
                  <a:schemeClr val="tx1"/>
                </a:solidFill>
              </a:rPr>
              <a:t>international cooperation and partnership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775520" y="2094323"/>
            <a:ext cx="8363278" cy="603811"/>
          </a:xfrm>
          <a:prstGeom prst="rect">
            <a:avLst/>
          </a:prstGeom>
          <a:solidFill>
            <a:srgbClr val="FFFF00">
              <a:alpha val="42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31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7708" y="1141545"/>
            <a:ext cx="5256584" cy="4984620"/>
          </a:xfrm>
        </p:spPr>
        <p:txBody>
          <a:bodyPr anchor="ctr">
            <a:noAutofit/>
          </a:bodyPr>
          <a:lstStyle/>
          <a:p>
            <a:pPr marL="0" indent="0" algn="ctr">
              <a:spcBef>
                <a:spcPct val="0"/>
              </a:spcBef>
              <a:buNone/>
            </a:pPr>
            <a:r>
              <a:rPr lang="en-US" sz="1300" b="1" kern="0" dirty="0"/>
              <a:t>Copyright © </a:t>
            </a:r>
            <a:r>
              <a:rPr lang="en-US" sz="1300" b="1" kern="0" dirty="0" smtClean="0"/>
              <a:t>2022 </a:t>
            </a:r>
            <a:r>
              <a:rPr lang="en-US" sz="1300" b="1" kern="0" dirty="0"/>
              <a:t>– SCK</a:t>
            </a:r>
            <a:r>
              <a:rPr lang="en-US" sz="1300" b="1" kern="0" dirty="0">
                <a:sym typeface="Wingdings" pitchFamily="2" charset="2"/>
              </a:rPr>
              <a:t> </a:t>
            </a:r>
            <a:r>
              <a:rPr lang="en-US" sz="1300" b="1" kern="0" dirty="0"/>
              <a:t>CEN</a:t>
            </a: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300" b="1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PLEASE NOTE!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/>
              <a:t>This presentation contains data, information and formats for dedicated use ONLY and may not be copied, distributed or cited without the explicit permission of the SCK CEN. </a:t>
            </a:r>
            <a:endParaRPr lang="en-GB" sz="1300" kern="0" dirty="0" smtClean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300" kern="0" dirty="0" smtClean="0"/>
              <a:t>If </a:t>
            </a:r>
            <a:r>
              <a:rPr lang="en-GB" sz="1300" kern="0" dirty="0"/>
              <a:t>this has been obtained, please reference it as a “personal communication. </a:t>
            </a:r>
            <a:r>
              <a:rPr lang="en-US" sz="1300" kern="0" dirty="0"/>
              <a:t>By c</a:t>
            </a:r>
            <a:r>
              <a:rPr lang="nl-BE" sz="1300" kern="0" dirty="0" err="1"/>
              <a:t>ourtesy</a:t>
            </a:r>
            <a:r>
              <a:rPr lang="nl-BE" sz="1300" kern="0" dirty="0"/>
              <a:t> of SCK CEN”.</a:t>
            </a:r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endParaRPr lang="nl-BE" sz="130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b="1" kern="0" dirty="0"/>
              <a:t>SCK CEN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nl-BE" sz="1050" kern="0" dirty="0" err="1"/>
              <a:t>Belgian</a:t>
            </a:r>
            <a:r>
              <a:rPr lang="nl-BE" sz="1050" kern="0" dirty="0"/>
              <a:t> </a:t>
            </a:r>
            <a:r>
              <a:rPr lang="nl-BE" sz="1050" kern="0" dirty="0" err="1"/>
              <a:t>Nuclear</a:t>
            </a:r>
            <a:r>
              <a:rPr lang="nl-BE" sz="1050" kern="0" dirty="0"/>
              <a:t> Research Centre</a:t>
            </a: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US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Stichting</a:t>
            </a:r>
            <a:r>
              <a:rPr lang="en-US" sz="1050" kern="0" dirty="0"/>
              <a:t> van </a:t>
            </a:r>
            <a:r>
              <a:rPr lang="en-US" sz="1050" kern="0" dirty="0" err="1"/>
              <a:t>Openbaar</a:t>
            </a:r>
            <a:r>
              <a:rPr lang="en-US" sz="1050" kern="0" dirty="0"/>
              <a:t> Nut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 err="1"/>
              <a:t>Fondation</a:t>
            </a:r>
            <a:r>
              <a:rPr lang="en-US" sz="1050" kern="0" dirty="0"/>
              <a:t> </a:t>
            </a:r>
            <a:r>
              <a:rPr lang="en-US" sz="1050" kern="0" dirty="0" err="1"/>
              <a:t>d'Utilité</a:t>
            </a:r>
            <a:r>
              <a:rPr lang="en-US" sz="1050" kern="0" dirty="0"/>
              <a:t> </a:t>
            </a:r>
            <a:r>
              <a:rPr lang="en-US" sz="1050" kern="0" dirty="0" err="1"/>
              <a:t>Publique</a:t>
            </a:r>
            <a:r>
              <a:rPr lang="en-US" sz="1050" kern="0" dirty="0"/>
              <a:t> 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US" sz="1050" kern="0" dirty="0"/>
              <a:t>Foundation of Public Utility</a:t>
            </a: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endParaRPr lang="en-GB" sz="1050" kern="0" dirty="0"/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Registered Office: Avenue Herrmann-</a:t>
            </a:r>
            <a:r>
              <a:rPr lang="en-GB" sz="1050" kern="0" dirty="0" err="1"/>
              <a:t>Debrouxlaan</a:t>
            </a:r>
            <a:r>
              <a:rPr lang="en-GB" sz="1050" kern="0" dirty="0"/>
              <a:t> 40 – B-1160 BRUSSELS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en-GB" sz="1050" kern="0" dirty="0"/>
              <a:t>Operational Office: </a:t>
            </a:r>
            <a:r>
              <a:rPr lang="en-GB" sz="1050" kern="0" dirty="0" err="1"/>
              <a:t>Boeretang</a:t>
            </a:r>
            <a:r>
              <a:rPr lang="en-GB" sz="1050" kern="0" dirty="0"/>
              <a:t> 200 – B-2400 MOL</a:t>
            </a:r>
            <a:r>
              <a:rPr lang="nl-NL" sz="1050" kern="0" dirty="0"/>
              <a:t> </a:t>
            </a:r>
            <a:endParaRPr lang="en-GB" sz="1050" kern="0" dirty="0"/>
          </a:p>
        </p:txBody>
      </p:sp>
    </p:spTree>
    <p:extLst>
      <p:ext uri="{BB962C8B-B14F-4D97-AF65-F5344CB8AC3E}">
        <p14:creationId xmlns:p14="http://schemas.microsoft.com/office/powerpoint/2010/main" val="3296918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66763" y="172033"/>
            <a:ext cx="10658475" cy="711201"/>
          </a:xfrm>
        </p:spPr>
        <p:txBody>
          <a:bodyPr/>
          <a:lstStyle/>
          <a:p>
            <a:pPr algn="ctr"/>
            <a:r>
              <a:rPr lang="en-US" dirty="0" smtClean="0"/>
              <a:t>Partitioning &amp; Transmut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814E660-BF25-4843-B2A0-93C6E2B6253B}" type="slidenum">
              <a:rPr lang="en-BE" smtClean="0"/>
              <a:pPr/>
              <a:t>4</a:t>
            </a:fld>
            <a:endParaRPr lang="en-BE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3200" y="1448365"/>
            <a:ext cx="5624435" cy="196622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" y="985203"/>
            <a:ext cx="5120690" cy="2892552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5166385" y="2046759"/>
            <a:ext cx="1478280" cy="76944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4400" b="1" dirty="0" smtClean="0">
                <a:solidFill>
                  <a:schemeClr val="accent2"/>
                </a:solidFill>
              </a:rPr>
              <a:t>vs</a:t>
            </a:r>
            <a:endParaRPr lang="en-US" sz="4400" b="1" dirty="0">
              <a:solidFill>
                <a:schemeClr val="accent2"/>
              </a:solidFill>
            </a:endParaRP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576287" y="3933056"/>
            <a:ext cx="11255495" cy="2791605"/>
          </a:xfrm>
        </p:spPr>
        <p:txBody>
          <a:bodyPr>
            <a:normAutofit fontScale="92500" lnSpcReduction="20000"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200" dirty="0" smtClean="0"/>
              <a:t>Just like for classical household waste we need </a:t>
            </a:r>
            <a:r>
              <a:rPr lang="en-US" sz="2200" b="1" dirty="0" smtClean="0"/>
              <a:t>sorting</a:t>
            </a:r>
            <a:r>
              <a:rPr lang="en-US" sz="2200" dirty="0" smtClean="0"/>
              <a:t> and then </a:t>
            </a:r>
            <a:r>
              <a:rPr lang="en-US" sz="2200" b="1" dirty="0" smtClean="0"/>
              <a:t>valorizing</a:t>
            </a:r>
            <a:r>
              <a:rPr lang="en-US" sz="2200" dirty="0" smtClean="0"/>
              <a:t> </a:t>
            </a:r>
            <a:r>
              <a:rPr lang="en-US" sz="2200" dirty="0" smtClean="0"/>
              <a:t>through </a:t>
            </a:r>
            <a:r>
              <a:rPr lang="en-US" sz="2200" dirty="0" smtClean="0"/>
              <a:t>recycling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200" dirty="0" smtClean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200" b="1" dirty="0" smtClean="0"/>
              <a:t>Partitioning</a:t>
            </a:r>
          </a:p>
          <a:p>
            <a:pPr lvl="1"/>
            <a:r>
              <a:rPr lang="en-US" dirty="0" smtClean="0"/>
              <a:t>Separate the ingredients of the spent fuel in “similar” categories we can treat in a similar way</a:t>
            </a:r>
            <a:endParaRPr lang="en-US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200" b="1" dirty="0"/>
              <a:t>Transmutation</a:t>
            </a:r>
          </a:p>
          <a:p>
            <a:pPr lvl="1"/>
            <a:r>
              <a:rPr lang="en-US" dirty="0" smtClean="0"/>
              <a:t>Use intense neutron field to transmute isotopes into others, less “nasty” and producing energy (circular economy)</a:t>
            </a:r>
          </a:p>
        </p:txBody>
      </p:sp>
    </p:spTree>
    <p:extLst>
      <p:ext uri="{BB962C8B-B14F-4D97-AF65-F5344CB8AC3E}">
        <p14:creationId xmlns:p14="http://schemas.microsoft.com/office/powerpoint/2010/main" val="1426145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882782" y="3136308"/>
            <a:ext cx="7689917" cy="2348665"/>
            <a:chOff x="1358781" y="3136307"/>
            <a:chExt cx="7689917" cy="2348665"/>
          </a:xfrm>
        </p:grpSpPr>
        <p:sp>
          <p:nvSpPr>
            <p:cNvPr id="27" name="Rectangle 26"/>
            <p:cNvSpPr/>
            <p:nvPr/>
          </p:nvSpPr>
          <p:spPr bwMode="auto">
            <a:xfrm>
              <a:off x="1358781" y="3136307"/>
              <a:ext cx="2238998" cy="2341547"/>
            </a:xfrm>
            <a:prstGeom prst="rect">
              <a:avLst/>
            </a:prstGeom>
            <a:solidFill>
              <a:schemeClr val="tx2">
                <a:alpha val="6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BE" sz="14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7296729" y="3143425"/>
              <a:ext cx="1751969" cy="2341547"/>
            </a:xfrm>
            <a:prstGeom prst="rect">
              <a:avLst/>
            </a:prstGeom>
            <a:solidFill>
              <a:schemeClr val="tx2">
                <a:alpha val="5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BE" sz="14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3597779" y="3143425"/>
              <a:ext cx="3698950" cy="2341547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BE" sz="1400">
                <a:solidFill>
                  <a:srgbClr val="000000"/>
                </a:solidFill>
                <a:latin typeface="Arial" charset="0"/>
              </a:endParaRPr>
            </a:p>
          </p:txBody>
        </p:sp>
      </p:grp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1789114" y="1572426"/>
          <a:ext cx="3366850" cy="46680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sz="2400" b="1" dirty="0" err="1" smtClean="0">
                <a:solidFill>
                  <a:srgbClr val="3E8FCD"/>
                </a:solidFill>
              </a:rPr>
              <a:t>Possible</a:t>
            </a:r>
            <a:r>
              <a:rPr lang="nl-BE" sz="2400" b="1" dirty="0" smtClean="0">
                <a:solidFill>
                  <a:srgbClr val="3E8FCD"/>
                </a:solidFill>
              </a:rPr>
              <a:t> </a:t>
            </a:r>
            <a:r>
              <a:rPr lang="nl-BE" sz="2400" b="1" dirty="0" err="1" smtClean="0">
                <a:solidFill>
                  <a:srgbClr val="3E8FCD"/>
                </a:solidFill>
              </a:rPr>
              <a:t>Fuel</a:t>
            </a:r>
            <a:r>
              <a:rPr lang="nl-BE" sz="2400" b="1" dirty="0" smtClean="0">
                <a:solidFill>
                  <a:srgbClr val="3E8FCD"/>
                </a:solidFill>
              </a:rPr>
              <a:t> </a:t>
            </a:r>
            <a:r>
              <a:rPr lang="nl-BE" sz="2400" b="1" dirty="0" err="1">
                <a:solidFill>
                  <a:srgbClr val="3E8FCD"/>
                </a:solidFill>
              </a:rPr>
              <a:t>Cycles</a:t>
            </a:r>
            <a:r>
              <a:rPr lang="nl-BE" sz="2400" b="1" dirty="0">
                <a:solidFill>
                  <a:srgbClr val="3E8FCD"/>
                </a:solidFill>
              </a:rPr>
              <a:t> </a:t>
            </a:r>
            <a:r>
              <a:rPr lang="nl-BE" sz="2400" b="1" dirty="0" err="1" smtClean="0">
                <a:solidFill>
                  <a:srgbClr val="3E8FCD"/>
                </a:solidFill>
              </a:rPr>
              <a:t>for</a:t>
            </a:r>
            <a:r>
              <a:rPr lang="nl-BE" sz="2400" b="1" dirty="0" smtClean="0">
                <a:solidFill>
                  <a:srgbClr val="3E8FCD"/>
                </a:solidFill>
              </a:rPr>
              <a:t> </a:t>
            </a:r>
            <a:r>
              <a:rPr lang="nl-BE" sz="2400" b="1" dirty="0">
                <a:solidFill>
                  <a:srgbClr val="3E8FCD"/>
                </a:solidFill>
              </a:rPr>
              <a:t>High Level Waste </a:t>
            </a:r>
            <a:r>
              <a:rPr lang="nl-BE" sz="2400" b="1" dirty="0" smtClean="0">
                <a:solidFill>
                  <a:srgbClr val="3E8FCD"/>
                </a:solidFill>
              </a:rPr>
              <a:t>treatment</a:t>
            </a:r>
            <a:endParaRPr lang="nl-BE" dirty="0"/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6950579" y="3127762"/>
            <a:ext cx="1743336" cy="7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 flipV="1">
            <a:off x="8933204" y="3127762"/>
            <a:ext cx="1555334" cy="7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/>
        </p:nvCxnSpPr>
        <p:spPr bwMode="auto">
          <a:xfrm>
            <a:off x="8933204" y="5509190"/>
            <a:ext cx="1555334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TextBox 2"/>
          <p:cNvSpPr txBox="1"/>
          <p:nvPr/>
        </p:nvSpPr>
        <p:spPr>
          <a:xfrm>
            <a:off x="5043441" y="1051126"/>
            <a:ext cx="1744769" cy="5232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1-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Once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Throug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No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Reprocessing</a:t>
            </a:r>
            <a:endParaRPr lang="nl-BE" sz="1400" b="1" dirty="0">
              <a:solidFill>
                <a:srgbClr val="FF0000"/>
              </a:solidFill>
              <a:latin typeface="Arial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 flipV="1">
            <a:off x="5027777" y="1571490"/>
            <a:ext cx="5544922" cy="142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/>
        </p:nvCxnSpPr>
        <p:spPr bwMode="auto">
          <a:xfrm>
            <a:off x="5043441" y="6211968"/>
            <a:ext cx="5330457" cy="142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/>
        </p:nvCxnSpPr>
        <p:spPr bwMode="auto">
          <a:xfrm>
            <a:off x="6788209" y="1572918"/>
            <a:ext cx="34184" cy="464047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>
            <a:off x="8803637" y="1597128"/>
            <a:ext cx="34184" cy="464047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TextBox 24"/>
          <p:cNvSpPr txBox="1"/>
          <p:nvPr/>
        </p:nvSpPr>
        <p:spPr>
          <a:xfrm>
            <a:off x="4993583" y="1615144"/>
            <a:ext cx="1794627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b="1" dirty="0" smtClean="0">
              <a:solidFill>
                <a:srgbClr val="FF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Spent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fuel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considered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as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HLW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to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go in  </a:t>
            </a:r>
            <a:r>
              <a:rPr lang="nl-BE" sz="1400" b="1" dirty="0" err="1">
                <a:solidFill>
                  <a:srgbClr val="FF0000"/>
                </a:solidFill>
                <a:latin typeface="Arial" charset="0"/>
              </a:rPr>
              <a:t>Geological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 err="1">
                <a:solidFill>
                  <a:srgbClr val="FF0000"/>
                </a:solidFill>
                <a:latin typeface="Arial" charset="0"/>
              </a:rPr>
              <a:t>Disposal</a:t>
            </a:r>
            <a:endParaRPr lang="nl-BE" sz="1400" b="1" dirty="0">
              <a:solidFill>
                <a:srgbClr val="FF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dirty="0" smtClean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Presently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adopted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in 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USA, 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SE, FIN</a:t>
            </a: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Decision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for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industria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Geo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Disp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construction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taken in SE &amp; FIN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not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yet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in USA</a:t>
            </a: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Radiotoxicity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of HLW for more </a:t>
            </a:r>
            <a:r>
              <a:rPr lang="nl-BE" sz="1400" b="1" dirty="0" err="1">
                <a:solidFill>
                  <a:srgbClr val="FF0000"/>
                </a:solidFill>
                <a:latin typeface="Arial" charset="0"/>
              </a:rPr>
              <a:t>than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 300,000 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67651" y="6228575"/>
            <a:ext cx="1744769" cy="307777"/>
          </a:xfrm>
          <a:prstGeom prst="rect">
            <a:avLst/>
          </a:prstGeom>
          <a:gradFill>
            <a:gsLst>
              <a:gs pos="0">
                <a:srgbClr val="00B050"/>
              </a:gs>
              <a:gs pos="58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5400000" scaled="0"/>
          </a:gradFill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>
                <a:solidFill>
                  <a:schemeClr val="bg1"/>
                </a:solidFill>
                <a:latin typeface="Arial" charset="0"/>
              </a:rPr>
              <a:t>Industrial </a:t>
            </a:r>
            <a:r>
              <a:rPr lang="nl-BE" sz="1400" b="1" dirty="0" err="1">
                <a:solidFill>
                  <a:schemeClr val="bg1"/>
                </a:solidFill>
                <a:latin typeface="Arial" charset="0"/>
              </a:rPr>
              <a:t>scale</a:t>
            </a:r>
            <a:endParaRPr lang="nl-BE" sz="1400" b="1" dirty="0">
              <a:solidFill>
                <a:schemeClr val="bg1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86814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  <p:bldP spid="3" grpId="0" animBg="1"/>
      <p:bldP spid="25" grpId="0"/>
      <p:bldP spid="3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882782" y="3136308"/>
            <a:ext cx="7689917" cy="2348665"/>
            <a:chOff x="1358781" y="3136307"/>
            <a:chExt cx="7689917" cy="2348665"/>
          </a:xfrm>
        </p:grpSpPr>
        <p:sp>
          <p:nvSpPr>
            <p:cNvPr id="27" name="Rectangle 26"/>
            <p:cNvSpPr/>
            <p:nvPr/>
          </p:nvSpPr>
          <p:spPr bwMode="auto">
            <a:xfrm>
              <a:off x="1358781" y="3136307"/>
              <a:ext cx="2238998" cy="2341547"/>
            </a:xfrm>
            <a:prstGeom prst="rect">
              <a:avLst/>
            </a:prstGeom>
            <a:solidFill>
              <a:schemeClr val="tx2">
                <a:alpha val="6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BE" sz="14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7296729" y="3143425"/>
              <a:ext cx="1751969" cy="2341547"/>
            </a:xfrm>
            <a:prstGeom prst="rect">
              <a:avLst/>
            </a:prstGeom>
            <a:solidFill>
              <a:schemeClr val="tx2">
                <a:alpha val="5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BE" sz="14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3597779" y="3143425"/>
              <a:ext cx="3698950" cy="2341547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BE" sz="1400">
                <a:solidFill>
                  <a:srgbClr val="000000"/>
                </a:solidFill>
                <a:latin typeface="Arial" charset="0"/>
              </a:endParaRPr>
            </a:p>
          </p:txBody>
        </p:sp>
      </p:grp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1789114" y="1572426"/>
          <a:ext cx="3366850" cy="46680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sz="2400" b="1" dirty="0" err="1" smtClean="0">
                <a:solidFill>
                  <a:srgbClr val="3E8FCD"/>
                </a:solidFill>
              </a:rPr>
              <a:t>Possible</a:t>
            </a:r>
            <a:r>
              <a:rPr lang="nl-BE" sz="2400" b="1" dirty="0" smtClean="0">
                <a:solidFill>
                  <a:srgbClr val="3E8FCD"/>
                </a:solidFill>
              </a:rPr>
              <a:t> </a:t>
            </a:r>
            <a:r>
              <a:rPr lang="nl-BE" sz="2400" b="1" dirty="0" err="1">
                <a:solidFill>
                  <a:srgbClr val="3E8FCD"/>
                </a:solidFill>
              </a:rPr>
              <a:t>Fuel</a:t>
            </a:r>
            <a:r>
              <a:rPr lang="nl-BE" sz="2400" b="1" dirty="0">
                <a:solidFill>
                  <a:srgbClr val="3E8FCD"/>
                </a:solidFill>
              </a:rPr>
              <a:t> </a:t>
            </a:r>
            <a:r>
              <a:rPr lang="nl-BE" sz="2400" b="1" dirty="0" err="1">
                <a:solidFill>
                  <a:srgbClr val="3E8FCD"/>
                </a:solidFill>
              </a:rPr>
              <a:t>Cycles</a:t>
            </a:r>
            <a:r>
              <a:rPr lang="nl-BE" sz="2400" b="1" dirty="0">
                <a:solidFill>
                  <a:srgbClr val="3E8FCD"/>
                </a:solidFill>
              </a:rPr>
              <a:t> </a:t>
            </a:r>
            <a:r>
              <a:rPr lang="nl-BE" sz="2400" b="1" dirty="0" err="1" smtClean="0">
                <a:solidFill>
                  <a:srgbClr val="3E8FCD"/>
                </a:solidFill>
              </a:rPr>
              <a:t>for</a:t>
            </a:r>
            <a:r>
              <a:rPr lang="nl-BE" sz="2400" b="1" dirty="0" smtClean="0">
                <a:solidFill>
                  <a:srgbClr val="3E8FCD"/>
                </a:solidFill>
              </a:rPr>
              <a:t> </a:t>
            </a:r>
            <a:r>
              <a:rPr lang="nl-BE" sz="2400" b="1" dirty="0">
                <a:solidFill>
                  <a:srgbClr val="3E8FCD"/>
                </a:solidFill>
              </a:rPr>
              <a:t>High Level Waste </a:t>
            </a:r>
            <a:r>
              <a:rPr lang="nl-BE" sz="2400" b="1" dirty="0" smtClean="0">
                <a:solidFill>
                  <a:srgbClr val="3E8FCD"/>
                </a:solidFill>
              </a:rPr>
              <a:t>treatment</a:t>
            </a:r>
            <a:endParaRPr lang="nl-BE" dirty="0"/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6950579" y="3127762"/>
            <a:ext cx="1743336" cy="7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 flipV="1">
            <a:off x="8933204" y="3127762"/>
            <a:ext cx="1555334" cy="7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/>
        </p:nvCxnSpPr>
        <p:spPr bwMode="auto">
          <a:xfrm>
            <a:off x="8933204" y="5509190"/>
            <a:ext cx="1555334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TextBox 2"/>
          <p:cNvSpPr txBox="1"/>
          <p:nvPr/>
        </p:nvSpPr>
        <p:spPr>
          <a:xfrm>
            <a:off x="5043441" y="1051126"/>
            <a:ext cx="1744769" cy="5232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1-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Once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Throug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No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Reprocessing</a:t>
            </a:r>
            <a:endParaRPr lang="nl-BE" sz="1400" b="1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96756" y="1049698"/>
            <a:ext cx="2006881" cy="5232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2- </a:t>
            </a:r>
            <a:r>
              <a:rPr lang="nl-BE" sz="1400" b="1" dirty="0" err="1" smtClean="0">
                <a:solidFill>
                  <a:srgbClr val="FFC000"/>
                </a:solidFill>
                <a:latin typeface="Arial" charset="0"/>
              </a:rPr>
              <a:t>Todays</a:t>
            </a: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C000"/>
                </a:solidFill>
                <a:latin typeface="Arial" charset="0"/>
              </a:rPr>
              <a:t>Recyclin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PUREX</a:t>
            </a:r>
            <a:endParaRPr lang="nl-BE" sz="1400" b="1" dirty="0">
              <a:solidFill>
                <a:srgbClr val="FFC000"/>
              </a:solidFill>
              <a:latin typeface="Arial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 flipV="1">
            <a:off x="5027777" y="1571490"/>
            <a:ext cx="5544922" cy="142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/>
        </p:nvCxnSpPr>
        <p:spPr bwMode="auto">
          <a:xfrm>
            <a:off x="5043441" y="6211968"/>
            <a:ext cx="5330457" cy="142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/>
        </p:nvCxnSpPr>
        <p:spPr bwMode="auto">
          <a:xfrm>
            <a:off x="6788209" y="1572918"/>
            <a:ext cx="34184" cy="464047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>
            <a:off x="8803637" y="1597128"/>
            <a:ext cx="34184" cy="464047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TextBox 24"/>
          <p:cNvSpPr txBox="1"/>
          <p:nvPr/>
        </p:nvSpPr>
        <p:spPr>
          <a:xfrm>
            <a:off x="4993583" y="1615144"/>
            <a:ext cx="1794627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b="1" dirty="0" smtClean="0">
              <a:solidFill>
                <a:srgbClr val="FF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All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1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ton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spent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fuel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considered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as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HLW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to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go in  </a:t>
            </a:r>
            <a:r>
              <a:rPr lang="nl-BE" sz="1400" b="1" dirty="0" err="1">
                <a:solidFill>
                  <a:srgbClr val="FF0000"/>
                </a:solidFill>
                <a:latin typeface="Arial" charset="0"/>
              </a:rPr>
              <a:t>Geological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 err="1">
                <a:solidFill>
                  <a:srgbClr val="FF0000"/>
                </a:solidFill>
                <a:latin typeface="Arial" charset="0"/>
              </a:rPr>
              <a:t>Disposal</a:t>
            </a:r>
            <a:endParaRPr lang="nl-BE" sz="1400" b="1" dirty="0">
              <a:solidFill>
                <a:srgbClr val="FF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dirty="0" smtClean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Presently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adopted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in 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USA, 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SE, FIN</a:t>
            </a: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Decision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for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industria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Geo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Disp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construction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taken in SE &amp; FIN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not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yet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in USA</a:t>
            </a: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Burden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of HLW for more </a:t>
            </a:r>
            <a:r>
              <a:rPr lang="nl-BE" sz="1400" b="1" dirty="0" err="1">
                <a:solidFill>
                  <a:srgbClr val="FF0000"/>
                </a:solidFill>
                <a:latin typeface="Arial" charset="0"/>
              </a:rPr>
              <a:t>than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 300,000 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67651" y="6228575"/>
            <a:ext cx="1744769" cy="307777"/>
          </a:xfrm>
          <a:prstGeom prst="rect">
            <a:avLst/>
          </a:prstGeom>
          <a:gradFill>
            <a:gsLst>
              <a:gs pos="0">
                <a:srgbClr val="00B050"/>
              </a:gs>
              <a:gs pos="58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5400000" scaled="0"/>
          </a:gradFill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>
                <a:solidFill>
                  <a:schemeClr val="bg1"/>
                </a:solidFill>
                <a:latin typeface="Arial" charset="0"/>
              </a:rPr>
              <a:t>Industrial </a:t>
            </a:r>
            <a:r>
              <a:rPr lang="nl-BE" sz="1400" b="1" dirty="0" err="1">
                <a:solidFill>
                  <a:schemeClr val="bg1"/>
                </a:solidFill>
                <a:latin typeface="Arial" charset="0"/>
              </a:rPr>
              <a:t>scale</a:t>
            </a:r>
            <a:endParaRPr lang="nl-BE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860883" y="6218601"/>
            <a:ext cx="1976939" cy="307777"/>
          </a:xfrm>
          <a:prstGeom prst="rect">
            <a:avLst/>
          </a:prstGeom>
          <a:gradFill>
            <a:gsLst>
              <a:gs pos="0">
                <a:srgbClr val="00B050"/>
              </a:gs>
              <a:gs pos="50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5400000" scaled="0"/>
          </a:gradFill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>
                <a:solidFill>
                  <a:schemeClr val="bg1"/>
                </a:solidFill>
                <a:latin typeface="Arial" charset="0"/>
              </a:rPr>
              <a:t>Industrial </a:t>
            </a:r>
            <a:r>
              <a:rPr lang="nl-BE" sz="1400" b="1" dirty="0" err="1">
                <a:solidFill>
                  <a:schemeClr val="bg1"/>
                </a:solidFill>
                <a:latin typeface="Arial" charset="0"/>
              </a:rPr>
              <a:t>scale</a:t>
            </a:r>
            <a:endParaRPr lang="nl-BE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778269" y="1647901"/>
            <a:ext cx="2035342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>
                <a:solidFill>
                  <a:srgbClr val="00B050"/>
                </a:solidFill>
                <a:latin typeface="Arial" charset="0"/>
              </a:rPr>
              <a:t>U + Pu </a:t>
            </a:r>
            <a:r>
              <a:rPr lang="nl-BE" sz="1400" dirty="0" err="1" smtClean="0">
                <a:solidFill>
                  <a:srgbClr val="00B050"/>
                </a:solidFill>
                <a:latin typeface="Arial" charset="0"/>
              </a:rPr>
              <a:t>recycled</a:t>
            </a:r>
            <a:r>
              <a:rPr lang="nl-BE" sz="1400" dirty="0" smtClean="0">
                <a:solidFill>
                  <a:srgbClr val="00B050"/>
                </a:solidFill>
                <a:latin typeface="Arial" charset="0"/>
              </a:rPr>
              <a:t> in </a:t>
            </a:r>
            <a:r>
              <a:rPr lang="nl-BE" sz="1400" dirty="0" err="1" smtClean="0">
                <a:solidFill>
                  <a:srgbClr val="00B050"/>
                </a:solidFill>
                <a:latin typeface="Arial" charset="0"/>
              </a:rPr>
              <a:t>PWRs</a:t>
            </a:r>
            <a:r>
              <a:rPr lang="nl-BE" sz="1400" dirty="0" smtClean="0">
                <a:solidFill>
                  <a:srgbClr val="00B050"/>
                </a:solidFill>
                <a:latin typeface="Arial" charset="0"/>
              </a:rPr>
              <a:t> or </a:t>
            </a:r>
            <a:r>
              <a:rPr lang="nl-BE" sz="1400" dirty="0" err="1" smtClean="0">
                <a:solidFill>
                  <a:srgbClr val="00B050"/>
                </a:solidFill>
                <a:latin typeface="Arial" charset="0"/>
              </a:rPr>
              <a:t>BWRs</a:t>
            </a:r>
            <a:endParaRPr lang="nl-BE" sz="1400" dirty="0" smtClean="0">
              <a:solidFill>
                <a:srgbClr val="00B05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smtClean="0">
                <a:solidFill>
                  <a:srgbClr val="FF0000"/>
                </a:solidFill>
                <a:latin typeface="Arial" charset="0"/>
              </a:rPr>
              <a:t>No recycling of MOX </a:t>
            </a:r>
            <a:r>
              <a:rPr lang="nl-BE" sz="1400" dirty="0" err="1" smtClean="0">
                <a:solidFill>
                  <a:srgbClr val="FF0000"/>
                </a:solidFill>
                <a:latin typeface="Arial" charset="0"/>
              </a:rPr>
              <a:t>fuels</a:t>
            </a:r>
            <a:endParaRPr lang="nl-BE" sz="1400" dirty="0">
              <a:solidFill>
                <a:srgbClr val="FF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C000"/>
                </a:solidFill>
                <a:latin typeface="Arial" charset="0"/>
              </a:rPr>
              <a:t>FPs</a:t>
            </a: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 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+  </a:t>
            </a:r>
            <a:r>
              <a:rPr lang="nl-BE" sz="1400" b="1" dirty="0" err="1" smtClean="0">
                <a:solidFill>
                  <a:srgbClr val="E25C72"/>
                </a:solidFill>
                <a:latin typeface="Arial" charset="0"/>
              </a:rPr>
              <a:t>MAs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E25C72"/>
                </a:solidFill>
                <a:latin typeface="Arial" charset="0"/>
              </a:rPr>
              <a:t>vitrified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E25C72"/>
                </a:solidFill>
                <a:latin typeface="Arial" charset="0"/>
              </a:rPr>
              <a:t>and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E25C72"/>
                </a:solidFill>
                <a:latin typeface="Arial" charset="0"/>
              </a:rPr>
              <a:t>to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 go </a:t>
            </a:r>
            <a:r>
              <a:rPr lang="nl-BE" sz="1400" b="1" dirty="0" err="1">
                <a:solidFill>
                  <a:srgbClr val="E25C72"/>
                </a:solidFill>
                <a:latin typeface="Arial" charset="0"/>
              </a:rPr>
              <a:t>to</a:t>
            </a:r>
            <a:r>
              <a:rPr lang="nl-BE" sz="1400" b="1" dirty="0">
                <a:solidFill>
                  <a:srgbClr val="E25C72"/>
                </a:solidFill>
                <a:latin typeface="Arial" charset="0"/>
              </a:rPr>
              <a:t> </a:t>
            </a:r>
            <a:r>
              <a:rPr lang="nl-BE" sz="1400" b="1" dirty="0" err="1">
                <a:solidFill>
                  <a:srgbClr val="E25C72"/>
                </a:solidFill>
                <a:latin typeface="Arial" charset="0"/>
              </a:rPr>
              <a:t>Geolo</a:t>
            </a:r>
            <a:r>
              <a:rPr lang="nl-BE" sz="1400" b="1" dirty="0">
                <a:solidFill>
                  <a:srgbClr val="E25C72"/>
                </a:solidFill>
                <a:latin typeface="Arial" charset="0"/>
              </a:rPr>
              <a:t>. </a:t>
            </a:r>
            <a:r>
              <a:rPr lang="nl-BE" sz="1400" b="1" dirty="0" err="1">
                <a:solidFill>
                  <a:srgbClr val="E25C72"/>
                </a:solidFill>
                <a:latin typeface="Arial" charset="0"/>
              </a:rPr>
              <a:t>Disp</a:t>
            </a:r>
            <a:r>
              <a:rPr lang="nl-BE" sz="1400" b="1" dirty="0">
                <a:solidFill>
                  <a:srgbClr val="E25C72"/>
                </a:solidFill>
                <a:latin typeface="Arial" charset="0"/>
              </a:rPr>
              <a:t>. </a:t>
            </a:r>
            <a:endParaRPr lang="nl-BE" sz="1400" b="1" dirty="0" smtClean="0">
              <a:solidFill>
                <a:srgbClr val="E25C72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b="1" dirty="0">
              <a:solidFill>
                <a:srgbClr val="E25C72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Presently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adopted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in FR, JP, …</a:t>
            </a:r>
          </a:p>
          <a:p>
            <a:pPr marL="108000" indent="108000" algn="ctr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>
                <a:solidFill>
                  <a:srgbClr val="000000"/>
                </a:solidFill>
                <a:latin typeface="Arial" charset="0"/>
              </a:rPr>
              <a:t>No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forma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decision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for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industria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Geo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Disp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yet</a:t>
            </a: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C000"/>
                </a:solidFill>
                <a:latin typeface="Arial" charset="0"/>
              </a:rPr>
              <a:t>Radiotoxicity</a:t>
            </a: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C000"/>
                </a:solidFill>
                <a:latin typeface="Arial" charset="0"/>
              </a:rPr>
              <a:t>of HLW for more </a:t>
            </a:r>
            <a:r>
              <a:rPr lang="nl-BE" sz="1400" b="1" dirty="0" err="1">
                <a:solidFill>
                  <a:srgbClr val="FFC000"/>
                </a:solidFill>
                <a:latin typeface="Arial" charset="0"/>
              </a:rPr>
              <a:t>than</a:t>
            </a:r>
            <a:r>
              <a:rPr lang="nl-BE" sz="1400" b="1" dirty="0">
                <a:solidFill>
                  <a:srgbClr val="FFC000"/>
                </a:solidFill>
                <a:latin typeface="Arial" charset="0"/>
              </a:rPr>
              <a:t> 10,000 y</a:t>
            </a:r>
          </a:p>
        </p:txBody>
      </p:sp>
    </p:spTree>
    <p:extLst>
      <p:ext uri="{BB962C8B-B14F-4D97-AF65-F5344CB8AC3E}">
        <p14:creationId xmlns:p14="http://schemas.microsoft.com/office/powerpoint/2010/main" val="29063604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2882782" y="3136308"/>
            <a:ext cx="7689917" cy="2348665"/>
            <a:chOff x="1358781" y="3136307"/>
            <a:chExt cx="7689917" cy="2348665"/>
          </a:xfrm>
        </p:grpSpPr>
        <p:sp>
          <p:nvSpPr>
            <p:cNvPr id="27" name="Rectangle 26"/>
            <p:cNvSpPr/>
            <p:nvPr/>
          </p:nvSpPr>
          <p:spPr bwMode="auto">
            <a:xfrm>
              <a:off x="1358781" y="3136307"/>
              <a:ext cx="2238998" cy="2341547"/>
            </a:xfrm>
            <a:prstGeom prst="rect">
              <a:avLst/>
            </a:prstGeom>
            <a:solidFill>
              <a:schemeClr val="tx2">
                <a:alpha val="60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BE" sz="14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9" name="Rectangle 28"/>
            <p:cNvSpPr/>
            <p:nvPr/>
          </p:nvSpPr>
          <p:spPr bwMode="auto">
            <a:xfrm>
              <a:off x="7296729" y="3143425"/>
              <a:ext cx="1751969" cy="2341547"/>
            </a:xfrm>
            <a:prstGeom prst="rect">
              <a:avLst/>
            </a:prstGeom>
            <a:solidFill>
              <a:schemeClr val="tx2">
                <a:alpha val="5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BE" sz="140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8" name="Rectangle 27"/>
            <p:cNvSpPr/>
            <p:nvPr/>
          </p:nvSpPr>
          <p:spPr bwMode="auto">
            <a:xfrm>
              <a:off x="3597779" y="3143425"/>
              <a:ext cx="3698950" cy="2341547"/>
            </a:xfrm>
            <a:prstGeom prst="rect">
              <a:avLst/>
            </a:prstGeom>
            <a:solidFill>
              <a:schemeClr val="accent1">
                <a:alpha val="15000"/>
              </a:schemeClr>
            </a:solidFill>
            <a:ln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nl-BE" sz="1400">
                <a:solidFill>
                  <a:srgbClr val="000000"/>
                </a:solidFill>
                <a:latin typeface="Arial" charset="0"/>
              </a:endParaRPr>
            </a:p>
          </p:txBody>
        </p:sp>
      </p:grp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1789114" y="1572426"/>
          <a:ext cx="3366850" cy="46680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l-BE" sz="2400" b="1" dirty="0" err="1" smtClean="0">
                <a:solidFill>
                  <a:srgbClr val="3E8FCD"/>
                </a:solidFill>
              </a:rPr>
              <a:t>Possible</a:t>
            </a:r>
            <a:r>
              <a:rPr lang="nl-BE" sz="2400" b="1" dirty="0" smtClean="0">
                <a:solidFill>
                  <a:srgbClr val="3E8FCD"/>
                </a:solidFill>
              </a:rPr>
              <a:t> </a:t>
            </a:r>
            <a:r>
              <a:rPr lang="nl-BE" sz="2400" b="1" dirty="0" err="1">
                <a:solidFill>
                  <a:srgbClr val="3E8FCD"/>
                </a:solidFill>
              </a:rPr>
              <a:t>Fuel</a:t>
            </a:r>
            <a:r>
              <a:rPr lang="nl-BE" sz="2400" b="1" dirty="0">
                <a:solidFill>
                  <a:srgbClr val="3E8FCD"/>
                </a:solidFill>
              </a:rPr>
              <a:t> </a:t>
            </a:r>
            <a:r>
              <a:rPr lang="nl-BE" sz="2400" b="1" dirty="0" err="1">
                <a:solidFill>
                  <a:srgbClr val="3E8FCD"/>
                </a:solidFill>
              </a:rPr>
              <a:t>Cycles</a:t>
            </a:r>
            <a:r>
              <a:rPr lang="nl-BE" sz="2400" b="1" dirty="0">
                <a:solidFill>
                  <a:srgbClr val="3E8FCD"/>
                </a:solidFill>
              </a:rPr>
              <a:t> </a:t>
            </a:r>
            <a:r>
              <a:rPr lang="nl-BE" sz="2400" b="1" dirty="0" err="1" smtClean="0">
                <a:solidFill>
                  <a:srgbClr val="3E8FCD"/>
                </a:solidFill>
              </a:rPr>
              <a:t>for</a:t>
            </a:r>
            <a:r>
              <a:rPr lang="nl-BE" sz="2400" b="1" dirty="0" smtClean="0">
                <a:solidFill>
                  <a:srgbClr val="3E8FCD"/>
                </a:solidFill>
              </a:rPr>
              <a:t> </a:t>
            </a:r>
            <a:r>
              <a:rPr lang="nl-BE" sz="2400" b="1" dirty="0">
                <a:solidFill>
                  <a:srgbClr val="3E8FCD"/>
                </a:solidFill>
              </a:rPr>
              <a:t>High Level Waste </a:t>
            </a:r>
            <a:r>
              <a:rPr lang="nl-BE" sz="2400" b="1" dirty="0" smtClean="0">
                <a:solidFill>
                  <a:srgbClr val="3E8FCD"/>
                </a:solidFill>
              </a:rPr>
              <a:t>treatment</a:t>
            </a:r>
            <a:endParaRPr lang="nl-BE" dirty="0"/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6950579" y="3127762"/>
            <a:ext cx="1743336" cy="7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 flipV="1">
            <a:off x="8933204" y="3127762"/>
            <a:ext cx="1555334" cy="7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Straight Connector 9"/>
          <p:cNvCxnSpPr/>
          <p:nvPr/>
        </p:nvCxnSpPr>
        <p:spPr bwMode="auto">
          <a:xfrm>
            <a:off x="8933204" y="5509190"/>
            <a:ext cx="1555334" cy="0"/>
          </a:xfrm>
          <a:prstGeom prst="line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TextBox 2"/>
          <p:cNvSpPr txBox="1"/>
          <p:nvPr/>
        </p:nvSpPr>
        <p:spPr>
          <a:xfrm>
            <a:off x="5043441" y="1051126"/>
            <a:ext cx="1744769" cy="5232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1-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Once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Through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No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Reprocessing</a:t>
            </a:r>
            <a:endParaRPr lang="nl-BE" sz="1400" b="1" dirty="0">
              <a:solidFill>
                <a:srgbClr val="FF0000"/>
              </a:solidFill>
              <a:latin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796756" y="1049698"/>
            <a:ext cx="2006881" cy="5232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2- </a:t>
            </a:r>
            <a:r>
              <a:rPr lang="nl-BE" sz="1400" b="1" dirty="0" err="1" smtClean="0">
                <a:solidFill>
                  <a:srgbClr val="FFC000"/>
                </a:solidFill>
                <a:latin typeface="Arial" charset="0"/>
              </a:rPr>
              <a:t>Todays</a:t>
            </a: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C000"/>
                </a:solidFill>
                <a:latin typeface="Arial" charset="0"/>
              </a:rPr>
              <a:t>Recyclin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PUREX</a:t>
            </a:r>
            <a:endParaRPr lang="nl-BE" sz="1400" b="1" dirty="0">
              <a:solidFill>
                <a:srgbClr val="FFC000"/>
              </a:solidFill>
              <a:latin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820729" y="1048270"/>
            <a:ext cx="1751969" cy="52322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00B050"/>
                </a:solidFill>
                <a:latin typeface="Arial" charset="0"/>
              </a:rPr>
              <a:t>3- Advanced Recycling (P&amp;T)</a:t>
            </a:r>
            <a:endParaRPr lang="nl-BE" sz="1400" b="1" dirty="0">
              <a:solidFill>
                <a:srgbClr val="00B050"/>
              </a:solidFill>
              <a:latin typeface="Arial" charset="0"/>
            </a:endParaRPr>
          </a:p>
        </p:txBody>
      </p:sp>
      <p:cxnSp>
        <p:nvCxnSpPr>
          <p:cNvPr id="7" name="Straight Connector 6"/>
          <p:cNvCxnSpPr/>
          <p:nvPr/>
        </p:nvCxnSpPr>
        <p:spPr bwMode="auto">
          <a:xfrm flipV="1">
            <a:off x="5027777" y="1571490"/>
            <a:ext cx="5544922" cy="142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12"/>
          <p:cNvCxnSpPr/>
          <p:nvPr/>
        </p:nvCxnSpPr>
        <p:spPr bwMode="auto">
          <a:xfrm>
            <a:off x="5043441" y="6211968"/>
            <a:ext cx="5330457" cy="142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Connector 14"/>
          <p:cNvCxnSpPr/>
          <p:nvPr/>
        </p:nvCxnSpPr>
        <p:spPr bwMode="auto">
          <a:xfrm>
            <a:off x="6788209" y="1572918"/>
            <a:ext cx="34184" cy="464047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Connector 15"/>
          <p:cNvCxnSpPr/>
          <p:nvPr/>
        </p:nvCxnSpPr>
        <p:spPr bwMode="auto">
          <a:xfrm>
            <a:off x="8803637" y="1597128"/>
            <a:ext cx="34184" cy="4640478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TextBox 24"/>
          <p:cNvSpPr txBox="1"/>
          <p:nvPr/>
        </p:nvSpPr>
        <p:spPr>
          <a:xfrm>
            <a:off x="4993583" y="1615144"/>
            <a:ext cx="1794627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b="1" dirty="0" smtClean="0">
              <a:solidFill>
                <a:srgbClr val="FF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All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1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ton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spent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fuel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considered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as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HLW </a:t>
            </a: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to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go in  </a:t>
            </a:r>
            <a:r>
              <a:rPr lang="nl-BE" sz="1400" b="1" dirty="0" err="1">
                <a:solidFill>
                  <a:srgbClr val="FF0000"/>
                </a:solidFill>
                <a:latin typeface="Arial" charset="0"/>
              </a:rPr>
              <a:t>Geological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 err="1">
                <a:solidFill>
                  <a:srgbClr val="FF0000"/>
                </a:solidFill>
                <a:latin typeface="Arial" charset="0"/>
              </a:rPr>
              <a:t>Disposal</a:t>
            </a:r>
            <a:endParaRPr lang="nl-BE" sz="1400" b="1" dirty="0">
              <a:solidFill>
                <a:srgbClr val="FF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dirty="0" smtClean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Presently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adopted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in 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USA, 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SE, FIN</a:t>
            </a: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Decision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for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industria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Geo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Disp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construction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taken in SE &amp; FIN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not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yet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in USA</a:t>
            </a: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0000"/>
                </a:solidFill>
                <a:latin typeface="Arial" charset="0"/>
              </a:rPr>
              <a:t>Burden</a:t>
            </a:r>
            <a:r>
              <a:rPr lang="nl-BE" sz="1400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of HLW for more </a:t>
            </a:r>
            <a:r>
              <a:rPr lang="nl-BE" sz="1400" b="1" dirty="0" err="1">
                <a:solidFill>
                  <a:srgbClr val="FF0000"/>
                </a:solidFill>
                <a:latin typeface="Arial" charset="0"/>
              </a:rPr>
              <a:t>than</a:t>
            </a:r>
            <a:r>
              <a:rPr lang="nl-BE" sz="1400" b="1" dirty="0">
                <a:solidFill>
                  <a:srgbClr val="FF0000"/>
                </a:solidFill>
                <a:latin typeface="Arial" charset="0"/>
              </a:rPr>
              <a:t> 300,000 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67651" y="6228575"/>
            <a:ext cx="1744769" cy="307777"/>
          </a:xfrm>
          <a:prstGeom prst="rect">
            <a:avLst/>
          </a:prstGeom>
          <a:gradFill>
            <a:gsLst>
              <a:gs pos="0">
                <a:srgbClr val="00B050"/>
              </a:gs>
              <a:gs pos="58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5400000" scaled="0"/>
          </a:gradFill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>
                <a:solidFill>
                  <a:schemeClr val="bg1"/>
                </a:solidFill>
                <a:latin typeface="Arial" charset="0"/>
              </a:rPr>
              <a:t>Industrial </a:t>
            </a:r>
            <a:r>
              <a:rPr lang="nl-BE" sz="1400" b="1" dirty="0" err="1">
                <a:solidFill>
                  <a:schemeClr val="bg1"/>
                </a:solidFill>
                <a:latin typeface="Arial" charset="0"/>
              </a:rPr>
              <a:t>scale</a:t>
            </a:r>
            <a:endParaRPr lang="nl-BE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860883" y="6218601"/>
            <a:ext cx="1976939" cy="307777"/>
          </a:xfrm>
          <a:prstGeom prst="rect">
            <a:avLst/>
          </a:prstGeom>
          <a:gradFill>
            <a:gsLst>
              <a:gs pos="0">
                <a:srgbClr val="00B050"/>
              </a:gs>
              <a:gs pos="50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5400000" scaled="0"/>
          </a:gradFill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>
                <a:solidFill>
                  <a:schemeClr val="bg1"/>
                </a:solidFill>
                <a:latin typeface="Arial" charset="0"/>
              </a:rPr>
              <a:t>Industrial </a:t>
            </a:r>
            <a:r>
              <a:rPr lang="nl-BE" sz="1400" b="1" dirty="0" err="1">
                <a:solidFill>
                  <a:schemeClr val="bg1"/>
                </a:solidFill>
                <a:latin typeface="Arial" charset="0"/>
              </a:rPr>
              <a:t>scale</a:t>
            </a:r>
            <a:endParaRPr lang="nl-BE" sz="14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8892720" y="6229061"/>
            <a:ext cx="1744769" cy="307777"/>
          </a:xfrm>
          <a:prstGeom prst="rect">
            <a:avLst/>
          </a:prstGeom>
          <a:gradFill>
            <a:gsLst>
              <a:gs pos="37000">
                <a:srgbClr val="FFC000"/>
              </a:gs>
              <a:gs pos="0">
                <a:srgbClr val="FFC000"/>
              </a:gs>
              <a:gs pos="74000">
                <a:srgbClr val="00B050"/>
              </a:gs>
              <a:gs pos="83000">
                <a:srgbClr val="00B050"/>
              </a:gs>
              <a:gs pos="100000">
                <a:srgbClr val="00B050"/>
              </a:gs>
            </a:gsLst>
            <a:lin ang="5400000" scaled="1"/>
          </a:gradFill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>
                <a:solidFill>
                  <a:srgbClr val="000000"/>
                </a:solidFill>
                <a:latin typeface="Arial" charset="0"/>
              </a:rPr>
              <a:t>R&amp;D level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703308" y="1647901"/>
            <a:ext cx="2189411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>
                <a:solidFill>
                  <a:srgbClr val="FFC000"/>
                </a:solidFill>
                <a:latin typeface="Arial" charset="0"/>
              </a:rPr>
              <a:t>U + Pu </a:t>
            </a:r>
            <a:r>
              <a:rPr lang="nl-BE" sz="1400" dirty="0" err="1" smtClean="0">
                <a:solidFill>
                  <a:srgbClr val="FFC000"/>
                </a:solidFill>
                <a:latin typeface="Arial" charset="0"/>
              </a:rPr>
              <a:t>recycled</a:t>
            </a:r>
            <a:r>
              <a:rPr lang="nl-BE" sz="1400" dirty="0" smtClean="0">
                <a:solidFill>
                  <a:srgbClr val="FFC000"/>
                </a:solidFill>
                <a:latin typeface="Arial" charset="0"/>
              </a:rPr>
              <a:t> in </a:t>
            </a:r>
            <a:r>
              <a:rPr lang="nl-BE" sz="1400" dirty="0" err="1" smtClean="0">
                <a:solidFill>
                  <a:srgbClr val="FFC000"/>
                </a:solidFill>
                <a:latin typeface="Arial" charset="0"/>
              </a:rPr>
              <a:t>PWRs</a:t>
            </a:r>
            <a:r>
              <a:rPr lang="nl-BE" sz="1400" dirty="0" smtClean="0">
                <a:solidFill>
                  <a:srgbClr val="FFC000"/>
                </a:solidFill>
                <a:latin typeface="Arial" charset="0"/>
              </a:rPr>
              <a:t> or </a:t>
            </a:r>
            <a:r>
              <a:rPr lang="nl-BE" sz="1400" dirty="0" err="1" smtClean="0">
                <a:solidFill>
                  <a:srgbClr val="FFC000"/>
                </a:solidFill>
                <a:latin typeface="Arial" charset="0"/>
              </a:rPr>
              <a:t>BWRs</a:t>
            </a:r>
            <a:endParaRPr lang="nl-BE" sz="1400" dirty="0" smtClean="0">
              <a:solidFill>
                <a:srgbClr val="FFC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smtClean="0">
                <a:solidFill>
                  <a:srgbClr val="FF0000"/>
                </a:solidFill>
                <a:latin typeface="Arial" charset="0"/>
              </a:rPr>
              <a:t>No recycling of MOX </a:t>
            </a:r>
            <a:r>
              <a:rPr lang="nl-BE" sz="1400" dirty="0" err="1" smtClean="0">
                <a:solidFill>
                  <a:srgbClr val="FF0000"/>
                </a:solidFill>
                <a:latin typeface="Arial" charset="0"/>
              </a:rPr>
              <a:t>fuels</a:t>
            </a:r>
            <a:endParaRPr lang="nl-BE" sz="1400" dirty="0">
              <a:solidFill>
                <a:srgbClr val="FF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C000"/>
                </a:solidFill>
                <a:latin typeface="Arial" charset="0"/>
              </a:rPr>
              <a:t>FPs</a:t>
            </a: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 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+  </a:t>
            </a:r>
            <a:r>
              <a:rPr lang="nl-BE" sz="1400" b="1" dirty="0" err="1" smtClean="0">
                <a:solidFill>
                  <a:srgbClr val="E25C72"/>
                </a:solidFill>
                <a:latin typeface="Arial" charset="0"/>
              </a:rPr>
              <a:t>MAs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E25C72"/>
                </a:solidFill>
                <a:latin typeface="Arial" charset="0"/>
              </a:rPr>
              <a:t>vitrified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E25C72"/>
                </a:solidFill>
                <a:latin typeface="Arial" charset="0"/>
              </a:rPr>
              <a:t>and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E25C72"/>
                </a:solidFill>
                <a:latin typeface="Arial" charset="0"/>
              </a:rPr>
              <a:t>to</a:t>
            </a:r>
            <a:r>
              <a:rPr lang="nl-BE" sz="1400" b="1" dirty="0" smtClean="0">
                <a:solidFill>
                  <a:srgbClr val="E25C72"/>
                </a:solidFill>
                <a:latin typeface="Arial" charset="0"/>
              </a:rPr>
              <a:t> go </a:t>
            </a:r>
            <a:r>
              <a:rPr lang="nl-BE" sz="1400" b="1" dirty="0" err="1">
                <a:solidFill>
                  <a:srgbClr val="E25C72"/>
                </a:solidFill>
                <a:latin typeface="Arial" charset="0"/>
              </a:rPr>
              <a:t>to</a:t>
            </a:r>
            <a:r>
              <a:rPr lang="nl-BE" sz="1400" b="1" dirty="0">
                <a:solidFill>
                  <a:srgbClr val="E25C72"/>
                </a:solidFill>
                <a:latin typeface="Arial" charset="0"/>
              </a:rPr>
              <a:t> </a:t>
            </a:r>
            <a:r>
              <a:rPr lang="nl-BE" sz="1400" b="1" dirty="0" err="1">
                <a:solidFill>
                  <a:srgbClr val="E25C72"/>
                </a:solidFill>
                <a:latin typeface="Arial" charset="0"/>
              </a:rPr>
              <a:t>Geolo</a:t>
            </a:r>
            <a:r>
              <a:rPr lang="nl-BE" sz="1400" b="1" dirty="0">
                <a:solidFill>
                  <a:srgbClr val="E25C72"/>
                </a:solidFill>
                <a:latin typeface="Arial" charset="0"/>
              </a:rPr>
              <a:t>. </a:t>
            </a:r>
            <a:r>
              <a:rPr lang="nl-BE" sz="1400" b="1" dirty="0" err="1">
                <a:solidFill>
                  <a:srgbClr val="E25C72"/>
                </a:solidFill>
                <a:latin typeface="Arial" charset="0"/>
              </a:rPr>
              <a:t>Disp</a:t>
            </a:r>
            <a:r>
              <a:rPr lang="nl-BE" sz="1400" b="1" dirty="0">
                <a:solidFill>
                  <a:srgbClr val="E25C72"/>
                </a:solidFill>
                <a:latin typeface="Arial" charset="0"/>
              </a:rPr>
              <a:t>. </a:t>
            </a:r>
            <a:endParaRPr lang="nl-BE" sz="1400" b="1" dirty="0" smtClean="0">
              <a:solidFill>
                <a:srgbClr val="E25C72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b="1" dirty="0">
              <a:solidFill>
                <a:srgbClr val="E25C72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Presently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adopted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in FR, JP, …</a:t>
            </a:r>
          </a:p>
          <a:p>
            <a:pPr marL="108000" indent="108000" algn="ctr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1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>
                <a:solidFill>
                  <a:srgbClr val="000000"/>
                </a:solidFill>
                <a:latin typeface="Arial" charset="0"/>
              </a:rPr>
              <a:t>No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forma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decision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for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industria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Geol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Disp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.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yet</a:t>
            </a: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FFC000"/>
                </a:solidFill>
                <a:latin typeface="Arial" charset="0"/>
              </a:rPr>
              <a:t>Burden</a:t>
            </a:r>
            <a:r>
              <a:rPr lang="nl-BE" sz="1400" b="1" dirty="0" smtClean="0">
                <a:solidFill>
                  <a:srgbClr val="FFC000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FFC000"/>
                </a:solidFill>
                <a:latin typeface="Arial" charset="0"/>
              </a:rPr>
              <a:t>of HLW for more </a:t>
            </a:r>
            <a:r>
              <a:rPr lang="nl-BE" sz="1400" b="1" dirty="0" err="1">
                <a:solidFill>
                  <a:srgbClr val="FFC000"/>
                </a:solidFill>
                <a:latin typeface="Arial" charset="0"/>
              </a:rPr>
              <a:t>than</a:t>
            </a:r>
            <a:r>
              <a:rPr lang="nl-BE" sz="1400" b="1" dirty="0">
                <a:solidFill>
                  <a:srgbClr val="FFC000"/>
                </a:solidFill>
                <a:latin typeface="Arial" charset="0"/>
              </a:rPr>
              <a:t> 10,000 y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8837821" y="1649405"/>
            <a:ext cx="1734878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>
                <a:solidFill>
                  <a:srgbClr val="000000"/>
                </a:solidFill>
                <a:latin typeface="Arial" charset="0"/>
              </a:rPr>
              <a:t>U + Pu </a:t>
            </a: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recycled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in PWR or FR</a:t>
            </a: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 smtClean="0">
                <a:solidFill>
                  <a:srgbClr val="000000"/>
                </a:solidFill>
                <a:latin typeface="Arial" charset="0"/>
              </a:rPr>
              <a:t>MAs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 in ADS</a:t>
            </a: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smtClean="0">
                <a:solidFill>
                  <a:srgbClr val="007E39"/>
                </a:solidFill>
                <a:latin typeface="Arial" charset="0"/>
              </a:rPr>
              <a:t>MA are </a:t>
            </a:r>
            <a:r>
              <a:rPr lang="nl-BE" sz="1400" b="1" dirty="0" err="1" smtClean="0">
                <a:solidFill>
                  <a:srgbClr val="007E39"/>
                </a:solidFill>
                <a:latin typeface="Arial" charset="0"/>
              </a:rPr>
              <a:t>turned</a:t>
            </a:r>
            <a:r>
              <a:rPr lang="nl-BE" sz="1400" b="1" dirty="0" smtClean="0">
                <a:solidFill>
                  <a:srgbClr val="007E39"/>
                </a:solidFill>
                <a:latin typeface="Arial" charset="0"/>
              </a:rPr>
              <a:t> in </a:t>
            </a:r>
            <a:r>
              <a:rPr lang="nl-BE" sz="1400" b="1" dirty="0" err="1" smtClean="0">
                <a:solidFill>
                  <a:srgbClr val="007E39"/>
                </a:solidFill>
                <a:latin typeface="Arial" charset="0"/>
              </a:rPr>
              <a:t>FPs</a:t>
            </a:r>
            <a:r>
              <a:rPr lang="nl-BE" sz="1400" b="1" dirty="0" smtClean="0">
                <a:solidFill>
                  <a:srgbClr val="007E39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007E39"/>
                </a:solidFill>
                <a:latin typeface="Arial" charset="0"/>
              </a:rPr>
              <a:t>to</a:t>
            </a:r>
            <a:r>
              <a:rPr lang="nl-BE" sz="1400" b="1" dirty="0" smtClean="0">
                <a:solidFill>
                  <a:srgbClr val="007E39"/>
                </a:solidFill>
                <a:latin typeface="Arial" charset="0"/>
              </a:rPr>
              <a:t> go </a:t>
            </a:r>
            <a:r>
              <a:rPr lang="nl-BE" sz="1400" b="1" dirty="0" err="1" smtClean="0">
                <a:solidFill>
                  <a:srgbClr val="007E39"/>
                </a:solidFill>
                <a:latin typeface="Arial" charset="0"/>
              </a:rPr>
              <a:t>to</a:t>
            </a:r>
            <a:r>
              <a:rPr lang="nl-BE" sz="1400" b="1" dirty="0" smtClean="0">
                <a:solidFill>
                  <a:srgbClr val="007E39"/>
                </a:solidFill>
                <a:latin typeface="Arial" charset="0"/>
              </a:rPr>
              <a:t> </a:t>
            </a:r>
            <a:r>
              <a:rPr lang="nl-BE" sz="1400" b="1" dirty="0" err="1" smtClean="0">
                <a:solidFill>
                  <a:srgbClr val="007E39"/>
                </a:solidFill>
                <a:latin typeface="Arial" charset="0"/>
              </a:rPr>
              <a:t>Geolo</a:t>
            </a:r>
            <a:r>
              <a:rPr lang="nl-BE" sz="1400" b="1" dirty="0">
                <a:solidFill>
                  <a:srgbClr val="007E39"/>
                </a:solidFill>
                <a:latin typeface="Arial" charset="0"/>
              </a:rPr>
              <a:t>. </a:t>
            </a:r>
            <a:r>
              <a:rPr lang="nl-BE" sz="1400" b="1" dirty="0" err="1">
                <a:solidFill>
                  <a:srgbClr val="007E39"/>
                </a:solidFill>
                <a:latin typeface="Arial" charset="0"/>
              </a:rPr>
              <a:t>Disp</a:t>
            </a:r>
            <a:r>
              <a:rPr lang="nl-BE" sz="1400" b="1" dirty="0">
                <a:solidFill>
                  <a:srgbClr val="007E39"/>
                </a:solidFill>
                <a:latin typeface="Arial" charset="0"/>
              </a:rPr>
              <a:t>. In </a:t>
            </a:r>
            <a:r>
              <a:rPr lang="nl-BE" sz="1400" b="1" dirty="0" err="1">
                <a:solidFill>
                  <a:srgbClr val="007E39"/>
                </a:solidFill>
                <a:latin typeface="Arial" charset="0"/>
              </a:rPr>
              <a:t>specific</a:t>
            </a:r>
            <a:r>
              <a:rPr lang="nl-BE" sz="1400" b="1" dirty="0">
                <a:solidFill>
                  <a:srgbClr val="007E39"/>
                </a:solidFill>
                <a:latin typeface="Arial" charset="0"/>
              </a:rPr>
              <a:t> </a:t>
            </a:r>
            <a:r>
              <a:rPr lang="nl-BE" sz="1400" b="1" dirty="0" err="1">
                <a:solidFill>
                  <a:srgbClr val="007E39"/>
                </a:solidFill>
                <a:latin typeface="Arial" charset="0"/>
              </a:rPr>
              <a:t>packaging</a:t>
            </a:r>
            <a:endParaRPr lang="nl-BE" sz="1400" b="1" dirty="0">
              <a:solidFill>
                <a:srgbClr val="007E39"/>
              </a:solidFill>
              <a:latin typeface="Arial" charset="0"/>
            </a:endParaRPr>
          </a:p>
          <a:p>
            <a:pPr marL="108000" indent="1080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nl-BE" sz="10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Presently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R&amp;D </a:t>
            </a:r>
            <a:r>
              <a:rPr lang="nl-BE" sz="1400" dirty="0" err="1">
                <a:solidFill>
                  <a:srgbClr val="000000"/>
                </a:solidFill>
                <a:latin typeface="Arial" charset="0"/>
              </a:rPr>
              <a:t>programme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 (FR, JP, 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BE, </a:t>
            </a:r>
            <a:r>
              <a:rPr lang="nl-BE" sz="1400" b="1" dirty="0" smtClean="0">
                <a:solidFill>
                  <a:srgbClr val="000000"/>
                </a:solidFill>
                <a:latin typeface="Arial" charset="0"/>
              </a:rPr>
              <a:t>DE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, EU</a:t>
            </a:r>
            <a:r>
              <a:rPr lang="nl-BE" sz="1400" dirty="0">
                <a:solidFill>
                  <a:srgbClr val="000000"/>
                </a:solidFill>
                <a:latin typeface="Arial" charset="0"/>
              </a:rPr>
              <a:t>, CN, ROK, USA</a:t>
            </a:r>
            <a:r>
              <a:rPr lang="nl-BE" sz="1400" dirty="0" smtClean="0">
                <a:solidFill>
                  <a:srgbClr val="000000"/>
                </a:solidFill>
                <a:latin typeface="Arial" charset="0"/>
              </a:rPr>
              <a:t>)</a:t>
            </a:r>
            <a:endParaRPr lang="nl-BE" sz="1400" dirty="0">
              <a:solidFill>
                <a:srgbClr val="000000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500" b="1" dirty="0" smtClean="0">
              <a:solidFill>
                <a:srgbClr val="007E39"/>
              </a:solidFill>
              <a:latin typeface="Arial" charset="0"/>
            </a:endParaRPr>
          </a:p>
          <a:p>
            <a:pPr marL="10800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l-BE" sz="1400" b="1" dirty="0" err="1" smtClean="0">
                <a:solidFill>
                  <a:srgbClr val="007E39"/>
                </a:solidFill>
                <a:latin typeface="Arial" charset="0"/>
              </a:rPr>
              <a:t>Radiotoxicity</a:t>
            </a:r>
            <a:r>
              <a:rPr lang="nl-BE" sz="1400" b="1" dirty="0" smtClean="0">
                <a:solidFill>
                  <a:srgbClr val="007E39"/>
                </a:solidFill>
                <a:latin typeface="Arial" charset="0"/>
              </a:rPr>
              <a:t> </a:t>
            </a:r>
            <a:r>
              <a:rPr lang="nl-BE" sz="1400" b="1" dirty="0">
                <a:solidFill>
                  <a:srgbClr val="007E39"/>
                </a:solidFill>
                <a:latin typeface="Arial" charset="0"/>
              </a:rPr>
              <a:t>of HLW for ~300 y</a:t>
            </a:r>
          </a:p>
        </p:txBody>
      </p:sp>
    </p:spTree>
    <p:extLst>
      <p:ext uri="{BB962C8B-B14F-4D97-AF65-F5344CB8AC3E}">
        <p14:creationId xmlns:p14="http://schemas.microsoft.com/office/powerpoint/2010/main" val="232415790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0" name="Picture 16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b="-12654"/>
          <a:stretch/>
        </p:blipFill>
        <p:spPr>
          <a:xfrm>
            <a:off x="0" y="0"/>
            <a:ext cx="12216681" cy="7802414"/>
          </a:xfrm>
          <a:prstGeom prst="rect">
            <a:avLst/>
          </a:prstGeom>
        </p:spPr>
      </p:pic>
      <p:sp>
        <p:nvSpPr>
          <p:cNvPr id="174" name="Rounded Rectangle 173"/>
          <p:cNvSpPr/>
          <p:nvPr/>
        </p:nvSpPr>
        <p:spPr>
          <a:xfrm>
            <a:off x="65462" y="320722"/>
            <a:ext cx="11688411" cy="6537278"/>
          </a:xfrm>
          <a:prstGeom prst="roundRect">
            <a:avLst>
              <a:gd name="adj" fmla="val 1544"/>
            </a:avLst>
          </a:prstGeom>
          <a:solidFill>
            <a:schemeClr val="accent5">
              <a:lumMod val="20000"/>
              <a:lumOff val="8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-107142" y="404664"/>
            <a:ext cx="11837468" cy="5742245"/>
            <a:chOff x="-107142" y="696182"/>
            <a:chExt cx="11837468" cy="5742245"/>
          </a:xfrm>
        </p:grpSpPr>
        <p:grpSp>
          <p:nvGrpSpPr>
            <p:cNvPr id="5" name="Group 4"/>
            <p:cNvGrpSpPr/>
            <p:nvPr/>
          </p:nvGrpSpPr>
          <p:grpSpPr>
            <a:xfrm>
              <a:off x="37410" y="4179566"/>
              <a:ext cx="1784238" cy="694282"/>
              <a:chOff x="-39951" y="6121872"/>
              <a:chExt cx="1784238" cy="694282"/>
            </a:xfrm>
          </p:grpSpPr>
          <p:sp>
            <p:nvSpPr>
              <p:cNvPr id="168" name="Content Placeholder 2"/>
              <p:cNvSpPr txBox="1">
                <a:spLocks/>
              </p:cNvSpPr>
              <p:nvPr/>
            </p:nvSpPr>
            <p:spPr>
              <a:xfrm>
                <a:off x="-39951" y="6121872"/>
                <a:ext cx="1616173" cy="694282"/>
              </a:xfrm>
              <a:prstGeom prst="rect">
                <a:avLst/>
              </a:prstGeom>
            </p:spPr>
            <p:txBody>
              <a:bodyPr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3E8FCD"/>
                  </a:buClr>
                  <a:buSzPct val="100000"/>
                  <a:buFont typeface="Wingdings" pitchFamily="2" charset="2"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itchFamily="34" charset="0"/>
                    <a:cs typeface="Segoe UI" pitchFamily="34" charset="0"/>
                  </a:rPr>
                  <a:t>Natural Uranium</a:t>
                </a:r>
                <a:endParaRPr kumimoji="0" lang="nl-BE" sz="1600" b="1" i="0" u="none" strike="noStrike" kern="0" cap="none" spc="0" normalizeH="0" baseline="0" noProof="0" dirty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69" name="Rectangle 168"/>
              <p:cNvSpPr/>
              <p:nvPr/>
            </p:nvSpPr>
            <p:spPr>
              <a:xfrm>
                <a:off x="1455425" y="6289326"/>
                <a:ext cx="288862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l" defTabSz="10728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1</a:t>
                </a:r>
                <a:endParaRPr kumimoji="0" lang="en-US" sz="1600" b="1" i="0" u="none" strike="noStrike" kern="1200" cap="none" spc="0" normalizeH="0" baseline="0" noProof="0" dirty="0">
                  <a:ln w="3175"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-107142" y="1330365"/>
              <a:ext cx="1941842" cy="763061"/>
              <a:chOff x="-107142" y="1327423"/>
              <a:chExt cx="1941842" cy="694282"/>
            </a:xfrm>
          </p:grpSpPr>
          <p:sp>
            <p:nvSpPr>
              <p:cNvPr id="166" name="Content Placeholder 2"/>
              <p:cNvSpPr txBox="1">
                <a:spLocks/>
              </p:cNvSpPr>
              <p:nvPr/>
            </p:nvSpPr>
            <p:spPr>
              <a:xfrm>
                <a:off x="-107142" y="1327423"/>
                <a:ext cx="1616174" cy="694282"/>
              </a:xfrm>
              <a:prstGeom prst="rect">
                <a:avLst/>
              </a:prstGeom>
              <a:noFill/>
            </p:spPr>
            <p:txBody>
              <a:bodyPr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itchFamily="34" charset="0"/>
                    <a:cs typeface="Segoe UI" pitchFamily="34" charset="0"/>
                  </a:rPr>
                  <a:t>Spent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itchFamily="34" charset="0"/>
                    <a:cs typeface="Segoe UI" pitchFamily="34" charset="0"/>
                  </a:rPr>
                  <a:t>Nuclear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itchFamily="34" charset="0"/>
                    <a:cs typeface="Segoe UI" pitchFamily="34" charset="0"/>
                  </a:rPr>
                  <a:t>Fuel</a:t>
                </a:r>
              </a:p>
            </p:txBody>
          </p:sp>
          <p:sp>
            <p:nvSpPr>
              <p:cNvPr id="167" name="Rectangle 166"/>
              <p:cNvSpPr/>
              <p:nvPr/>
            </p:nvSpPr>
            <p:spPr>
              <a:xfrm>
                <a:off x="1233253" y="1605096"/>
                <a:ext cx="601447" cy="30803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10728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1000</a:t>
                </a: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1377978" y="696182"/>
              <a:ext cx="10352348" cy="5742245"/>
              <a:chOff x="1377978" y="696182"/>
              <a:chExt cx="10352348" cy="5742245"/>
            </a:xfrm>
          </p:grpSpPr>
          <p:sp>
            <p:nvSpPr>
              <p:cNvPr id="37" name="TextBox 36"/>
              <p:cNvSpPr txBox="1">
                <a:spLocks noChangeArrowheads="1"/>
              </p:cNvSpPr>
              <p:nvPr/>
            </p:nvSpPr>
            <p:spPr bwMode="auto">
              <a:xfrm>
                <a:off x="2701932" y="3970570"/>
                <a:ext cx="1613401" cy="369332"/>
              </a:xfrm>
              <a:prstGeom prst="rect">
                <a:avLst/>
              </a:prstGeom>
              <a:solidFill>
                <a:srgbClr val="FFFFFF">
                  <a:alpha val="60000"/>
                </a:srgbClr>
              </a:solidFill>
              <a:ln>
                <a:noFill/>
              </a:ln>
              <a:effectLst>
                <a:outerShdw blurRad="50800" dist="50800" dir="5400000" algn="ctr" rotWithShape="0">
                  <a:schemeClr val="bg1">
                    <a:alpha val="90000"/>
                  </a:schemeClr>
                </a:outerShdw>
              </a:effectLst>
            </p:spPr>
            <p:txBody>
              <a:bodyPr wrap="square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marL="0" marR="0" lvl="0" indent="0" algn="ctr" defTabSz="1072866" rtl="0" eaLnBrk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 smtClean="0">
                    <a:ln w="3175"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ＭＳ Ｐゴシック" pitchFamily="34" charset="-128"/>
                    <a:cs typeface="Segoe UI" panose="020B0502040204020203" pitchFamily="34" charset="0"/>
                  </a:rPr>
                  <a:t>300 years</a:t>
                </a:r>
                <a:endParaRPr kumimoji="0" lang="en-US" sz="1800" b="1" i="0" u="none" strike="noStrike" kern="1200" cap="none" spc="0" normalizeH="0" baseline="0" noProof="0" dirty="0">
                  <a:ln w="6350">
                    <a:noFill/>
                  </a:ln>
                  <a:solidFill>
                    <a:srgbClr val="D9F1FF">
                      <a:lumMod val="75000"/>
                    </a:srgbClr>
                  </a:solidFill>
                  <a:effectLst/>
                  <a:uLnTx/>
                  <a:uFillTx/>
                  <a:latin typeface="Segoe UI" panose="020B0502040204020203" pitchFamily="34" charset="0"/>
                  <a:ea typeface="ＭＳ Ｐゴシック" pitchFamily="34" charset="-128"/>
                  <a:cs typeface="Segoe UI" panose="020B0502040204020203" pitchFamily="34" charset="0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5646050" y="3986900"/>
                <a:ext cx="1765721" cy="385333"/>
              </a:xfrm>
              <a:prstGeom prst="rect">
                <a:avLst/>
              </a:prstGeom>
              <a:solidFill>
                <a:srgbClr val="FFFFFF"/>
              </a:solidFill>
            </p:spPr>
            <p:txBody>
              <a:bodyPr wrap="square" lIns="107287" tIns="53643" rIns="107287" bIns="53643" rtlCol="0">
                <a:spAutoFit/>
              </a:bodyPr>
              <a:lstStyle/>
              <a:p>
                <a:pPr marL="0" marR="0" lvl="0" indent="0" algn="ctr" defTabSz="10728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FFC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rPr>
                  <a:t>+10,000 years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8602334" y="3962570"/>
                <a:ext cx="2240395" cy="38533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wrap="square" lIns="107287" tIns="53643" rIns="107287" bIns="53643" rtlCol="0">
                <a:spAutoFit/>
              </a:bodyPr>
              <a:lstStyle/>
              <a:p>
                <a:pPr marL="0" marR="0" lvl="0" indent="0" algn="ctr" defTabSz="685800" rtl="0" eaLnBrk="1" fontAlgn="base" latinLnBrk="0" hangingPunct="1">
                  <a:lnSpc>
                    <a:spcPct val="100000"/>
                  </a:lnSpc>
                  <a:spcBef>
                    <a:spcPct val="20000"/>
                  </a:spcBef>
                  <a:spcAft>
                    <a:spcPct val="0"/>
                  </a:spcAft>
                  <a:buClr>
                    <a:srgbClr val="3E8FCD"/>
                  </a:buClr>
                  <a:buSzPct val="100000"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 w="3175"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Segoe UI" panose="020B0502040204020203" pitchFamily="34" charset="0"/>
                    <a:ea typeface="Segoe UI" panose="020B0502040204020203" pitchFamily="34" charset="0"/>
                    <a:cs typeface="Segoe UI" panose="020B0502040204020203" pitchFamily="34" charset="0"/>
                  </a:rPr>
                  <a:t>+300,000 years</a:t>
                </a:r>
              </a:p>
            </p:txBody>
          </p:sp>
          <p:cxnSp>
            <p:nvCxnSpPr>
              <p:cNvPr id="8" name="Straight Connector 7"/>
              <p:cNvCxnSpPr/>
              <p:nvPr/>
            </p:nvCxnSpPr>
            <p:spPr bwMode="auto">
              <a:xfrm>
                <a:off x="1881645" y="4529663"/>
                <a:ext cx="7851228" cy="0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9" name="Freeform 8"/>
              <p:cNvSpPr/>
              <p:nvPr/>
            </p:nvSpPr>
            <p:spPr bwMode="auto">
              <a:xfrm>
                <a:off x="1881663" y="2571057"/>
                <a:ext cx="2053679" cy="2914287"/>
              </a:xfrm>
              <a:custGeom>
                <a:avLst/>
                <a:gdLst>
                  <a:gd name="connsiteX0" fmla="*/ 0 w 2847975"/>
                  <a:gd name="connsiteY0" fmla="*/ 0 h 2781300"/>
                  <a:gd name="connsiteX1" fmla="*/ 419100 w 2847975"/>
                  <a:gd name="connsiteY1" fmla="*/ 9525 h 2781300"/>
                  <a:gd name="connsiteX2" fmla="*/ 561975 w 2847975"/>
                  <a:gd name="connsiteY2" fmla="*/ 28575 h 2781300"/>
                  <a:gd name="connsiteX3" fmla="*/ 590550 w 2847975"/>
                  <a:gd name="connsiteY3" fmla="*/ 38100 h 2781300"/>
                  <a:gd name="connsiteX4" fmla="*/ 619125 w 2847975"/>
                  <a:gd name="connsiteY4" fmla="*/ 57150 h 2781300"/>
                  <a:gd name="connsiteX5" fmla="*/ 657225 w 2847975"/>
                  <a:gd name="connsiteY5" fmla="*/ 114300 h 2781300"/>
                  <a:gd name="connsiteX6" fmla="*/ 676275 w 2847975"/>
                  <a:gd name="connsiteY6" fmla="*/ 152400 h 2781300"/>
                  <a:gd name="connsiteX7" fmla="*/ 704850 w 2847975"/>
                  <a:gd name="connsiteY7" fmla="*/ 171450 h 2781300"/>
                  <a:gd name="connsiteX8" fmla="*/ 733425 w 2847975"/>
                  <a:gd name="connsiteY8" fmla="*/ 209550 h 2781300"/>
                  <a:gd name="connsiteX9" fmla="*/ 771525 w 2847975"/>
                  <a:gd name="connsiteY9" fmla="*/ 228600 h 2781300"/>
                  <a:gd name="connsiteX10" fmla="*/ 809625 w 2847975"/>
                  <a:gd name="connsiteY10" fmla="*/ 257175 h 2781300"/>
                  <a:gd name="connsiteX11" fmla="*/ 866775 w 2847975"/>
                  <a:gd name="connsiteY11" fmla="*/ 295275 h 2781300"/>
                  <a:gd name="connsiteX12" fmla="*/ 895350 w 2847975"/>
                  <a:gd name="connsiteY12" fmla="*/ 314325 h 2781300"/>
                  <a:gd name="connsiteX13" fmla="*/ 923925 w 2847975"/>
                  <a:gd name="connsiteY13" fmla="*/ 323850 h 2781300"/>
                  <a:gd name="connsiteX14" fmla="*/ 971550 w 2847975"/>
                  <a:gd name="connsiteY14" fmla="*/ 342900 h 2781300"/>
                  <a:gd name="connsiteX15" fmla="*/ 1038225 w 2847975"/>
                  <a:gd name="connsiteY15" fmla="*/ 361950 h 2781300"/>
                  <a:gd name="connsiteX16" fmla="*/ 1085850 w 2847975"/>
                  <a:gd name="connsiteY16" fmla="*/ 390525 h 2781300"/>
                  <a:gd name="connsiteX17" fmla="*/ 1123950 w 2847975"/>
                  <a:gd name="connsiteY17" fmla="*/ 409575 h 2781300"/>
                  <a:gd name="connsiteX18" fmla="*/ 1181100 w 2847975"/>
                  <a:gd name="connsiteY18" fmla="*/ 447675 h 2781300"/>
                  <a:gd name="connsiteX19" fmla="*/ 1209675 w 2847975"/>
                  <a:gd name="connsiteY19" fmla="*/ 476250 h 2781300"/>
                  <a:gd name="connsiteX20" fmla="*/ 1314450 w 2847975"/>
                  <a:gd name="connsiteY20" fmla="*/ 542925 h 2781300"/>
                  <a:gd name="connsiteX21" fmla="*/ 1352550 w 2847975"/>
                  <a:gd name="connsiteY21" fmla="*/ 561975 h 2781300"/>
                  <a:gd name="connsiteX22" fmla="*/ 1381125 w 2847975"/>
                  <a:gd name="connsiteY22" fmla="*/ 590550 h 2781300"/>
                  <a:gd name="connsiteX23" fmla="*/ 1457325 w 2847975"/>
                  <a:gd name="connsiteY23" fmla="*/ 647700 h 2781300"/>
                  <a:gd name="connsiteX24" fmla="*/ 1495425 w 2847975"/>
                  <a:gd name="connsiteY24" fmla="*/ 685800 h 2781300"/>
                  <a:gd name="connsiteX25" fmla="*/ 1562100 w 2847975"/>
                  <a:gd name="connsiteY25" fmla="*/ 723900 h 2781300"/>
                  <a:gd name="connsiteX26" fmla="*/ 1600200 w 2847975"/>
                  <a:gd name="connsiteY26" fmla="*/ 771525 h 2781300"/>
                  <a:gd name="connsiteX27" fmla="*/ 1638300 w 2847975"/>
                  <a:gd name="connsiteY27" fmla="*/ 847725 h 2781300"/>
                  <a:gd name="connsiteX28" fmla="*/ 1695450 w 2847975"/>
                  <a:gd name="connsiteY28" fmla="*/ 914400 h 2781300"/>
                  <a:gd name="connsiteX29" fmla="*/ 1724025 w 2847975"/>
                  <a:gd name="connsiteY29" fmla="*/ 971550 h 2781300"/>
                  <a:gd name="connsiteX30" fmla="*/ 1733550 w 2847975"/>
                  <a:gd name="connsiteY30" fmla="*/ 1000125 h 2781300"/>
                  <a:gd name="connsiteX31" fmla="*/ 1752600 w 2847975"/>
                  <a:gd name="connsiteY31" fmla="*/ 1028700 h 2781300"/>
                  <a:gd name="connsiteX32" fmla="*/ 1762125 w 2847975"/>
                  <a:gd name="connsiteY32" fmla="*/ 1057275 h 2781300"/>
                  <a:gd name="connsiteX33" fmla="*/ 1800225 w 2847975"/>
                  <a:gd name="connsiteY33" fmla="*/ 1114425 h 2781300"/>
                  <a:gd name="connsiteX34" fmla="*/ 1819275 w 2847975"/>
                  <a:gd name="connsiteY34" fmla="*/ 1143000 h 2781300"/>
                  <a:gd name="connsiteX35" fmla="*/ 1838325 w 2847975"/>
                  <a:gd name="connsiteY35" fmla="*/ 1171575 h 2781300"/>
                  <a:gd name="connsiteX36" fmla="*/ 1847850 w 2847975"/>
                  <a:gd name="connsiteY36" fmla="*/ 1200150 h 2781300"/>
                  <a:gd name="connsiteX37" fmla="*/ 1876425 w 2847975"/>
                  <a:gd name="connsiteY37" fmla="*/ 1219200 h 2781300"/>
                  <a:gd name="connsiteX38" fmla="*/ 1933575 w 2847975"/>
                  <a:gd name="connsiteY38" fmla="*/ 1295400 h 2781300"/>
                  <a:gd name="connsiteX39" fmla="*/ 1971675 w 2847975"/>
                  <a:gd name="connsiteY39" fmla="*/ 1333500 h 2781300"/>
                  <a:gd name="connsiteX40" fmla="*/ 2009775 w 2847975"/>
                  <a:gd name="connsiteY40" fmla="*/ 1390650 h 2781300"/>
                  <a:gd name="connsiteX41" fmla="*/ 2019300 w 2847975"/>
                  <a:gd name="connsiteY41" fmla="*/ 1419225 h 2781300"/>
                  <a:gd name="connsiteX42" fmla="*/ 2047875 w 2847975"/>
                  <a:gd name="connsiteY42" fmla="*/ 1438275 h 2781300"/>
                  <a:gd name="connsiteX43" fmla="*/ 2085975 w 2847975"/>
                  <a:gd name="connsiteY43" fmla="*/ 1495425 h 2781300"/>
                  <a:gd name="connsiteX44" fmla="*/ 2105025 w 2847975"/>
                  <a:gd name="connsiteY44" fmla="*/ 1524000 h 2781300"/>
                  <a:gd name="connsiteX45" fmla="*/ 2114550 w 2847975"/>
                  <a:gd name="connsiteY45" fmla="*/ 1552575 h 2781300"/>
                  <a:gd name="connsiteX46" fmla="*/ 2152650 w 2847975"/>
                  <a:gd name="connsiteY46" fmla="*/ 1590675 h 2781300"/>
                  <a:gd name="connsiteX47" fmla="*/ 2171700 w 2847975"/>
                  <a:gd name="connsiteY47" fmla="*/ 1638300 h 2781300"/>
                  <a:gd name="connsiteX48" fmla="*/ 2190750 w 2847975"/>
                  <a:gd name="connsiteY48" fmla="*/ 1733550 h 2781300"/>
                  <a:gd name="connsiteX49" fmla="*/ 2219325 w 2847975"/>
                  <a:gd name="connsiteY49" fmla="*/ 1800225 h 2781300"/>
                  <a:gd name="connsiteX50" fmla="*/ 2238375 w 2847975"/>
                  <a:gd name="connsiteY50" fmla="*/ 1885950 h 2781300"/>
                  <a:gd name="connsiteX51" fmla="*/ 2247900 w 2847975"/>
                  <a:gd name="connsiteY51" fmla="*/ 1981200 h 2781300"/>
                  <a:gd name="connsiteX52" fmla="*/ 2266950 w 2847975"/>
                  <a:gd name="connsiteY52" fmla="*/ 2066925 h 2781300"/>
                  <a:gd name="connsiteX53" fmla="*/ 2286000 w 2847975"/>
                  <a:gd name="connsiteY53" fmla="*/ 2114550 h 2781300"/>
                  <a:gd name="connsiteX54" fmla="*/ 2305050 w 2847975"/>
                  <a:gd name="connsiteY54" fmla="*/ 2257425 h 2781300"/>
                  <a:gd name="connsiteX55" fmla="*/ 2324100 w 2847975"/>
                  <a:gd name="connsiteY55" fmla="*/ 2286000 h 2781300"/>
                  <a:gd name="connsiteX56" fmla="*/ 2333625 w 2847975"/>
                  <a:gd name="connsiteY56" fmla="*/ 2314575 h 2781300"/>
                  <a:gd name="connsiteX57" fmla="*/ 2381250 w 2847975"/>
                  <a:gd name="connsiteY57" fmla="*/ 2381250 h 2781300"/>
                  <a:gd name="connsiteX58" fmla="*/ 2409825 w 2847975"/>
                  <a:gd name="connsiteY58" fmla="*/ 2390775 h 2781300"/>
                  <a:gd name="connsiteX59" fmla="*/ 2457450 w 2847975"/>
                  <a:gd name="connsiteY59" fmla="*/ 2409825 h 2781300"/>
                  <a:gd name="connsiteX60" fmla="*/ 2533650 w 2847975"/>
                  <a:gd name="connsiteY60" fmla="*/ 2466975 h 2781300"/>
                  <a:gd name="connsiteX61" fmla="*/ 2609850 w 2847975"/>
                  <a:gd name="connsiteY61" fmla="*/ 2505075 h 2781300"/>
                  <a:gd name="connsiteX62" fmla="*/ 2638425 w 2847975"/>
                  <a:gd name="connsiteY62" fmla="*/ 2524125 h 2781300"/>
                  <a:gd name="connsiteX63" fmla="*/ 2676525 w 2847975"/>
                  <a:gd name="connsiteY63" fmla="*/ 2552700 h 2781300"/>
                  <a:gd name="connsiteX64" fmla="*/ 2714625 w 2847975"/>
                  <a:gd name="connsiteY64" fmla="*/ 2571750 h 2781300"/>
                  <a:gd name="connsiteX65" fmla="*/ 2762250 w 2847975"/>
                  <a:gd name="connsiteY65" fmla="*/ 2638425 h 2781300"/>
                  <a:gd name="connsiteX66" fmla="*/ 2800350 w 2847975"/>
                  <a:gd name="connsiteY66" fmla="*/ 2695575 h 2781300"/>
                  <a:gd name="connsiteX67" fmla="*/ 2819400 w 2847975"/>
                  <a:gd name="connsiteY67" fmla="*/ 2724150 h 2781300"/>
                  <a:gd name="connsiteX68" fmla="*/ 2838450 w 2847975"/>
                  <a:gd name="connsiteY68" fmla="*/ 2752725 h 2781300"/>
                  <a:gd name="connsiteX69" fmla="*/ 2847975 w 2847975"/>
                  <a:gd name="connsiteY69" fmla="*/ 2781300 h 2781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</a:cxnLst>
                <a:rect l="l" t="t" r="r" b="b"/>
                <a:pathLst>
                  <a:path w="2847975" h="2781300">
                    <a:moveTo>
                      <a:pt x="0" y="0"/>
                    </a:moveTo>
                    <a:lnTo>
                      <a:pt x="419100" y="9525"/>
                    </a:lnTo>
                    <a:cubicBezTo>
                      <a:pt x="483468" y="11866"/>
                      <a:pt x="509803" y="13669"/>
                      <a:pt x="561975" y="28575"/>
                    </a:cubicBezTo>
                    <a:cubicBezTo>
                      <a:pt x="571629" y="31333"/>
                      <a:pt x="581570" y="33610"/>
                      <a:pt x="590550" y="38100"/>
                    </a:cubicBezTo>
                    <a:cubicBezTo>
                      <a:pt x="600789" y="43220"/>
                      <a:pt x="609600" y="50800"/>
                      <a:pt x="619125" y="57150"/>
                    </a:cubicBezTo>
                    <a:cubicBezTo>
                      <a:pt x="631825" y="76200"/>
                      <a:pt x="646986" y="93822"/>
                      <a:pt x="657225" y="114300"/>
                    </a:cubicBezTo>
                    <a:cubicBezTo>
                      <a:pt x="663575" y="127000"/>
                      <a:pt x="667185" y="141492"/>
                      <a:pt x="676275" y="152400"/>
                    </a:cubicBezTo>
                    <a:cubicBezTo>
                      <a:pt x="683604" y="161194"/>
                      <a:pt x="696755" y="163355"/>
                      <a:pt x="704850" y="171450"/>
                    </a:cubicBezTo>
                    <a:cubicBezTo>
                      <a:pt x="716075" y="182675"/>
                      <a:pt x="721372" y="199219"/>
                      <a:pt x="733425" y="209550"/>
                    </a:cubicBezTo>
                    <a:cubicBezTo>
                      <a:pt x="744206" y="218791"/>
                      <a:pt x="759484" y="221075"/>
                      <a:pt x="771525" y="228600"/>
                    </a:cubicBezTo>
                    <a:cubicBezTo>
                      <a:pt x="784987" y="237014"/>
                      <a:pt x="796620" y="248071"/>
                      <a:pt x="809625" y="257175"/>
                    </a:cubicBezTo>
                    <a:cubicBezTo>
                      <a:pt x="828382" y="270305"/>
                      <a:pt x="847725" y="282575"/>
                      <a:pt x="866775" y="295275"/>
                    </a:cubicBezTo>
                    <a:cubicBezTo>
                      <a:pt x="876300" y="301625"/>
                      <a:pt x="884490" y="310705"/>
                      <a:pt x="895350" y="314325"/>
                    </a:cubicBezTo>
                    <a:cubicBezTo>
                      <a:pt x="904875" y="317500"/>
                      <a:pt x="914524" y="320325"/>
                      <a:pt x="923925" y="323850"/>
                    </a:cubicBezTo>
                    <a:cubicBezTo>
                      <a:pt x="939934" y="329853"/>
                      <a:pt x="955330" y="337493"/>
                      <a:pt x="971550" y="342900"/>
                    </a:cubicBezTo>
                    <a:cubicBezTo>
                      <a:pt x="989861" y="349004"/>
                      <a:pt x="1019879" y="352777"/>
                      <a:pt x="1038225" y="361950"/>
                    </a:cubicBezTo>
                    <a:cubicBezTo>
                      <a:pt x="1054784" y="370229"/>
                      <a:pt x="1069666" y="381534"/>
                      <a:pt x="1085850" y="390525"/>
                    </a:cubicBezTo>
                    <a:cubicBezTo>
                      <a:pt x="1098262" y="397421"/>
                      <a:pt x="1111774" y="402270"/>
                      <a:pt x="1123950" y="409575"/>
                    </a:cubicBezTo>
                    <a:cubicBezTo>
                      <a:pt x="1143583" y="421355"/>
                      <a:pt x="1164911" y="431486"/>
                      <a:pt x="1181100" y="447675"/>
                    </a:cubicBezTo>
                    <a:cubicBezTo>
                      <a:pt x="1190625" y="457200"/>
                      <a:pt x="1198714" y="468420"/>
                      <a:pt x="1209675" y="476250"/>
                    </a:cubicBezTo>
                    <a:cubicBezTo>
                      <a:pt x="1243361" y="500311"/>
                      <a:pt x="1277423" y="524412"/>
                      <a:pt x="1314450" y="542925"/>
                    </a:cubicBezTo>
                    <a:cubicBezTo>
                      <a:pt x="1327150" y="549275"/>
                      <a:pt x="1340996" y="553722"/>
                      <a:pt x="1352550" y="561975"/>
                    </a:cubicBezTo>
                    <a:cubicBezTo>
                      <a:pt x="1363511" y="569805"/>
                      <a:pt x="1370699" y="582020"/>
                      <a:pt x="1381125" y="590550"/>
                    </a:cubicBezTo>
                    <a:cubicBezTo>
                      <a:pt x="1405698" y="610655"/>
                      <a:pt x="1434874" y="625249"/>
                      <a:pt x="1457325" y="647700"/>
                    </a:cubicBezTo>
                    <a:cubicBezTo>
                      <a:pt x="1470025" y="660400"/>
                      <a:pt x="1481788" y="674111"/>
                      <a:pt x="1495425" y="685800"/>
                    </a:cubicBezTo>
                    <a:cubicBezTo>
                      <a:pt x="1514273" y="701956"/>
                      <a:pt x="1540479" y="713090"/>
                      <a:pt x="1562100" y="723900"/>
                    </a:cubicBezTo>
                    <a:cubicBezTo>
                      <a:pt x="1590949" y="810446"/>
                      <a:pt x="1545366" y="693191"/>
                      <a:pt x="1600200" y="771525"/>
                    </a:cubicBezTo>
                    <a:cubicBezTo>
                      <a:pt x="1616485" y="794790"/>
                      <a:pt x="1618220" y="827645"/>
                      <a:pt x="1638300" y="847725"/>
                    </a:cubicBezTo>
                    <a:cubicBezTo>
                      <a:pt x="1678100" y="887525"/>
                      <a:pt x="1658793" y="865524"/>
                      <a:pt x="1695450" y="914400"/>
                    </a:cubicBezTo>
                    <a:cubicBezTo>
                      <a:pt x="1719391" y="986224"/>
                      <a:pt x="1687096" y="897692"/>
                      <a:pt x="1724025" y="971550"/>
                    </a:cubicBezTo>
                    <a:cubicBezTo>
                      <a:pt x="1728515" y="980530"/>
                      <a:pt x="1729060" y="991145"/>
                      <a:pt x="1733550" y="1000125"/>
                    </a:cubicBezTo>
                    <a:cubicBezTo>
                      <a:pt x="1738670" y="1010364"/>
                      <a:pt x="1747480" y="1018461"/>
                      <a:pt x="1752600" y="1028700"/>
                    </a:cubicBezTo>
                    <a:cubicBezTo>
                      <a:pt x="1757090" y="1037680"/>
                      <a:pt x="1757249" y="1048498"/>
                      <a:pt x="1762125" y="1057275"/>
                    </a:cubicBezTo>
                    <a:cubicBezTo>
                      <a:pt x="1773244" y="1077289"/>
                      <a:pt x="1787525" y="1095375"/>
                      <a:pt x="1800225" y="1114425"/>
                    </a:cubicBezTo>
                    <a:lnTo>
                      <a:pt x="1819275" y="1143000"/>
                    </a:lnTo>
                    <a:cubicBezTo>
                      <a:pt x="1825625" y="1152525"/>
                      <a:pt x="1834705" y="1160715"/>
                      <a:pt x="1838325" y="1171575"/>
                    </a:cubicBezTo>
                    <a:cubicBezTo>
                      <a:pt x="1841500" y="1181100"/>
                      <a:pt x="1841578" y="1192310"/>
                      <a:pt x="1847850" y="1200150"/>
                    </a:cubicBezTo>
                    <a:cubicBezTo>
                      <a:pt x="1855001" y="1209089"/>
                      <a:pt x="1868767" y="1210691"/>
                      <a:pt x="1876425" y="1219200"/>
                    </a:cubicBezTo>
                    <a:cubicBezTo>
                      <a:pt x="1897665" y="1242800"/>
                      <a:pt x="1911124" y="1272949"/>
                      <a:pt x="1933575" y="1295400"/>
                    </a:cubicBezTo>
                    <a:cubicBezTo>
                      <a:pt x="1946275" y="1308100"/>
                      <a:pt x="1960455" y="1319475"/>
                      <a:pt x="1971675" y="1333500"/>
                    </a:cubicBezTo>
                    <a:cubicBezTo>
                      <a:pt x="1985978" y="1351378"/>
                      <a:pt x="2002535" y="1368930"/>
                      <a:pt x="2009775" y="1390650"/>
                    </a:cubicBezTo>
                    <a:cubicBezTo>
                      <a:pt x="2012950" y="1400175"/>
                      <a:pt x="2013028" y="1411385"/>
                      <a:pt x="2019300" y="1419225"/>
                    </a:cubicBezTo>
                    <a:cubicBezTo>
                      <a:pt x="2026451" y="1428164"/>
                      <a:pt x="2038350" y="1431925"/>
                      <a:pt x="2047875" y="1438275"/>
                    </a:cubicBezTo>
                    <a:lnTo>
                      <a:pt x="2085975" y="1495425"/>
                    </a:lnTo>
                    <a:cubicBezTo>
                      <a:pt x="2092325" y="1504950"/>
                      <a:pt x="2101405" y="1513140"/>
                      <a:pt x="2105025" y="1524000"/>
                    </a:cubicBezTo>
                    <a:cubicBezTo>
                      <a:pt x="2108200" y="1533525"/>
                      <a:pt x="2108714" y="1544405"/>
                      <a:pt x="2114550" y="1552575"/>
                    </a:cubicBezTo>
                    <a:cubicBezTo>
                      <a:pt x="2124989" y="1567190"/>
                      <a:pt x="2139950" y="1577975"/>
                      <a:pt x="2152650" y="1590675"/>
                    </a:cubicBezTo>
                    <a:cubicBezTo>
                      <a:pt x="2159000" y="1606550"/>
                      <a:pt x="2167201" y="1621805"/>
                      <a:pt x="2171700" y="1638300"/>
                    </a:cubicBezTo>
                    <a:cubicBezTo>
                      <a:pt x="2182674" y="1678538"/>
                      <a:pt x="2177018" y="1696930"/>
                      <a:pt x="2190750" y="1733550"/>
                    </a:cubicBezTo>
                    <a:cubicBezTo>
                      <a:pt x="2221230" y="1814830"/>
                      <a:pt x="2200403" y="1733997"/>
                      <a:pt x="2219325" y="1800225"/>
                    </a:cubicBezTo>
                    <a:cubicBezTo>
                      <a:pt x="2224984" y="1820031"/>
                      <a:pt x="2235920" y="1867536"/>
                      <a:pt x="2238375" y="1885950"/>
                    </a:cubicBezTo>
                    <a:cubicBezTo>
                      <a:pt x="2242592" y="1917578"/>
                      <a:pt x="2243683" y="1949572"/>
                      <a:pt x="2247900" y="1981200"/>
                    </a:cubicBezTo>
                    <a:cubicBezTo>
                      <a:pt x="2249578" y="1993782"/>
                      <a:pt x="2261920" y="2051835"/>
                      <a:pt x="2266950" y="2066925"/>
                    </a:cubicBezTo>
                    <a:cubicBezTo>
                      <a:pt x="2272357" y="2083145"/>
                      <a:pt x="2281087" y="2098173"/>
                      <a:pt x="2286000" y="2114550"/>
                    </a:cubicBezTo>
                    <a:cubicBezTo>
                      <a:pt x="2307495" y="2186200"/>
                      <a:pt x="2282655" y="2160382"/>
                      <a:pt x="2305050" y="2257425"/>
                    </a:cubicBezTo>
                    <a:cubicBezTo>
                      <a:pt x="2307624" y="2268579"/>
                      <a:pt x="2318980" y="2275761"/>
                      <a:pt x="2324100" y="2286000"/>
                    </a:cubicBezTo>
                    <a:cubicBezTo>
                      <a:pt x="2328590" y="2294980"/>
                      <a:pt x="2329135" y="2305595"/>
                      <a:pt x="2333625" y="2314575"/>
                    </a:cubicBezTo>
                    <a:cubicBezTo>
                      <a:pt x="2338589" y="2324503"/>
                      <a:pt x="2377552" y="2378168"/>
                      <a:pt x="2381250" y="2381250"/>
                    </a:cubicBezTo>
                    <a:cubicBezTo>
                      <a:pt x="2388963" y="2387678"/>
                      <a:pt x="2400424" y="2387250"/>
                      <a:pt x="2409825" y="2390775"/>
                    </a:cubicBezTo>
                    <a:cubicBezTo>
                      <a:pt x="2425834" y="2396778"/>
                      <a:pt x="2442888" y="2400864"/>
                      <a:pt x="2457450" y="2409825"/>
                    </a:cubicBezTo>
                    <a:cubicBezTo>
                      <a:pt x="2484490" y="2426465"/>
                      <a:pt x="2505252" y="2452776"/>
                      <a:pt x="2533650" y="2466975"/>
                    </a:cubicBezTo>
                    <a:cubicBezTo>
                      <a:pt x="2559050" y="2479675"/>
                      <a:pt x="2586221" y="2489323"/>
                      <a:pt x="2609850" y="2505075"/>
                    </a:cubicBezTo>
                    <a:cubicBezTo>
                      <a:pt x="2619375" y="2511425"/>
                      <a:pt x="2629110" y="2517471"/>
                      <a:pt x="2638425" y="2524125"/>
                    </a:cubicBezTo>
                    <a:cubicBezTo>
                      <a:pt x="2651343" y="2533352"/>
                      <a:pt x="2663063" y="2544286"/>
                      <a:pt x="2676525" y="2552700"/>
                    </a:cubicBezTo>
                    <a:cubicBezTo>
                      <a:pt x="2688566" y="2560225"/>
                      <a:pt x="2701925" y="2565400"/>
                      <a:pt x="2714625" y="2571750"/>
                    </a:cubicBezTo>
                    <a:cubicBezTo>
                      <a:pt x="2776559" y="2664651"/>
                      <a:pt x="2679548" y="2520280"/>
                      <a:pt x="2762250" y="2638425"/>
                    </a:cubicBezTo>
                    <a:cubicBezTo>
                      <a:pt x="2775380" y="2657182"/>
                      <a:pt x="2787650" y="2676525"/>
                      <a:pt x="2800350" y="2695575"/>
                    </a:cubicBezTo>
                    <a:lnTo>
                      <a:pt x="2819400" y="2724150"/>
                    </a:lnTo>
                    <a:cubicBezTo>
                      <a:pt x="2825750" y="2733675"/>
                      <a:pt x="2834830" y="2741865"/>
                      <a:pt x="2838450" y="2752725"/>
                    </a:cubicBezTo>
                    <a:lnTo>
                      <a:pt x="2847975" y="2781300"/>
                    </a:lnTo>
                  </a:path>
                </a:pathLst>
              </a:cu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  <a:effectLst>
                <a:outerShdw blurRad="12700" dist="12700" algn="l" rotWithShape="0">
                  <a:schemeClr val="bg1">
                    <a:alpha val="70000"/>
                  </a:schemeClr>
                </a:outerShdw>
              </a:effectLst>
            </p:spPr>
            <p:style>
              <a:lnRef idx="1">
                <a:schemeClr val="accent4"/>
              </a:lnRef>
              <a:fillRef idx="0">
                <a:schemeClr val="accent4"/>
              </a:fillRef>
              <a:effectRef idx="0">
                <a:schemeClr val="accent4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0" name="Oval 9"/>
              <p:cNvSpPr/>
              <p:nvPr/>
            </p:nvSpPr>
            <p:spPr bwMode="auto">
              <a:xfrm>
                <a:off x="3381107" y="4408143"/>
                <a:ext cx="207209" cy="21296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69C9FF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1" name="Freeform 10"/>
              <p:cNvSpPr/>
              <p:nvPr/>
            </p:nvSpPr>
            <p:spPr bwMode="auto">
              <a:xfrm>
                <a:off x="1860337" y="2120009"/>
                <a:ext cx="6903326" cy="3365329"/>
              </a:xfrm>
              <a:custGeom>
                <a:avLst/>
                <a:gdLst>
                  <a:gd name="connsiteX0" fmla="*/ 0 w 5667375"/>
                  <a:gd name="connsiteY0" fmla="*/ 0 h 2838450"/>
                  <a:gd name="connsiteX1" fmla="*/ 66675 w 5667375"/>
                  <a:gd name="connsiteY1" fmla="*/ 9525 h 2838450"/>
                  <a:gd name="connsiteX2" fmla="*/ 104775 w 5667375"/>
                  <a:gd name="connsiteY2" fmla="*/ 28575 h 2838450"/>
                  <a:gd name="connsiteX3" fmla="*/ 133350 w 5667375"/>
                  <a:gd name="connsiteY3" fmla="*/ 38100 h 2838450"/>
                  <a:gd name="connsiteX4" fmla="*/ 161925 w 5667375"/>
                  <a:gd name="connsiteY4" fmla="*/ 57150 h 2838450"/>
                  <a:gd name="connsiteX5" fmla="*/ 219075 w 5667375"/>
                  <a:gd name="connsiteY5" fmla="*/ 76200 h 2838450"/>
                  <a:gd name="connsiteX6" fmla="*/ 285750 w 5667375"/>
                  <a:gd name="connsiteY6" fmla="*/ 114300 h 2838450"/>
                  <a:gd name="connsiteX7" fmla="*/ 409575 w 5667375"/>
                  <a:gd name="connsiteY7" fmla="*/ 133350 h 2838450"/>
                  <a:gd name="connsiteX8" fmla="*/ 447675 w 5667375"/>
                  <a:gd name="connsiteY8" fmla="*/ 142875 h 2838450"/>
                  <a:gd name="connsiteX9" fmla="*/ 523875 w 5667375"/>
                  <a:gd name="connsiteY9" fmla="*/ 152400 h 2838450"/>
                  <a:gd name="connsiteX10" fmla="*/ 571500 w 5667375"/>
                  <a:gd name="connsiteY10" fmla="*/ 161925 h 2838450"/>
                  <a:gd name="connsiteX11" fmla="*/ 657225 w 5667375"/>
                  <a:gd name="connsiteY11" fmla="*/ 171450 h 2838450"/>
                  <a:gd name="connsiteX12" fmla="*/ 752475 w 5667375"/>
                  <a:gd name="connsiteY12" fmla="*/ 219075 h 2838450"/>
                  <a:gd name="connsiteX13" fmla="*/ 790575 w 5667375"/>
                  <a:gd name="connsiteY13" fmla="*/ 247650 h 2838450"/>
                  <a:gd name="connsiteX14" fmla="*/ 923925 w 5667375"/>
                  <a:gd name="connsiteY14" fmla="*/ 295275 h 2838450"/>
                  <a:gd name="connsiteX15" fmla="*/ 1000125 w 5667375"/>
                  <a:gd name="connsiteY15" fmla="*/ 323850 h 2838450"/>
                  <a:gd name="connsiteX16" fmla="*/ 1085850 w 5667375"/>
                  <a:gd name="connsiteY16" fmla="*/ 352425 h 2838450"/>
                  <a:gd name="connsiteX17" fmla="*/ 1171575 w 5667375"/>
                  <a:gd name="connsiteY17" fmla="*/ 409575 h 2838450"/>
                  <a:gd name="connsiteX18" fmla="*/ 1200150 w 5667375"/>
                  <a:gd name="connsiteY18" fmla="*/ 428625 h 2838450"/>
                  <a:gd name="connsiteX19" fmla="*/ 1228725 w 5667375"/>
                  <a:gd name="connsiteY19" fmla="*/ 438150 h 2838450"/>
                  <a:gd name="connsiteX20" fmla="*/ 1285875 w 5667375"/>
                  <a:gd name="connsiteY20" fmla="*/ 476250 h 2838450"/>
                  <a:gd name="connsiteX21" fmla="*/ 1314450 w 5667375"/>
                  <a:gd name="connsiteY21" fmla="*/ 495300 h 2838450"/>
                  <a:gd name="connsiteX22" fmla="*/ 1390650 w 5667375"/>
                  <a:gd name="connsiteY22" fmla="*/ 533400 h 2838450"/>
                  <a:gd name="connsiteX23" fmla="*/ 1419225 w 5667375"/>
                  <a:gd name="connsiteY23" fmla="*/ 561975 h 2838450"/>
                  <a:gd name="connsiteX24" fmla="*/ 1495425 w 5667375"/>
                  <a:gd name="connsiteY24" fmla="*/ 609600 h 2838450"/>
                  <a:gd name="connsiteX25" fmla="*/ 1552575 w 5667375"/>
                  <a:gd name="connsiteY25" fmla="*/ 647700 h 2838450"/>
                  <a:gd name="connsiteX26" fmla="*/ 1590675 w 5667375"/>
                  <a:gd name="connsiteY26" fmla="*/ 676275 h 2838450"/>
                  <a:gd name="connsiteX27" fmla="*/ 1666875 w 5667375"/>
                  <a:gd name="connsiteY27" fmla="*/ 733425 h 2838450"/>
                  <a:gd name="connsiteX28" fmla="*/ 1704975 w 5667375"/>
                  <a:gd name="connsiteY28" fmla="*/ 742950 h 2838450"/>
                  <a:gd name="connsiteX29" fmla="*/ 1743075 w 5667375"/>
                  <a:gd name="connsiteY29" fmla="*/ 771525 h 2838450"/>
                  <a:gd name="connsiteX30" fmla="*/ 1800225 w 5667375"/>
                  <a:gd name="connsiteY30" fmla="*/ 809625 h 2838450"/>
                  <a:gd name="connsiteX31" fmla="*/ 1838325 w 5667375"/>
                  <a:gd name="connsiteY31" fmla="*/ 838200 h 2838450"/>
                  <a:gd name="connsiteX32" fmla="*/ 1885950 w 5667375"/>
                  <a:gd name="connsiteY32" fmla="*/ 876300 h 2838450"/>
                  <a:gd name="connsiteX33" fmla="*/ 1971675 w 5667375"/>
                  <a:gd name="connsiteY33" fmla="*/ 933450 h 2838450"/>
                  <a:gd name="connsiteX34" fmla="*/ 2000250 w 5667375"/>
                  <a:gd name="connsiteY34" fmla="*/ 952500 h 2838450"/>
                  <a:gd name="connsiteX35" fmla="*/ 2038350 w 5667375"/>
                  <a:gd name="connsiteY35" fmla="*/ 971550 h 2838450"/>
                  <a:gd name="connsiteX36" fmla="*/ 2133600 w 5667375"/>
                  <a:gd name="connsiteY36" fmla="*/ 1028700 h 2838450"/>
                  <a:gd name="connsiteX37" fmla="*/ 2190750 w 5667375"/>
                  <a:gd name="connsiteY37" fmla="*/ 1047750 h 2838450"/>
                  <a:gd name="connsiteX38" fmla="*/ 2266950 w 5667375"/>
                  <a:gd name="connsiteY38" fmla="*/ 1095375 h 2838450"/>
                  <a:gd name="connsiteX39" fmla="*/ 2295525 w 5667375"/>
                  <a:gd name="connsiteY39" fmla="*/ 1114425 h 2838450"/>
                  <a:gd name="connsiteX40" fmla="*/ 2324100 w 5667375"/>
                  <a:gd name="connsiteY40" fmla="*/ 1123950 h 2838450"/>
                  <a:gd name="connsiteX41" fmla="*/ 2362200 w 5667375"/>
                  <a:gd name="connsiteY41" fmla="*/ 1152525 h 2838450"/>
                  <a:gd name="connsiteX42" fmla="*/ 2390775 w 5667375"/>
                  <a:gd name="connsiteY42" fmla="*/ 1181100 h 2838450"/>
                  <a:gd name="connsiteX43" fmla="*/ 2428875 w 5667375"/>
                  <a:gd name="connsiteY43" fmla="*/ 1190625 h 2838450"/>
                  <a:gd name="connsiteX44" fmla="*/ 2476500 w 5667375"/>
                  <a:gd name="connsiteY44" fmla="*/ 1209675 h 2838450"/>
                  <a:gd name="connsiteX45" fmla="*/ 2533650 w 5667375"/>
                  <a:gd name="connsiteY45" fmla="*/ 1228725 h 2838450"/>
                  <a:gd name="connsiteX46" fmla="*/ 2562225 w 5667375"/>
                  <a:gd name="connsiteY46" fmla="*/ 1247775 h 2838450"/>
                  <a:gd name="connsiteX47" fmla="*/ 2590800 w 5667375"/>
                  <a:gd name="connsiteY47" fmla="*/ 1257300 h 2838450"/>
                  <a:gd name="connsiteX48" fmla="*/ 2647950 w 5667375"/>
                  <a:gd name="connsiteY48" fmla="*/ 1295400 h 2838450"/>
                  <a:gd name="connsiteX49" fmla="*/ 2686050 w 5667375"/>
                  <a:gd name="connsiteY49" fmla="*/ 1323975 h 2838450"/>
                  <a:gd name="connsiteX50" fmla="*/ 2714625 w 5667375"/>
                  <a:gd name="connsiteY50" fmla="*/ 1333500 h 2838450"/>
                  <a:gd name="connsiteX51" fmla="*/ 2752725 w 5667375"/>
                  <a:gd name="connsiteY51" fmla="*/ 1352550 h 2838450"/>
                  <a:gd name="connsiteX52" fmla="*/ 2819400 w 5667375"/>
                  <a:gd name="connsiteY52" fmla="*/ 1381125 h 2838450"/>
                  <a:gd name="connsiteX53" fmla="*/ 2847975 w 5667375"/>
                  <a:gd name="connsiteY53" fmla="*/ 1400175 h 2838450"/>
                  <a:gd name="connsiteX54" fmla="*/ 2905125 w 5667375"/>
                  <a:gd name="connsiteY54" fmla="*/ 1419225 h 2838450"/>
                  <a:gd name="connsiteX55" fmla="*/ 2933700 w 5667375"/>
                  <a:gd name="connsiteY55" fmla="*/ 1428750 h 2838450"/>
                  <a:gd name="connsiteX56" fmla="*/ 2971800 w 5667375"/>
                  <a:gd name="connsiteY56" fmla="*/ 1447800 h 2838450"/>
                  <a:gd name="connsiteX57" fmla="*/ 3028950 w 5667375"/>
                  <a:gd name="connsiteY57" fmla="*/ 1466850 h 2838450"/>
                  <a:gd name="connsiteX58" fmla="*/ 3105150 w 5667375"/>
                  <a:gd name="connsiteY58" fmla="*/ 1514475 h 2838450"/>
                  <a:gd name="connsiteX59" fmla="*/ 3143250 w 5667375"/>
                  <a:gd name="connsiteY59" fmla="*/ 1543050 h 2838450"/>
                  <a:gd name="connsiteX60" fmla="*/ 3190875 w 5667375"/>
                  <a:gd name="connsiteY60" fmla="*/ 1562100 h 2838450"/>
                  <a:gd name="connsiteX61" fmla="*/ 3248025 w 5667375"/>
                  <a:gd name="connsiteY61" fmla="*/ 1619250 h 2838450"/>
                  <a:gd name="connsiteX62" fmla="*/ 3314700 w 5667375"/>
                  <a:gd name="connsiteY62" fmla="*/ 1666875 h 2838450"/>
                  <a:gd name="connsiteX63" fmla="*/ 3352800 w 5667375"/>
                  <a:gd name="connsiteY63" fmla="*/ 1695450 h 2838450"/>
                  <a:gd name="connsiteX64" fmla="*/ 3419475 w 5667375"/>
                  <a:gd name="connsiteY64" fmla="*/ 1762125 h 2838450"/>
                  <a:gd name="connsiteX65" fmla="*/ 3486150 w 5667375"/>
                  <a:gd name="connsiteY65" fmla="*/ 1809750 h 2838450"/>
                  <a:gd name="connsiteX66" fmla="*/ 3514725 w 5667375"/>
                  <a:gd name="connsiteY66" fmla="*/ 1838325 h 2838450"/>
                  <a:gd name="connsiteX67" fmla="*/ 3533775 w 5667375"/>
                  <a:gd name="connsiteY67" fmla="*/ 1866900 h 2838450"/>
                  <a:gd name="connsiteX68" fmla="*/ 3562350 w 5667375"/>
                  <a:gd name="connsiteY68" fmla="*/ 1876425 h 2838450"/>
                  <a:gd name="connsiteX69" fmla="*/ 3629025 w 5667375"/>
                  <a:gd name="connsiteY69" fmla="*/ 1924050 h 2838450"/>
                  <a:gd name="connsiteX70" fmla="*/ 3667125 w 5667375"/>
                  <a:gd name="connsiteY70" fmla="*/ 1943100 h 2838450"/>
                  <a:gd name="connsiteX71" fmla="*/ 3714750 w 5667375"/>
                  <a:gd name="connsiteY71" fmla="*/ 1971675 h 2838450"/>
                  <a:gd name="connsiteX72" fmla="*/ 3771900 w 5667375"/>
                  <a:gd name="connsiteY72" fmla="*/ 1990725 h 2838450"/>
                  <a:gd name="connsiteX73" fmla="*/ 3876675 w 5667375"/>
                  <a:gd name="connsiteY73" fmla="*/ 2047875 h 2838450"/>
                  <a:gd name="connsiteX74" fmla="*/ 3981450 w 5667375"/>
                  <a:gd name="connsiteY74" fmla="*/ 2076450 h 2838450"/>
                  <a:gd name="connsiteX75" fmla="*/ 4010025 w 5667375"/>
                  <a:gd name="connsiteY75" fmla="*/ 2085975 h 2838450"/>
                  <a:gd name="connsiteX76" fmla="*/ 4057650 w 5667375"/>
                  <a:gd name="connsiteY76" fmla="*/ 2095500 h 2838450"/>
                  <a:gd name="connsiteX77" fmla="*/ 4114800 w 5667375"/>
                  <a:gd name="connsiteY77" fmla="*/ 2114550 h 2838450"/>
                  <a:gd name="connsiteX78" fmla="*/ 4152900 w 5667375"/>
                  <a:gd name="connsiteY78" fmla="*/ 2124075 h 2838450"/>
                  <a:gd name="connsiteX79" fmla="*/ 4181475 w 5667375"/>
                  <a:gd name="connsiteY79" fmla="*/ 2133600 h 2838450"/>
                  <a:gd name="connsiteX80" fmla="*/ 4219575 w 5667375"/>
                  <a:gd name="connsiteY80" fmla="*/ 2143125 h 2838450"/>
                  <a:gd name="connsiteX81" fmla="*/ 4257675 w 5667375"/>
                  <a:gd name="connsiteY81" fmla="*/ 2162175 h 2838450"/>
                  <a:gd name="connsiteX82" fmla="*/ 4295775 w 5667375"/>
                  <a:gd name="connsiteY82" fmla="*/ 2171700 h 2838450"/>
                  <a:gd name="connsiteX83" fmla="*/ 4381500 w 5667375"/>
                  <a:gd name="connsiteY83" fmla="*/ 2200275 h 2838450"/>
                  <a:gd name="connsiteX84" fmla="*/ 4552950 w 5667375"/>
                  <a:gd name="connsiteY84" fmla="*/ 2247900 h 2838450"/>
                  <a:gd name="connsiteX85" fmla="*/ 4581525 w 5667375"/>
                  <a:gd name="connsiteY85" fmla="*/ 2257425 h 2838450"/>
                  <a:gd name="connsiteX86" fmla="*/ 4638675 w 5667375"/>
                  <a:gd name="connsiteY86" fmla="*/ 2266950 h 2838450"/>
                  <a:gd name="connsiteX87" fmla="*/ 4686300 w 5667375"/>
                  <a:gd name="connsiteY87" fmla="*/ 2286000 h 2838450"/>
                  <a:gd name="connsiteX88" fmla="*/ 4772025 w 5667375"/>
                  <a:gd name="connsiteY88" fmla="*/ 2305050 h 2838450"/>
                  <a:gd name="connsiteX89" fmla="*/ 4848225 w 5667375"/>
                  <a:gd name="connsiteY89" fmla="*/ 2343150 h 2838450"/>
                  <a:gd name="connsiteX90" fmla="*/ 4905375 w 5667375"/>
                  <a:gd name="connsiteY90" fmla="*/ 2362200 h 2838450"/>
                  <a:gd name="connsiteX91" fmla="*/ 4991100 w 5667375"/>
                  <a:gd name="connsiteY91" fmla="*/ 2409825 h 2838450"/>
                  <a:gd name="connsiteX92" fmla="*/ 5029200 w 5667375"/>
                  <a:gd name="connsiteY92" fmla="*/ 2438400 h 2838450"/>
                  <a:gd name="connsiteX93" fmla="*/ 5086350 w 5667375"/>
                  <a:gd name="connsiteY93" fmla="*/ 2476500 h 2838450"/>
                  <a:gd name="connsiteX94" fmla="*/ 5143500 w 5667375"/>
                  <a:gd name="connsiteY94" fmla="*/ 2524125 h 2838450"/>
                  <a:gd name="connsiteX95" fmla="*/ 5172075 w 5667375"/>
                  <a:gd name="connsiteY95" fmla="*/ 2533650 h 2838450"/>
                  <a:gd name="connsiteX96" fmla="*/ 5238750 w 5667375"/>
                  <a:gd name="connsiteY96" fmla="*/ 2581275 h 2838450"/>
                  <a:gd name="connsiteX97" fmla="*/ 5267325 w 5667375"/>
                  <a:gd name="connsiteY97" fmla="*/ 2590800 h 2838450"/>
                  <a:gd name="connsiteX98" fmla="*/ 5314950 w 5667375"/>
                  <a:gd name="connsiteY98" fmla="*/ 2628900 h 2838450"/>
                  <a:gd name="connsiteX99" fmla="*/ 5353050 w 5667375"/>
                  <a:gd name="connsiteY99" fmla="*/ 2647950 h 2838450"/>
                  <a:gd name="connsiteX100" fmla="*/ 5400675 w 5667375"/>
                  <a:gd name="connsiteY100" fmla="*/ 2686050 h 2838450"/>
                  <a:gd name="connsiteX101" fmla="*/ 5429250 w 5667375"/>
                  <a:gd name="connsiteY101" fmla="*/ 2695575 h 2838450"/>
                  <a:gd name="connsiteX102" fmla="*/ 5476875 w 5667375"/>
                  <a:gd name="connsiteY102" fmla="*/ 2714625 h 2838450"/>
                  <a:gd name="connsiteX103" fmla="*/ 5505450 w 5667375"/>
                  <a:gd name="connsiteY103" fmla="*/ 2733675 h 2838450"/>
                  <a:gd name="connsiteX104" fmla="*/ 5543550 w 5667375"/>
                  <a:gd name="connsiteY104" fmla="*/ 2752725 h 2838450"/>
                  <a:gd name="connsiteX105" fmla="*/ 5572125 w 5667375"/>
                  <a:gd name="connsiteY105" fmla="*/ 2771775 h 2838450"/>
                  <a:gd name="connsiteX106" fmla="*/ 5600700 w 5667375"/>
                  <a:gd name="connsiteY106" fmla="*/ 2781300 h 2838450"/>
                  <a:gd name="connsiteX107" fmla="*/ 5667375 w 5667375"/>
                  <a:gd name="connsiteY107" fmla="*/ 2838450 h 28384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5667375" h="2838450">
                    <a:moveTo>
                      <a:pt x="0" y="0"/>
                    </a:moveTo>
                    <a:cubicBezTo>
                      <a:pt x="22225" y="3175"/>
                      <a:pt x="45015" y="3618"/>
                      <a:pt x="66675" y="9525"/>
                    </a:cubicBezTo>
                    <a:cubicBezTo>
                      <a:pt x="80374" y="13261"/>
                      <a:pt x="91724" y="22982"/>
                      <a:pt x="104775" y="28575"/>
                    </a:cubicBezTo>
                    <a:cubicBezTo>
                      <a:pt x="114003" y="32530"/>
                      <a:pt x="124370" y="33610"/>
                      <a:pt x="133350" y="38100"/>
                    </a:cubicBezTo>
                    <a:cubicBezTo>
                      <a:pt x="143589" y="43220"/>
                      <a:pt x="151464" y="52501"/>
                      <a:pt x="161925" y="57150"/>
                    </a:cubicBezTo>
                    <a:cubicBezTo>
                      <a:pt x="180275" y="65305"/>
                      <a:pt x="202367" y="65061"/>
                      <a:pt x="219075" y="76200"/>
                    </a:cubicBezTo>
                    <a:cubicBezTo>
                      <a:pt x="238207" y="88954"/>
                      <a:pt x="263778" y="107708"/>
                      <a:pt x="285750" y="114300"/>
                    </a:cubicBezTo>
                    <a:cubicBezTo>
                      <a:pt x="299914" y="118549"/>
                      <a:pt x="399494" y="131517"/>
                      <a:pt x="409575" y="133350"/>
                    </a:cubicBezTo>
                    <a:cubicBezTo>
                      <a:pt x="422455" y="135692"/>
                      <a:pt x="434762" y="140723"/>
                      <a:pt x="447675" y="142875"/>
                    </a:cubicBezTo>
                    <a:cubicBezTo>
                      <a:pt x="472924" y="147083"/>
                      <a:pt x="498575" y="148508"/>
                      <a:pt x="523875" y="152400"/>
                    </a:cubicBezTo>
                    <a:cubicBezTo>
                      <a:pt x="539876" y="154862"/>
                      <a:pt x="555473" y="159635"/>
                      <a:pt x="571500" y="161925"/>
                    </a:cubicBezTo>
                    <a:cubicBezTo>
                      <a:pt x="599962" y="165991"/>
                      <a:pt x="628650" y="168275"/>
                      <a:pt x="657225" y="171450"/>
                    </a:cubicBezTo>
                    <a:cubicBezTo>
                      <a:pt x="725267" y="216812"/>
                      <a:pt x="692163" y="203997"/>
                      <a:pt x="752475" y="219075"/>
                    </a:cubicBezTo>
                    <a:cubicBezTo>
                      <a:pt x="765175" y="228600"/>
                      <a:pt x="776638" y="240048"/>
                      <a:pt x="790575" y="247650"/>
                    </a:cubicBezTo>
                    <a:cubicBezTo>
                      <a:pt x="842104" y="275757"/>
                      <a:pt x="868788" y="278734"/>
                      <a:pt x="923925" y="295275"/>
                    </a:cubicBezTo>
                    <a:cubicBezTo>
                      <a:pt x="967670" y="308399"/>
                      <a:pt x="944967" y="304151"/>
                      <a:pt x="1000125" y="323850"/>
                    </a:cubicBezTo>
                    <a:cubicBezTo>
                      <a:pt x="1028491" y="333981"/>
                      <a:pt x="1060788" y="335717"/>
                      <a:pt x="1085850" y="352425"/>
                    </a:cubicBezTo>
                    <a:lnTo>
                      <a:pt x="1171575" y="409575"/>
                    </a:lnTo>
                    <a:cubicBezTo>
                      <a:pt x="1181100" y="415925"/>
                      <a:pt x="1189290" y="425005"/>
                      <a:pt x="1200150" y="428625"/>
                    </a:cubicBezTo>
                    <a:cubicBezTo>
                      <a:pt x="1209675" y="431800"/>
                      <a:pt x="1219948" y="433274"/>
                      <a:pt x="1228725" y="438150"/>
                    </a:cubicBezTo>
                    <a:cubicBezTo>
                      <a:pt x="1248739" y="449269"/>
                      <a:pt x="1266825" y="463550"/>
                      <a:pt x="1285875" y="476250"/>
                    </a:cubicBezTo>
                    <a:cubicBezTo>
                      <a:pt x="1295400" y="482600"/>
                      <a:pt x="1304211" y="490180"/>
                      <a:pt x="1314450" y="495300"/>
                    </a:cubicBezTo>
                    <a:cubicBezTo>
                      <a:pt x="1339850" y="508000"/>
                      <a:pt x="1370570" y="513320"/>
                      <a:pt x="1390650" y="533400"/>
                    </a:cubicBezTo>
                    <a:cubicBezTo>
                      <a:pt x="1400175" y="542925"/>
                      <a:pt x="1408331" y="554052"/>
                      <a:pt x="1419225" y="561975"/>
                    </a:cubicBezTo>
                    <a:cubicBezTo>
                      <a:pt x="1443449" y="579592"/>
                      <a:pt x="1474245" y="588420"/>
                      <a:pt x="1495425" y="609600"/>
                    </a:cubicBezTo>
                    <a:cubicBezTo>
                      <a:pt x="1531100" y="645275"/>
                      <a:pt x="1511221" y="633915"/>
                      <a:pt x="1552575" y="647700"/>
                    </a:cubicBezTo>
                    <a:cubicBezTo>
                      <a:pt x="1565275" y="657225"/>
                      <a:pt x="1578622" y="665944"/>
                      <a:pt x="1590675" y="676275"/>
                    </a:cubicBezTo>
                    <a:cubicBezTo>
                      <a:pt x="1630535" y="710440"/>
                      <a:pt x="1610182" y="708228"/>
                      <a:pt x="1666875" y="733425"/>
                    </a:cubicBezTo>
                    <a:cubicBezTo>
                      <a:pt x="1678838" y="738742"/>
                      <a:pt x="1692275" y="739775"/>
                      <a:pt x="1704975" y="742950"/>
                    </a:cubicBezTo>
                    <a:cubicBezTo>
                      <a:pt x="1717675" y="752475"/>
                      <a:pt x="1730070" y="762421"/>
                      <a:pt x="1743075" y="771525"/>
                    </a:cubicBezTo>
                    <a:cubicBezTo>
                      <a:pt x="1761832" y="784655"/>
                      <a:pt x="1781909" y="795888"/>
                      <a:pt x="1800225" y="809625"/>
                    </a:cubicBezTo>
                    <a:cubicBezTo>
                      <a:pt x="1812925" y="819150"/>
                      <a:pt x="1827100" y="826975"/>
                      <a:pt x="1838325" y="838200"/>
                    </a:cubicBezTo>
                    <a:cubicBezTo>
                      <a:pt x="1881409" y="881284"/>
                      <a:pt x="1830320" y="857757"/>
                      <a:pt x="1885950" y="876300"/>
                    </a:cubicBezTo>
                    <a:cubicBezTo>
                      <a:pt x="1949363" y="923860"/>
                      <a:pt x="1898190" y="887522"/>
                      <a:pt x="1971675" y="933450"/>
                    </a:cubicBezTo>
                    <a:cubicBezTo>
                      <a:pt x="1981383" y="939517"/>
                      <a:pt x="1990311" y="946820"/>
                      <a:pt x="2000250" y="952500"/>
                    </a:cubicBezTo>
                    <a:cubicBezTo>
                      <a:pt x="2012578" y="959545"/>
                      <a:pt x="2026174" y="964245"/>
                      <a:pt x="2038350" y="971550"/>
                    </a:cubicBezTo>
                    <a:cubicBezTo>
                      <a:pt x="2083075" y="998385"/>
                      <a:pt x="2090054" y="1011282"/>
                      <a:pt x="2133600" y="1028700"/>
                    </a:cubicBezTo>
                    <a:cubicBezTo>
                      <a:pt x="2152244" y="1036158"/>
                      <a:pt x="2172789" y="1038770"/>
                      <a:pt x="2190750" y="1047750"/>
                    </a:cubicBezTo>
                    <a:cubicBezTo>
                      <a:pt x="2217541" y="1061145"/>
                      <a:pt x="2242028" y="1078760"/>
                      <a:pt x="2266950" y="1095375"/>
                    </a:cubicBezTo>
                    <a:cubicBezTo>
                      <a:pt x="2276475" y="1101725"/>
                      <a:pt x="2285286" y="1109305"/>
                      <a:pt x="2295525" y="1114425"/>
                    </a:cubicBezTo>
                    <a:cubicBezTo>
                      <a:pt x="2304505" y="1118915"/>
                      <a:pt x="2314575" y="1120775"/>
                      <a:pt x="2324100" y="1123950"/>
                    </a:cubicBezTo>
                    <a:cubicBezTo>
                      <a:pt x="2336800" y="1133475"/>
                      <a:pt x="2350147" y="1142194"/>
                      <a:pt x="2362200" y="1152525"/>
                    </a:cubicBezTo>
                    <a:cubicBezTo>
                      <a:pt x="2372427" y="1161291"/>
                      <a:pt x="2379079" y="1174417"/>
                      <a:pt x="2390775" y="1181100"/>
                    </a:cubicBezTo>
                    <a:cubicBezTo>
                      <a:pt x="2402141" y="1187595"/>
                      <a:pt x="2416456" y="1186485"/>
                      <a:pt x="2428875" y="1190625"/>
                    </a:cubicBezTo>
                    <a:cubicBezTo>
                      <a:pt x="2445095" y="1196032"/>
                      <a:pt x="2460432" y="1203832"/>
                      <a:pt x="2476500" y="1209675"/>
                    </a:cubicBezTo>
                    <a:cubicBezTo>
                      <a:pt x="2495371" y="1216537"/>
                      <a:pt x="2516942" y="1217586"/>
                      <a:pt x="2533650" y="1228725"/>
                    </a:cubicBezTo>
                    <a:cubicBezTo>
                      <a:pt x="2543175" y="1235075"/>
                      <a:pt x="2551986" y="1242655"/>
                      <a:pt x="2562225" y="1247775"/>
                    </a:cubicBezTo>
                    <a:cubicBezTo>
                      <a:pt x="2571205" y="1252265"/>
                      <a:pt x="2582023" y="1252424"/>
                      <a:pt x="2590800" y="1257300"/>
                    </a:cubicBezTo>
                    <a:cubicBezTo>
                      <a:pt x="2610814" y="1268419"/>
                      <a:pt x="2629634" y="1281663"/>
                      <a:pt x="2647950" y="1295400"/>
                    </a:cubicBezTo>
                    <a:cubicBezTo>
                      <a:pt x="2660650" y="1304925"/>
                      <a:pt x="2672267" y="1316099"/>
                      <a:pt x="2686050" y="1323975"/>
                    </a:cubicBezTo>
                    <a:cubicBezTo>
                      <a:pt x="2694767" y="1328956"/>
                      <a:pt x="2705397" y="1329545"/>
                      <a:pt x="2714625" y="1333500"/>
                    </a:cubicBezTo>
                    <a:cubicBezTo>
                      <a:pt x="2727676" y="1339093"/>
                      <a:pt x="2739799" y="1346674"/>
                      <a:pt x="2752725" y="1352550"/>
                    </a:cubicBezTo>
                    <a:cubicBezTo>
                      <a:pt x="2774738" y="1362556"/>
                      <a:pt x="2797773" y="1370311"/>
                      <a:pt x="2819400" y="1381125"/>
                    </a:cubicBezTo>
                    <a:cubicBezTo>
                      <a:pt x="2829639" y="1386245"/>
                      <a:pt x="2837514" y="1395526"/>
                      <a:pt x="2847975" y="1400175"/>
                    </a:cubicBezTo>
                    <a:cubicBezTo>
                      <a:pt x="2866325" y="1408330"/>
                      <a:pt x="2886075" y="1412875"/>
                      <a:pt x="2905125" y="1419225"/>
                    </a:cubicBezTo>
                    <a:cubicBezTo>
                      <a:pt x="2914650" y="1422400"/>
                      <a:pt x="2924720" y="1424260"/>
                      <a:pt x="2933700" y="1428750"/>
                    </a:cubicBezTo>
                    <a:cubicBezTo>
                      <a:pt x="2946400" y="1435100"/>
                      <a:pt x="2958617" y="1442527"/>
                      <a:pt x="2971800" y="1447800"/>
                    </a:cubicBezTo>
                    <a:cubicBezTo>
                      <a:pt x="2990444" y="1455258"/>
                      <a:pt x="3010989" y="1457870"/>
                      <a:pt x="3028950" y="1466850"/>
                    </a:cubicBezTo>
                    <a:cubicBezTo>
                      <a:pt x="3055741" y="1480245"/>
                      <a:pt x="3081188" y="1496503"/>
                      <a:pt x="3105150" y="1514475"/>
                    </a:cubicBezTo>
                    <a:cubicBezTo>
                      <a:pt x="3117850" y="1524000"/>
                      <a:pt x="3129373" y="1535340"/>
                      <a:pt x="3143250" y="1543050"/>
                    </a:cubicBezTo>
                    <a:cubicBezTo>
                      <a:pt x="3158196" y="1551353"/>
                      <a:pt x="3175000" y="1555750"/>
                      <a:pt x="3190875" y="1562100"/>
                    </a:cubicBezTo>
                    <a:cubicBezTo>
                      <a:pt x="3209925" y="1581150"/>
                      <a:pt x="3223928" y="1607202"/>
                      <a:pt x="3248025" y="1619250"/>
                    </a:cubicBezTo>
                    <a:cubicBezTo>
                      <a:pt x="3314455" y="1652465"/>
                      <a:pt x="3260639" y="1620537"/>
                      <a:pt x="3314700" y="1666875"/>
                    </a:cubicBezTo>
                    <a:cubicBezTo>
                      <a:pt x="3326753" y="1677206"/>
                      <a:pt x="3341053" y="1684771"/>
                      <a:pt x="3352800" y="1695450"/>
                    </a:cubicBezTo>
                    <a:cubicBezTo>
                      <a:pt x="3376057" y="1716593"/>
                      <a:pt x="3393323" y="1744690"/>
                      <a:pt x="3419475" y="1762125"/>
                    </a:cubicBezTo>
                    <a:cubicBezTo>
                      <a:pt x="3442090" y="1777202"/>
                      <a:pt x="3465475" y="1792028"/>
                      <a:pt x="3486150" y="1809750"/>
                    </a:cubicBezTo>
                    <a:cubicBezTo>
                      <a:pt x="3496377" y="1818516"/>
                      <a:pt x="3506101" y="1827977"/>
                      <a:pt x="3514725" y="1838325"/>
                    </a:cubicBezTo>
                    <a:cubicBezTo>
                      <a:pt x="3522054" y="1847119"/>
                      <a:pt x="3524836" y="1859749"/>
                      <a:pt x="3533775" y="1866900"/>
                    </a:cubicBezTo>
                    <a:cubicBezTo>
                      <a:pt x="3541615" y="1873172"/>
                      <a:pt x="3553370" y="1871935"/>
                      <a:pt x="3562350" y="1876425"/>
                    </a:cubicBezTo>
                    <a:cubicBezTo>
                      <a:pt x="3582500" y="1886500"/>
                      <a:pt x="3611767" y="1913264"/>
                      <a:pt x="3629025" y="1924050"/>
                    </a:cubicBezTo>
                    <a:cubicBezTo>
                      <a:pt x="3641066" y="1931575"/>
                      <a:pt x="3654713" y="1936204"/>
                      <a:pt x="3667125" y="1943100"/>
                    </a:cubicBezTo>
                    <a:cubicBezTo>
                      <a:pt x="3683309" y="1952091"/>
                      <a:pt x="3697896" y="1964014"/>
                      <a:pt x="3714750" y="1971675"/>
                    </a:cubicBezTo>
                    <a:cubicBezTo>
                      <a:pt x="3733031" y="1979984"/>
                      <a:pt x="3754465" y="1980762"/>
                      <a:pt x="3771900" y="1990725"/>
                    </a:cubicBezTo>
                    <a:cubicBezTo>
                      <a:pt x="3786759" y="1999216"/>
                      <a:pt x="3851260" y="2037709"/>
                      <a:pt x="3876675" y="2047875"/>
                    </a:cubicBezTo>
                    <a:cubicBezTo>
                      <a:pt x="3944789" y="2075121"/>
                      <a:pt x="3917677" y="2060507"/>
                      <a:pt x="3981450" y="2076450"/>
                    </a:cubicBezTo>
                    <a:cubicBezTo>
                      <a:pt x="3991190" y="2078885"/>
                      <a:pt x="4000285" y="2083540"/>
                      <a:pt x="4010025" y="2085975"/>
                    </a:cubicBezTo>
                    <a:cubicBezTo>
                      <a:pt x="4025731" y="2089902"/>
                      <a:pt x="4042031" y="2091240"/>
                      <a:pt x="4057650" y="2095500"/>
                    </a:cubicBezTo>
                    <a:cubicBezTo>
                      <a:pt x="4077023" y="2100784"/>
                      <a:pt x="4095566" y="2108780"/>
                      <a:pt x="4114800" y="2114550"/>
                    </a:cubicBezTo>
                    <a:cubicBezTo>
                      <a:pt x="4127339" y="2118312"/>
                      <a:pt x="4140313" y="2120479"/>
                      <a:pt x="4152900" y="2124075"/>
                    </a:cubicBezTo>
                    <a:cubicBezTo>
                      <a:pt x="4162554" y="2126833"/>
                      <a:pt x="4171821" y="2130842"/>
                      <a:pt x="4181475" y="2133600"/>
                    </a:cubicBezTo>
                    <a:cubicBezTo>
                      <a:pt x="4194062" y="2137196"/>
                      <a:pt x="4207318" y="2138528"/>
                      <a:pt x="4219575" y="2143125"/>
                    </a:cubicBezTo>
                    <a:cubicBezTo>
                      <a:pt x="4232870" y="2148111"/>
                      <a:pt x="4244380" y="2157189"/>
                      <a:pt x="4257675" y="2162175"/>
                    </a:cubicBezTo>
                    <a:cubicBezTo>
                      <a:pt x="4269932" y="2166772"/>
                      <a:pt x="4283263" y="2167850"/>
                      <a:pt x="4295775" y="2171700"/>
                    </a:cubicBezTo>
                    <a:cubicBezTo>
                      <a:pt x="4324564" y="2180558"/>
                      <a:pt x="4352620" y="2191718"/>
                      <a:pt x="4381500" y="2200275"/>
                    </a:cubicBezTo>
                    <a:cubicBezTo>
                      <a:pt x="4438370" y="2217125"/>
                      <a:pt x="4496680" y="2229143"/>
                      <a:pt x="4552950" y="2247900"/>
                    </a:cubicBezTo>
                    <a:cubicBezTo>
                      <a:pt x="4562475" y="2251075"/>
                      <a:pt x="4571724" y="2255247"/>
                      <a:pt x="4581525" y="2257425"/>
                    </a:cubicBezTo>
                    <a:cubicBezTo>
                      <a:pt x="4600378" y="2261615"/>
                      <a:pt x="4619625" y="2263775"/>
                      <a:pt x="4638675" y="2266950"/>
                    </a:cubicBezTo>
                    <a:cubicBezTo>
                      <a:pt x="4654550" y="2273300"/>
                      <a:pt x="4670080" y="2280593"/>
                      <a:pt x="4686300" y="2286000"/>
                    </a:cubicBezTo>
                    <a:cubicBezTo>
                      <a:pt x="4706477" y="2292726"/>
                      <a:pt x="4753152" y="2301275"/>
                      <a:pt x="4772025" y="2305050"/>
                    </a:cubicBezTo>
                    <a:cubicBezTo>
                      <a:pt x="4797425" y="2317750"/>
                      <a:pt x="4821284" y="2334170"/>
                      <a:pt x="4848225" y="2343150"/>
                    </a:cubicBezTo>
                    <a:cubicBezTo>
                      <a:pt x="4867275" y="2349500"/>
                      <a:pt x="4887414" y="2353220"/>
                      <a:pt x="4905375" y="2362200"/>
                    </a:cubicBezTo>
                    <a:cubicBezTo>
                      <a:pt x="4941688" y="2380356"/>
                      <a:pt x="4955220" y="2385905"/>
                      <a:pt x="4991100" y="2409825"/>
                    </a:cubicBezTo>
                    <a:cubicBezTo>
                      <a:pt x="5004309" y="2418631"/>
                      <a:pt x="5016195" y="2429296"/>
                      <a:pt x="5029200" y="2438400"/>
                    </a:cubicBezTo>
                    <a:cubicBezTo>
                      <a:pt x="5047957" y="2451530"/>
                      <a:pt x="5070161" y="2460311"/>
                      <a:pt x="5086350" y="2476500"/>
                    </a:cubicBezTo>
                    <a:cubicBezTo>
                      <a:pt x="5107416" y="2497566"/>
                      <a:pt x="5116978" y="2510864"/>
                      <a:pt x="5143500" y="2524125"/>
                    </a:cubicBezTo>
                    <a:cubicBezTo>
                      <a:pt x="5152480" y="2528615"/>
                      <a:pt x="5163095" y="2529160"/>
                      <a:pt x="5172075" y="2533650"/>
                    </a:cubicBezTo>
                    <a:cubicBezTo>
                      <a:pt x="5201559" y="2548392"/>
                      <a:pt x="5208549" y="2564017"/>
                      <a:pt x="5238750" y="2581275"/>
                    </a:cubicBezTo>
                    <a:cubicBezTo>
                      <a:pt x="5247467" y="2586256"/>
                      <a:pt x="5257800" y="2587625"/>
                      <a:pt x="5267325" y="2590800"/>
                    </a:cubicBezTo>
                    <a:cubicBezTo>
                      <a:pt x="5283200" y="2603500"/>
                      <a:pt x="5298034" y="2617623"/>
                      <a:pt x="5314950" y="2628900"/>
                    </a:cubicBezTo>
                    <a:cubicBezTo>
                      <a:pt x="5326764" y="2636776"/>
                      <a:pt x="5341236" y="2640074"/>
                      <a:pt x="5353050" y="2647950"/>
                    </a:cubicBezTo>
                    <a:cubicBezTo>
                      <a:pt x="5369966" y="2659227"/>
                      <a:pt x="5383435" y="2675275"/>
                      <a:pt x="5400675" y="2686050"/>
                    </a:cubicBezTo>
                    <a:cubicBezTo>
                      <a:pt x="5409189" y="2691371"/>
                      <a:pt x="5419849" y="2692050"/>
                      <a:pt x="5429250" y="2695575"/>
                    </a:cubicBezTo>
                    <a:cubicBezTo>
                      <a:pt x="5445259" y="2701578"/>
                      <a:pt x="5461582" y="2706979"/>
                      <a:pt x="5476875" y="2714625"/>
                    </a:cubicBezTo>
                    <a:cubicBezTo>
                      <a:pt x="5487114" y="2719745"/>
                      <a:pt x="5495511" y="2727995"/>
                      <a:pt x="5505450" y="2733675"/>
                    </a:cubicBezTo>
                    <a:cubicBezTo>
                      <a:pt x="5517778" y="2740720"/>
                      <a:pt x="5531222" y="2745680"/>
                      <a:pt x="5543550" y="2752725"/>
                    </a:cubicBezTo>
                    <a:cubicBezTo>
                      <a:pt x="5553489" y="2758405"/>
                      <a:pt x="5561886" y="2766655"/>
                      <a:pt x="5572125" y="2771775"/>
                    </a:cubicBezTo>
                    <a:cubicBezTo>
                      <a:pt x="5581105" y="2776265"/>
                      <a:pt x="5591923" y="2776424"/>
                      <a:pt x="5600700" y="2781300"/>
                    </a:cubicBezTo>
                    <a:cubicBezTo>
                      <a:pt x="5658907" y="2813637"/>
                      <a:pt x="5649115" y="2801930"/>
                      <a:pt x="5667375" y="2838450"/>
                    </a:cubicBezTo>
                  </a:path>
                </a:pathLst>
              </a:custGeom>
              <a:ln w="38100">
                <a:solidFill>
                  <a:schemeClr val="tx1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accent3"/>
              </a:lnRef>
              <a:fillRef idx="0">
                <a:schemeClr val="accent3"/>
              </a:fillRef>
              <a:effectRef idx="0">
                <a:schemeClr val="accent3"/>
              </a:effectRef>
              <a:fontRef idx="minor">
                <a:schemeClr val="tx1"/>
              </a:fontRef>
            </p:style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2" name="Oval 11"/>
              <p:cNvSpPr/>
              <p:nvPr/>
            </p:nvSpPr>
            <p:spPr bwMode="auto">
              <a:xfrm>
                <a:off x="6451225" y="4408135"/>
                <a:ext cx="207209" cy="21296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3" name="Freeform 12"/>
              <p:cNvSpPr/>
              <p:nvPr/>
            </p:nvSpPr>
            <p:spPr bwMode="auto">
              <a:xfrm>
                <a:off x="1860360" y="1806611"/>
                <a:ext cx="8519491" cy="2903926"/>
              </a:xfrm>
              <a:custGeom>
                <a:avLst/>
                <a:gdLst>
                  <a:gd name="connsiteX0" fmla="*/ 0 w 7515225"/>
                  <a:gd name="connsiteY0" fmla="*/ 0 h 2686075"/>
                  <a:gd name="connsiteX1" fmla="*/ 47625 w 7515225"/>
                  <a:gd name="connsiteY1" fmla="*/ 9525 h 2686075"/>
                  <a:gd name="connsiteX2" fmla="*/ 85725 w 7515225"/>
                  <a:gd name="connsiteY2" fmla="*/ 38100 h 2686075"/>
                  <a:gd name="connsiteX3" fmla="*/ 114300 w 7515225"/>
                  <a:gd name="connsiteY3" fmla="*/ 47625 h 2686075"/>
                  <a:gd name="connsiteX4" fmla="*/ 142875 w 7515225"/>
                  <a:gd name="connsiteY4" fmla="*/ 66675 h 2686075"/>
                  <a:gd name="connsiteX5" fmla="*/ 209550 w 7515225"/>
                  <a:gd name="connsiteY5" fmla="*/ 76200 h 2686075"/>
                  <a:gd name="connsiteX6" fmla="*/ 266700 w 7515225"/>
                  <a:gd name="connsiteY6" fmla="*/ 95250 h 2686075"/>
                  <a:gd name="connsiteX7" fmla="*/ 342900 w 7515225"/>
                  <a:gd name="connsiteY7" fmla="*/ 104775 h 2686075"/>
                  <a:gd name="connsiteX8" fmla="*/ 495300 w 7515225"/>
                  <a:gd name="connsiteY8" fmla="*/ 142875 h 2686075"/>
                  <a:gd name="connsiteX9" fmla="*/ 676275 w 7515225"/>
                  <a:gd name="connsiteY9" fmla="*/ 180975 h 2686075"/>
                  <a:gd name="connsiteX10" fmla="*/ 809625 w 7515225"/>
                  <a:gd name="connsiteY10" fmla="*/ 190500 h 2686075"/>
                  <a:gd name="connsiteX11" fmla="*/ 904875 w 7515225"/>
                  <a:gd name="connsiteY11" fmla="*/ 209550 h 2686075"/>
                  <a:gd name="connsiteX12" fmla="*/ 933450 w 7515225"/>
                  <a:gd name="connsiteY12" fmla="*/ 219075 h 2686075"/>
                  <a:gd name="connsiteX13" fmla="*/ 1009650 w 7515225"/>
                  <a:gd name="connsiteY13" fmla="*/ 238125 h 2686075"/>
                  <a:gd name="connsiteX14" fmla="*/ 1066800 w 7515225"/>
                  <a:gd name="connsiteY14" fmla="*/ 257175 h 2686075"/>
                  <a:gd name="connsiteX15" fmla="*/ 1209675 w 7515225"/>
                  <a:gd name="connsiteY15" fmla="*/ 295275 h 2686075"/>
                  <a:gd name="connsiteX16" fmla="*/ 1238250 w 7515225"/>
                  <a:gd name="connsiteY16" fmla="*/ 304800 h 2686075"/>
                  <a:gd name="connsiteX17" fmla="*/ 1323975 w 7515225"/>
                  <a:gd name="connsiteY17" fmla="*/ 333375 h 2686075"/>
                  <a:gd name="connsiteX18" fmla="*/ 1381125 w 7515225"/>
                  <a:gd name="connsiteY18" fmla="*/ 352425 h 2686075"/>
                  <a:gd name="connsiteX19" fmla="*/ 1457325 w 7515225"/>
                  <a:gd name="connsiteY19" fmla="*/ 371475 h 2686075"/>
                  <a:gd name="connsiteX20" fmla="*/ 1524000 w 7515225"/>
                  <a:gd name="connsiteY20" fmla="*/ 409575 h 2686075"/>
                  <a:gd name="connsiteX21" fmla="*/ 1600200 w 7515225"/>
                  <a:gd name="connsiteY21" fmla="*/ 428625 h 2686075"/>
                  <a:gd name="connsiteX22" fmla="*/ 1685925 w 7515225"/>
                  <a:gd name="connsiteY22" fmla="*/ 457200 h 2686075"/>
                  <a:gd name="connsiteX23" fmla="*/ 1724025 w 7515225"/>
                  <a:gd name="connsiteY23" fmla="*/ 466725 h 2686075"/>
                  <a:gd name="connsiteX24" fmla="*/ 1809750 w 7515225"/>
                  <a:gd name="connsiteY24" fmla="*/ 495300 h 2686075"/>
                  <a:gd name="connsiteX25" fmla="*/ 1857375 w 7515225"/>
                  <a:gd name="connsiteY25" fmla="*/ 504825 h 2686075"/>
                  <a:gd name="connsiteX26" fmla="*/ 1943100 w 7515225"/>
                  <a:gd name="connsiteY26" fmla="*/ 533400 h 2686075"/>
                  <a:gd name="connsiteX27" fmla="*/ 1971675 w 7515225"/>
                  <a:gd name="connsiteY27" fmla="*/ 542925 h 2686075"/>
                  <a:gd name="connsiteX28" fmla="*/ 2114550 w 7515225"/>
                  <a:gd name="connsiteY28" fmla="*/ 581025 h 2686075"/>
                  <a:gd name="connsiteX29" fmla="*/ 2143125 w 7515225"/>
                  <a:gd name="connsiteY29" fmla="*/ 609600 h 2686075"/>
                  <a:gd name="connsiteX30" fmla="*/ 2219325 w 7515225"/>
                  <a:gd name="connsiteY30" fmla="*/ 628650 h 2686075"/>
                  <a:gd name="connsiteX31" fmla="*/ 2247900 w 7515225"/>
                  <a:gd name="connsiteY31" fmla="*/ 638175 h 2686075"/>
                  <a:gd name="connsiteX32" fmla="*/ 2314575 w 7515225"/>
                  <a:gd name="connsiteY32" fmla="*/ 676275 h 2686075"/>
                  <a:gd name="connsiteX33" fmla="*/ 2343150 w 7515225"/>
                  <a:gd name="connsiteY33" fmla="*/ 685800 h 2686075"/>
                  <a:gd name="connsiteX34" fmla="*/ 2381250 w 7515225"/>
                  <a:gd name="connsiteY34" fmla="*/ 704850 h 2686075"/>
                  <a:gd name="connsiteX35" fmla="*/ 2447925 w 7515225"/>
                  <a:gd name="connsiteY35" fmla="*/ 723900 h 2686075"/>
                  <a:gd name="connsiteX36" fmla="*/ 2476500 w 7515225"/>
                  <a:gd name="connsiteY36" fmla="*/ 742950 h 2686075"/>
                  <a:gd name="connsiteX37" fmla="*/ 2505075 w 7515225"/>
                  <a:gd name="connsiteY37" fmla="*/ 752475 h 2686075"/>
                  <a:gd name="connsiteX38" fmla="*/ 2581275 w 7515225"/>
                  <a:gd name="connsiteY38" fmla="*/ 790575 h 2686075"/>
                  <a:gd name="connsiteX39" fmla="*/ 2638425 w 7515225"/>
                  <a:gd name="connsiteY39" fmla="*/ 819150 h 2686075"/>
                  <a:gd name="connsiteX40" fmla="*/ 2686050 w 7515225"/>
                  <a:gd name="connsiteY40" fmla="*/ 838200 h 2686075"/>
                  <a:gd name="connsiteX41" fmla="*/ 2762250 w 7515225"/>
                  <a:gd name="connsiteY41" fmla="*/ 876300 h 2686075"/>
                  <a:gd name="connsiteX42" fmla="*/ 2800350 w 7515225"/>
                  <a:gd name="connsiteY42" fmla="*/ 895350 h 2686075"/>
                  <a:gd name="connsiteX43" fmla="*/ 2847975 w 7515225"/>
                  <a:gd name="connsiteY43" fmla="*/ 904875 h 2686075"/>
                  <a:gd name="connsiteX44" fmla="*/ 2914650 w 7515225"/>
                  <a:gd name="connsiteY44" fmla="*/ 933450 h 2686075"/>
                  <a:gd name="connsiteX45" fmla="*/ 2971800 w 7515225"/>
                  <a:gd name="connsiteY45" fmla="*/ 942975 h 2686075"/>
                  <a:gd name="connsiteX46" fmla="*/ 3019425 w 7515225"/>
                  <a:gd name="connsiteY46" fmla="*/ 962025 h 2686075"/>
                  <a:gd name="connsiteX47" fmla="*/ 3095625 w 7515225"/>
                  <a:gd name="connsiteY47" fmla="*/ 1009650 h 2686075"/>
                  <a:gd name="connsiteX48" fmla="*/ 3124200 w 7515225"/>
                  <a:gd name="connsiteY48" fmla="*/ 1019175 h 2686075"/>
                  <a:gd name="connsiteX49" fmla="*/ 3190875 w 7515225"/>
                  <a:gd name="connsiteY49" fmla="*/ 1038225 h 2686075"/>
                  <a:gd name="connsiteX50" fmla="*/ 3219450 w 7515225"/>
                  <a:gd name="connsiteY50" fmla="*/ 1047750 h 2686075"/>
                  <a:gd name="connsiteX51" fmla="*/ 3295650 w 7515225"/>
                  <a:gd name="connsiteY51" fmla="*/ 1057275 h 2686075"/>
                  <a:gd name="connsiteX52" fmla="*/ 3324225 w 7515225"/>
                  <a:gd name="connsiteY52" fmla="*/ 1076325 h 2686075"/>
                  <a:gd name="connsiteX53" fmla="*/ 3390900 w 7515225"/>
                  <a:gd name="connsiteY53" fmla="*/ 1104900 h 2686075"/>
                  <a:gd name="connsiteX54" fmla="*/ 3429000 w 7515225"/>
                  <a:gd name="connsiteY54" fmla="*/ 1133475 h 2686075"/>
                  <a:gd name="connsiteX55" fmla="*/ 3514725 w 7515225"/>
                  <a:gd name="connsiteY55" fmla="*/ 1152525 h 2686075"/>
                  <a:gd name="connsiteX56" fmla="*/ 3600450 w 7515225"/>
                  <a:gd name="connsiteY56" fmla="*/ 1181100 h 2686075"/>
                  <a:gd name="connsiteX57" fmla="*/ 3686175 w 7515225"/>
                  <a:gd name="connsiteY57" fmla="*/ 1200150 h 2686075"/>
                  <a:gd name="connsiteX58" fmla="*/ 3752850 w 7515225"/>
                  <a:gd name="connsiteY58" fmla="*/ 1219200 h 2686075"/>
                  <a:gd name="connsiteX59" fmla="*/ 3867150 w 7515225"/>
                  <a:gd name="connsiteY59" fmla="*/ 1238250 h 2686075"/>
                  <a:gd name="connsiteX60" fmla="*/ 3962400 w 7515225"/>
                  <a:gd name="connsiteY60" fmla="*/ 1266825 h 2686075"/>
                  <a:gd name="connsiteX61" fmla="*/ 4000500 w 7515225"/>
                  <a:gd name="connsiteY61" fmla="*/ 1276350 h 2686075"/>
                  <a:gd name="connsiteX62" fmla="*/ 4057650 w 7515225"/>
                  <a:gd name="connsiteY62" fmla="*/ 1285875 h 2686075"/>
                  <a:gd name="connsiteX63" fmla="*/ 4086225 w 7515225"/>
                  <a:gd name="connsiteY63" fmla="*/ 1295400 h 2686075"/>
                  <a:gd name="connsiteX64" fmla="*/ 4143375 w 7515225"/>
                  <a:gd name="connsiteY64" fmla="*/ 1304925 h 2686075"/>
                  <a:gd name="connsiteX65" fmla="*/ 4219575 w 7515225"/>
                  <a:gd name="connsiteY65" fmla="*/ 1333500 h 2686075"/>
                  <a:gd name="connsiteX66" fmla="*/ 4248150 w 7515225"/>
                  <a:gd name="connsiteY66" fmla="*/ 1343025 h 2686075"/>
                  <a:gd name="connsiteX67" fmla="*/ 4314825 w 7515225"/>
                  <a:gd name="connsiteY67" fmla="*/ 1352550 h 2686075"/>
                  <a:gd name="connsiteX68" fmla="*/ 4429125 w 7515225"/>
                  <a:gd name="connsiteY68" fmla="*/ 1390650 h 2686075"/>
                  <a:gd name="connsiteX69" fmla="*/ 4457700 w 7515225"/>
                  <a:gd name="connsiteY69" fmla="*/ 1400175 h 2686075"/>
                  <a:gd name="connsiteX70" fmla="*/ 4524375 w 7515225"/>
                  <a:gd name="connsiteY70" fmla="*/ 1438275 h 2686075"/>
                  <a:gd name="connsiteX71" fmla="*/ 4591050 w 7515225"/>
                  <a:gd name="connsiteY71" fmla="*/ 1457325 h 2686075"/>
                  <a:gd name="connsiteX72" fmla="*/ 4657725 w 7515225"/>
                  <a:gd name="connsiteY72" fmla="*/ 1485900 h 2686075"/>
                  <a:gd name="connsiteX73" fmla="*/ 4686300 w 7515225"/>
                  <a:gd name="connsiteY73" fmla="*/ 1514475 h 2686075"/>
                  <a:gd name="connsiteX74" fmla="*/ 4724400 w 7515225"/>
                  <a:gd name="connsiteY74" fmla="*/ 1524000 h 2686075"/>
                  <a:gd name="connsiteX75" fmla="*/ 4752975 w 7515225"/>
                  <a:gd name="connsiteY75" fmla="*/ 1543050 h 2686075"/>
                  <a:gd name="connsiteX76" fmla="*/ 4781550 w 7515225"/>
                  <a:gd name="connsiteY76" fmla="*/ 1552575 h 2686075"/>
                  <a:gd name="connsiteX77" fmla="*/ 4838700 w 7515225"/>
                  <a:gd name="connsiteY77" fmla="*/ 1590675 h 2686075"/>
                  <a:gd name="connsiteX78" fmla="*/ 4876800 w 7515225"/>
                  <a:gd name="connsiteY78" fmla="*/ 1609725 h 2686075"/>
                  <a:gd name="connsiteX79" fmla="*/ 4905375 w 7515225"/>
                  <a:gd name="connsiteY79" fmla="*/ 1628775 h 2686075"/>
                  <a:gd name="connsiteX80" fmla="*/ 4981575 w 7515225"/>
                  <a:gd name="connsiteY80" fmla="*/ 1657350 h 2686075"/>
                  <a:gd name="connsiteX81" fmla="*/ 5048250 w 7515225"/>
                  <a:gd name="connsiteY81" fmla="*/ 1695450 h 2686075"/>
                  <a:gd name="connsiteX82" fmla="*/ 5076825 w 7515225"/>
                  <a:gd name="connsiteY82" fmla="*/ 1724025 h 2686075"/>
                  <a:gd name="connsiteX83" fmla="*/ 5114925 w 7515225"/>
                  <a:gd name="connsiteY83" fmla="*/ 1752600 h 2686075"/>
                  <a:gd name="connsiteX84" fmla="*/ 5162550 w 7515225"/>
                  <a:gd name="connsiteY84" fmla="*/ 1771650 h 2686075"/>
                  <a:gd name="connsiteX85" fmla="*/ 5267325 w 7515225"/>
                  <a:gd name="connsiteY85" fmla="*/ 1838325 h 2686075"/>
                  <a:gd name="connsiteX86" fmla="*/ 5305425 w 7515225"/>
                  <a:gd name="connsiteY86" fmla="*/ 1866900 h 2686075"/>
                  <a:gd name="connsiteX87" fmla="*/ 5353050 w 7515225"/>
                  <a:gd name="connsiteY87" fmla="*/ 1885950 h 2686075"/>
                  <a:gd name="connsiteX88" fmla="*/ 5391150 w 7515225"/>
                  <a:gd name="connsiteY88" fmla="*/ 1905000 h 2686075"/>
                  <a:gd name="connsiteX89" fmla="*/ 5419725 w 7515225"/>
                  <a:gd name="connsiteY89" fmla="*/ 1914525 h 2686075"/>
                  <a:gd name="connsiteX90" fmla="*/ 5476875 w 7515225"/>
                  <a:gd name="connsiteY90" fmla="*/ 1943100 h 2686075"/>
                  <a:gd name="connsiteX91" fmla="*/ 5514975 w 7515225"/>
                  <a:gd name="connsiteY91" fmla="*/ 1952625 h 2686075"/>
                  <a:gd name="connsiteX92" fmla="*/ 5572125 w 7515225"/>
                  <a:gd name="connsiteY92" fmla="*/ 1981200 h 2686075"/>
                  <a:gd name="connsiteX93" fmla="*/ 5619750 w 7515225"/>
                  <a:gd name="connsiteY93" fmla="*/ 1990725 h 2686075"/>
                  <a:gd name="connsiteX94" fmla="*/ 5657850 w 7515225"/>
                  <a:gd name="connsiteY94" fmla="*/ 2000250 h 2686075"/>
                  <a:gd name="connsiteX95" fmla="*/ 5695950 w 7515225"/>
                  <a:gd name="connsiteY95" fmla="*/ 2019300 h 2686075"/>
                  <a:gd name="connsiteX96" fmla="*/ 5753100 w 7515225"/>
                  <a:gd name="connsiteY96" fmla="*/ 2038350 h 2686075"/>
                  <a:gd name="connsiteX97" fmla="*/ 5781675 w 7515225"/>
                  <a:gd name="connsiteY97" fmla="*/ 2057400 h 2686075"/>
                  <a:gd name="connsiteX98" fmla="*/ 5848350 w 7515225"/>
                  <a:gd name="connsiteY98" fmla="*/ 2095500 h 2686075"/>
                  <a:gd name="connsiteX99" fmla="*/ 5876925 w 7515225"/>
                  <a:gd name="connsiteY99" fmla="*/ 2133600 h 2686075"/>
                  <a:gd name="connsiteX100" fmla="*/ 5991225 w 7515225"/>
                  <a:gd name="connsiteY100" fmla="*/ 2181225 h 2686075"/>
                  <a:gd name="connsiteX101" fmla="*/ 6048375 w 7515225"/>
                  <a:gd name="connsiteY101" fmla="*/ 2209800 h 2686075"/>
                  <a:gd name="connsiteX102" fmla="*/ 6115050 w 7515225"/>
                  <a:gd name="connsiteY102" fmla="*/ 2257425 h 2686075"/>
                  <a:gd name="connsiteX103" fmla="*/ 6143625 w 7515225"/>
                  <a:gd name="connsiteY103" fmla="*/ 2276475 h 2686075"/>
                  <a:gd name="connsiteX104" fmla="*/ 6181725 w 7515225"/>
                  <a:gd name="connsiteY104" fmla="*/ 2286000 h 2686075"/>
                  <a:gd name="connsiteX105" fmla="*/ 6219825 w 7515225"/>
                  <a:gd name="connsiteY105" fmla="*/ 2314575 h 2686075"/>
                  <a:gd name="connsiteX106" fmla="*/ 6257925 w 7515225"/>
                  <a:gd name="connsiteY106" fmla="*/ 2324100 h 2686075"/>
                  <a:gd name="connsiteX107" fmla="*/ 6296025 w 7515225"/>
                  <a:gd name="connsiteY107" fmla="*/ 2343150 h 2686075"/>
                  <a:gd name="connsiteX108" fmla="*/ 6343650 w 7515225"/>
                  <a:gd name="connsiteY108" fmla="*/ 2362200 h 2686075"/>
                  <a:gd name="connsiteX109" fmla="*/ 6372225 w 7515225"/>
                  <a:gd name="connsiteY109" fmla="*/ 2371725 h 2686075"/>
                  <a:gd name="connsiteX110" fmla="*/ 6419850 w 7515225"/>
                  <a:gd name="connsiteY110" fmla="*/ 2400300 h 2686075"/>
                  <a:gd name="connsiteX111" fmla="*/ 6505575 w 7515225"/>
                  <a:gd name="connsiteY111" fmla="*/ 2419350 h 2686075"/>
                  <a:gd name="connsiteX112" fmla="*/ 6610350 w 7515225"/>
                  <a:gd name="connsiteY112" fmla="*/ 2447925 h 2686075"/>
                  <a:gd name="connsiteX113" fmla="*/ 6667500 w 7515225"/>
                  <a:gd name="connsiteY113" fmla="*/ 2476500 h 2686075"/>
                  <a:gd name="connsiteX114" fmla="*/ 6734175 w 7515225"/>
                  <a:gd name="connsiteY114" fmla="*/ 2486025 h 2686075"/>
                  <a:gd name="connsiteX115" fmla="*/ 6791325 w 7515225"/>
                  <a:gd name="connsiteY115" fmla="*/ 2495550 h 2686075"/>
                  <a:gd name="connsiteX116" fmla="*/ 6877050 w 7515225"/>
                  <a:gd name="connsiteY116" fmla="*/ 2514600 h 2686075"/>
                  <a:gd name="connsiteX117" fmla="*/ 7029450 w 7515225"/>
                  <a:gd name="connsiteY117" fmla="*/ 2533650 h 2686075"/>
                  <a:gd name="connsiteX118" fmla="*/ 7105650 w 7515225"/>
                  <a:gd name="connsiteY118" fmla="*/ 2552700 h 2686075"/>
                  <a:gd name="connsiteX119" fmla="*/ 7134225 w 7515225"/>
                  <a:gd name="connsiteY119" fmla="*/ 2562225 h 2686075"/>
                  <a:gd name="connsiteX120" fmla="*/ 7219950 w 7515225"/>
                  <a:gd name="connsiteY120" fmla="*/ 2581275 h 2686075"/>
                  <a:gd name="connsiteX121" fmla="*/ 7248525 w 7515225"/>
                  <a:gd name="connsiteY121" fmla="*/ 2600325 h 2686075"/>
                  <a:gd name="connsiteX122" fmla="*/ 7315200 w 7515225"/>
                  <a:gd name="connsiteY122" fmla="*/ 2619375 h 2686075"/>
                  <a:gd name="connsiteX123" fmla="*/ 7400925 w 7515225"/>
                  <a:gd name="connsiteY123" fmla="*/ 2647950 h 2686075"/>
                  <a:gd name="connsiteX124" fmla="*/ 7477125 w 7515225"/>
                  <a:gd name="connsiteY124" fmla="*/ 2676525 h 2686075"/>
                  <a:gd name="connsiteX125" fmla="*/ 7515225 w 7515225"/>
                  <a:gd name="connsiteY125" fmla="*/ 2686050 h 2686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</a:cxnLst>
                <a:rect l="l" t="t" r="r" b="b"/>
                <a:pathLst>
                  <a:path w="7515225" h="2686075">
                    <a:moveTo>
                      <a:pt x="0" y="0"/>
                    </a:moveTo>
                    <a:cubicBezTo>
                      <a:pt x="15875" y="3175"/>
                      <a:pt x="32831" y="2950"/>
                      <a:pt x="47625" y="9525"/>
                    </a:cubicBezTo>
                    <a:cubicBezTo>
                      <a:pt x="62132" y="15972"/>
                      <a:pt x="71942" y="30224"/>
                      <a:pt x="85725" y="38100"/>
                    </a:cubicBezTo>
                    <a:cubicBezTo>
                      <a:pt x="94442" y="43081"/>
                      <a:pt x="105320" y="43135"/>
                      <a:pt x="114300" y="47625"/>
                    </a:cubicBezTo>
                    <a:cubicBezTo>
                      <a:pt x="124539" y="52745"/>
                      <a:pt x="131910" y="63386"/>
                      <a:pt x="142875" y="66675"/>
                    </a:cubicBezTo>
                    <a:cubicBezTo>
                      <a:pt x="164379" y="73126"/>
                      <a:pt x="187325" y="73025"/>
                      <a:pt x="209550" y="76200"/>
                    </a:cubicBezTo>
                    <a:cubicBezTo>
                      <a:pt x="228600" y="82550"/>
                      <a:pt x="247065" y="91043"/>
                      <a:pt x="266700" y="95250"/>
                    </a:cubicBezTo>
                    <a:cubicBezTo>
                      <a:pt x="291729" y="100613"/>
                      <a:pt x="318287" y="97743"/>
                      <a:pt x="342900" y="104775"/>
                    </a:cubicBezTo>
                    <a:cubicBezTo>
                      <a:pt x="527462" y="157507"/>
                      <a:pt x="230731" y="116418"/>
                      <a:pt x="495300" y="142875"/>
                    </a:cubicBezTo>
                    <a:cubicBezTo>
                      <a:pt x="557273" y="158368"/>
                      <a:pt x="606804" y="171393"/>
                      <a:pt x="676275" y="180975"/>
                    </a:cubicBezTo>
                    <a:cubicBezTo>
                      <a:pt x="720420" y="187064"/>
                      <a:pt x="765175" y="187325"/>
                      <a:pt x="809625" y="190500"/>
                    </a:cubicBezTo>
                    <a:cubicBezTo>
                      <a:pt x="874183" y="212019"/>
                      <a:pt x="795426" y="187660"/>
                      <a:pt x="904875" y="209550"/>
                    </a:cubicBezTo>
                    <a:cubicBezTo>
                      <a:pt x="914720" y="211519"/>
                      <a:pt x="923764" y="216433"/>
                      <a:pt x="933450" y="219075"/>
                    </a:cubicBezTo>
                    <a:cubicBezTo>
                      <a:pt x="958709" y="225964"/>
                      <a:pt x="984812" y="229846"/>
                      <a:pt x="1009650" y="238125"/>
                    </a:cubicBezTo>
                    <a:cubicBezTo>
                      <a:pt x="1028700" y="244475"/>
                      <a:pt x="1046993" y="253874"/>
                      <a:pt x="1066800" y="257175"/>
                    </a:cubicBezTo>
                    <a:cubicBezTo>
                      <a:pt x="1153661" y="271652"/>
                      <a:pt x="1105628" y="260593"/>
                      <a:pt x="1209675" y="295275"/>
                    </a:cubicBezTo>
                    <a:cubicBezTo>
                      <a:pt x="1219200" y="298450"/>
                      <a:pt x="1229270" y="300310"/>
                      <a:pt x="1238250" y="304800"/>
                    </a:cubicBezTo>
                    <a:cubicBezTo>
                      <a:pt x="1308104" y="339727"/>
                      <a:pt x="1242731" y="311218"/>
                      <a:pt x="1323975" y="333375"/>
                    </a:cubicBezTo>
                    <a:cubicBezTo>
                      <a:pt x="1343348" y="338659"/>
                      <a:pt x="1361644" y="347555"/>
                      <a:pt x="1381125" y="352425"/>
                    </a:cubicBezTo>
                    <a:lnTo>
                      <a:pt x="1457325" y="371475"/>
                    </a:lnTo>
                    <a:cubicBezTo>
                      <a:pt x="1478228" y="385410"/>
                      <a:pt x="1499830" y="401518"/>
                      <a:pt x="1524000" y="409575"/>
                    </a:cubicBezTo>
                    <a:cubicBezTo>
                      <a:pt x="1548838" y="417854"/>
                      <a:pt x="1575362" y="420346"/>
                      <a:pt x="1600200" y="428625"/>
                    </a:cubicBezTo>
                    <a:cubicBezTo>
                      <a:pt x="1628775" y="438150"/>
                      <a:pt x="1656704" y="449895"/>
                      <a:pt x="1685925" y="457200"/>
                    </a:cubicBezTo>
                    <a:cubicBezTo>
                      <a:pt x="1698625" y="460375"/>
                      <a:pt x="1711513" y="462875"/>
                      <a:pt x="1724025" y="466725"/>
                    </a:cubicBezTo>
                    <a:cubicBezTo>
                      <a:pt x="1752814" y="475583"/>
                      <a:pt x="1780214" y="489393"/>
                      <a:pt x="1809750" y="495300"/>
                    </a:cubicBezTo>
                    <a:cubicBezTo>
                      <a:pt x="1825625" y="498475"/>
                      <a:pt x="1841809" y="500377"/>
                      <a:pt x="1857375" y="504825"/>
                    </a:cubicBezTo>
                    <a:cubicBezTo>
                      <a:pt x="1886337" y="513100"/>
                      <a:pt x="1914525" y="523875"/>
                      <a:pt x="1943100" y="533400"/>
                    </a:cubicBezTo>
                    <a:cubicBezTo>
                      <a:pt x="1952625" y="536575"/>
                      <a:pt x="1961830" y="540956"/>
                      <a:pt x="1971675" y="542925"/>
                    </a:cubicBezTo>
                    <a:cubicBezTo>
                      <a:pt x="2083691" y="565328"/>
                      <a:pt x="2036862" y="549950"/>
                      <a:pt x="2114550" y="581025"/>
                    </a:cubicBezTo>
                    <a:cubicBezTo>
                      <a:pt x="2124075" y="590550"/>
                      <a:pt x="2130862" y="604026"/>
                      <a:pt x="2143125" y="609600"/>
                    </a:cubicBezTo>
                    <a:cubicBezTo>
                      <a:pt x="2166960" y="620434"/>
                      <a:pt x="2194487" y="620371"/>
                      <a:pt x="2219325" y="628650"/>
                    </a:cubicBezTo>
                    <a:cubicBezTo>
                      <a:pt x="2228850" y="631825"/>
                      <a:pt x="2238672" y="634220"/>
                      <a:pt x="2247900" y="638175"/>
                    </a:cubicBezTo>
                    <a:cubicBezTo>
                      <a:pt x="2364792" y="688272"/>
                      <a:pt x="2218916" y="628446"/>
                      <a:pt x="2314575" y="676275"/>
                    </a:cubicBezTo>
                    <a:cubicBezTo>
                      <a:pt x="2323555" y="680765"/>
                      <a:pt x="2333922" y="681845"/>
                      <a:pt x="2343150" y="685800"/>
                    </a:cubicBezTo>
                    <a:cubicBezTo>
                      <a:pt x="2356201" y="691393"/>
                      <a:pt x="2367955" y="699864"/>
                      <a:pt x="2381250" y="704850"/>
                    </a:cubicBezTo>
                    <a:cubicBezTo>
                      <a:pt x="2405665" y="714005"/>
                      <a:pt x="2424898" y="712386"/>
                      <a:pt x="2447925" y="723900"/>
                    </a:cubicBezTo>
                    <a:cubicBezTo>
                      <a:pt x="2458164" y="729020"/>
                      <a:pt x="2466261" y="737830"/>
                      <a:pt x="2476500" y="742950"/>
                    </a:cubicBezTo>
                    <a:cubicBezTo>
                      <a:pt x="2485480" y="747440"/>
                      <a:pt x="2495935" y="748320"/>
                      <a:pt x="2505075" y="752475"/>
                    </a:cubicBezTo>
                    <a:cubicBezTo>
                      <a:pt x="2530928" y="764226"/>
                      <a:pt x="2555875" y="777875"/>
                      <a:pt x="2581275" y="790575"/>
                    </a:cubicBezTo>
                    <a:cubicBezTo>
                      <a:pt x="2600325" y="800100"/>
                      <a:pt x="2618650" y="811240"/>
                      <a:pt x="2638425" y="819150"/>
                    </a:cubicBezTo>
                    <a:lnTo>
                      <a:pt x="2686050" y="838200"/>
                    </a:lnTo>
                    <a:cubicBezTo>
                      <a:pt x="2736196" y="888346"/>
                      <a:pt x="2689249" y="851966"/>
                      <a:pt x="2762250" y="876300"/>
                    </a:cubicBezTo>
                    <a:cubicBezTo>
                      <a:pt x="2775720" y="880790"/>
                      <a:pt x="2786880" y="890860"/>
                      <a:pt x="2800350" y="895350"/>
                    </a:cubicBezTo>
                    <a:cubicBezTo>
                      <a:pt x="2815709" y="900470"/>
                      <a:pt x="2832269" y="900948"/>
                      <a:pt x="2847975" y="904875"/>
                    </a:cubicBezTo>
                    <a:cubicBezTo>
                      <a:pt x="2953108" y="931158"/>
                      <a:pt x="2778351" y="892560"/>
                      <a:pt x="2914650" y="933450"/>
                    </a:cubicBezTo>
                    <a:cubicBezTo>
                      <a:pt x="2933148" y="938999"/>
                      <a:pt x="2952750" y="939800"/>
                      <a:pt x="2971800" y="942975"/>
                    </a:cubicBezTo>
                    <a:cubicBezTo>
                      <a:pt x="2987675" y="949325"/>
                      <a:pt x="3004479" y="953722"/>
                      <a:pt x="3019425" y="962025"/>
                    </a:cubicBezTo>
                    <a:cubicBezTo>
                      <a:pt x="3111728" y="1013305"/>
                      <a:pt x="3005005" y="970813"/>
                      <a:pt x="3095625" y="1009650"/>
                    </a:cubicBezTo>
                    <a:cubicBezTo>
                      <a:pt x="3104853" y="1013605"/>
                      <a:pt x="3114583" y="1016290"/>
                      <a:pt x="3124200" y="1019175"/>
                    </a:cubicBezTo>
                    <a:cubicBezTo>
                      <a:pt x="3146340" y="1025817"/>
                      <a:pt x="3168735" y="1031583"/>
                      <a:pt x="3190875" y="1038225"/>
                    </a:cubicBezTo>
                    <a:cubicBezTo>
                      <a:pt x="3200492" y="1041110"/>
                      <a:pt x="3209572" y="1045954"/>
                      <a:pt x="3219450" y="1047750"/>
                    </a:cubicBezTo>
                    <a:cubicBezTo>
                      <a:pt x="3244635" y="1052329"/>
                      <a:pt x="3270250" y="1054100"/>
                      <a:pt x="3295650" y="1057275"/>
                    </a:cubicBezTo>
                    <a:cubicBezTo>
                      <a:pt x="3305175" y="1063625"/>
                      <a:pt x="3313986" y="1071205"/>
                      <a:pt x="3324225" y="1076325"/>
                    </a:cubicBezTo>
                    <a:cubicBezTo>
                      <a:pt x="3389040" y="1108733"/>
                      <a:pt x="3311618" y="1055349"/>
                      <a:pt x="3390900" y="1104900"/>
                    </a:cubicBezTo>
                    <a:cubicBezTo>
                      <a:pt x="3404362" y="1113314"/>
                      <a:pt x="3414801" y="1126375"/>
                      <a:pt x="3429000" y="1133475"/>
                    </a:cubicBezTo>
                    <a:cubicBezTo>
                      <a:pt x="3439588" y="1138769"/>
                      <a:pt x="3507711" y="1150521"/>
                      <a:pt x="3514725" y="1152525"/>
                    </a:cubicBezTo>
                    <a:cubicBezTo>
                      <a:pt x="3543687" y="1160800"/>
                      <a:pt x="3570914" y="1175193"/>
                      <a:pt x="3600450" y="1181100"/>
                    </a:cubicBezTo>
                    <a:cubicBezTo>
                      <a:pt x="3640117" y="1189033"/>
                      <a:pt x="3649183" y="1190061"/>
                      <a:pt x="3686175" y="1200150"/>
                    </a:cubicBezTo>
                    <a:cubicBezTo>
                      <a:pt x="3708475" y="1206232"/>
                      <a:pt x="3730231" y="1214438"/>
                      <a:pt x="3752850" y="1219200"/>
                    </a:cubicBezTo>
                    <a:cubicBezTo>
                      <a:pt x="3790647" y="1227157"/>
                      <a:pt x="3867150" y="1238250"/>
                      <a:pt x="3867150" y="1238250"/>
                    </a:cubicBezTo>
                    <a:cubicBezTo>
                      <a:pt x="3928337" y="1268843"/>
                      <a:pt x="3883338" y="1251013"/>
                      <a:pt x="3962400" y="1266825"/>
                    </a:cubicBezTo>
                    <a:cubicBezTo>
                      <a:pt x="3975237" y="1269392"/>
                      <a:pt x="3987663" y="1273783"/>
                      <a:pt x="4000500" y="1276350"/>
                    </a:cubicBezTo>
                    <a:cubicBezTo>
                      <a:pt x="4019438" y="1280138"/>
                      <a:pt x="4038797" y="1281685"/>
                      <a:pt x="4057650" y="1285875"/>
                    </a:cubicBezTo>
                    <a:cubicBezTo>
                      <a:pt x="4067451" y="1288053"/>
                      <a:pt x="4076424" y="1293222"/>
                      <a:pt x="4086225" y="1295400"/>
                    </a:cubicBezTo>
                    <a:cubicBezTo>
                      <a:pt x="4105078" y="1299590"/>
                      <a:pt x="4124522" y="1300735"/>
                      <a:pt x="4143375" y="1304925"/>
                    </a:cubicBezTo>
                    <a:cubicBezTo>
                      <a:pt x="4161064" y="1308856"/>
                      <a:pt x="4208789" y="1329455"/>
                      <a:pt x="4219575" y="1333500"/>
                    </a:cubicBezTo>
                    <a:cubicBezTo>
                      <a:pt x="4228976" y="1337025"/>
                      <a:pt x="4238305" y="1341056"/>
                      <a:pt x="4248150" y="1343025"/>
                    </a:cubicBezTo>
                    <a:cubicBezTo>
                      <a:pt x="4270165" y="1347428"/>
                      <a:pt x="4292600" y="1349375"/>
                      <a:pt x="4314825" y="1352550"/>
                    </a:cubicBezTo>
                    <a:lnTo>
                      <a:pt x="4429125" y="1390650"/>
                    </a:lnTo>
                    <a:cubicBezTo>
                      <a:pt x="4438650" y="1393825"/>
                      <a:pt x="4449346" y="1394606"/>
                      <a:pt x="4457700" y="1400175"/>
                    </a:cubicBezTo>
                    <a:cubicBezTo>
                      <a:pt x="4481387" y="1415966"/>
                      <a:pt x="4496753" y="1427917"/>
                      <a:pt x="4524375" y="1438275"/>
                    </a:cubicBezTo>
                    <a:cubicBezTo>
                      <a:pt x="4548790" y="1447430"/>
                      <a:pt x="4568023" y="1445811"/>
                      <a:pt x="4591050" y="1457325"/>
                    </a:cubicBezTo>
                    <a:cubicBezTo>
                      <a:pt x="4656829" y="1490214"/>
                      <a:pt x="4578431" y="1466076"/>
                      <a:pt x="4657725" y="1485900"/>
                    </a:cubicBezTo>
                    <a:cubicBezTo>
                      <a:pt x="4667250" y="1495425"/>
                      <a:pt x="4674604" y="1507792"/>
                      <a:pt x="4686300" y="1514475"/>
                    </a:cubicBezTo>
                    <a:cubicBezTo>
                      <a:pt x="4697666" y="1520970"/>
                      <a:pt x="4712368" y="1518843"/>
                      <a:pt x="4724400" y="1524000"/>
                    </a:cubicBezTo>
                    <a:cubicBezTo>
                      <a:pt x="4734922" y="1528509"/>
                      <a:pt x="4742736" y="1537930"/>
                      <a:pt x="4752975" y="1543050"/>
                    </a:cubicBezTo>
                    <a:cubicBezTo>
                      <a:pt x="4761955" y="1547540"/>
                      <a:pt x="4772773" y="1547699"/>
                      <a:pt x="4781550" y="1552575"/>
                    </a:cubicBezTo>
                    <a:cubicBezTo>
                      <a:pt x="4801564" y="1563694"/>
                      <a:pt x="4818222" y="1580436"/>
                      <a:pt x="4838700" y="1590675"/>
                    </a:cubicBezTo>
                    <a:cubicBezTo>
                      <a:pt x="4851400" y="1597025"/>
                      <a:pt x="4864472" y="1602680"/>
                      <a:pt x="4876800" y="1609725"/>
                    </a:cubicBezTo>
                    <a:cubicBezTo>
                      <a:pt x="4886739" y="1615405"/>
                      <a:pt x="4895136" y="1623655"/>
                      <a:pt x="4905375" y="1628775"/>
                    </a:cubicBezTo>
                    <a:cubicBezTo>
                      <a:pt x="4928154" y="1640164"/>
                      <a:pt x="4956844" y="1649106"/>
                      <a:pt x="4981575" y="1657350"/>
                    </a:cubicBezTo>
                    <a:cubicBezTo>
                      <a:pt x="5058895" y="1734670"/>
                      <a:pt x="4958706" y="1644282"/>
                      <a:pt x="5048250" y="1695450"/>
                    </a:cubicBezTo>
                    <a:cubicBezTo>
                      <a:pt x="5059946" y="1702133"/>
                      <a:pt x="5066598" y="1715259"/>
                      <a:pt x="5076825" y="1724025"/>
                    </a:cubicBezTo>
                    <a:cubicBezTo>
                      <a:pt x="5088878" y="1734356"/>
                      <a:pt x="5101048" y="1744890"/>
                      <a:pt x="5114925" y="1752600"/>
                    </a:cubicBezTo>
                    <a:cubicBezTo>
                      <a:pt x="5129871" y="1760903"/>
                      <a:pt x="5147988" y="1762689"/>
                      <a:pt x="5162550" y="1771650"/>
                    </a:cubicBezTo>
                    <a:cubicBezTo>
                      <a:pt x="5286984" y="1848225"/>
                      <a:pt x="5195916" y="1814522"/>
                      <a:pt x="5267325" y="1838325"/>
                    </a:cubicBezTo>
                    <a:cubicBezTo>
                      <a:pt x="5280025" y="1847850"/>
                      <a:pt x="5291548" y="1859190"/>
                      <a:pt x="5305425" y="1866900"/>
                    </a:cubicBezTo>
                    <a:cubicBezTo>
                      <a:pt x="5320371" y="1875203"/>
                      <a:pt x="5337426" y="1879006"/>
                      <a:pt x="5353050" y="1885950"/>
                    </a:cubicBezTo>
                    <a:cubicBezTo>
                      <a:pt x="5366025" y="1891717"/>
                      <a:pt x="5378099" y="1899407"/>
                      <a:pt x="5391150" y="1905000"/>
                    </a:cubicBezTo>
                    <a:cubicBezTo>
                      <a:pt x="5400378" y="1908955"/>
                      <a:pt x="5410550" y="1910447"/>
                      <a:pt x="5419725" y="1914525"/>
                    </a:cubicBezTo>
                    <a:cubicBezTo>
                      <a:pt x="5439188" y="1923175"/>
                      <a:pt x="5457100" y="1935190"/>
                      <a:pt x="5476875" y="1943100"/>
                    </a:cubicBezTo>
                    <a:cubicBezTo>
                      <a:pt x="5489030" y="1947962"/>
                      <a:pt x="5502820" y="1947763"/>
                      <a:pt x="5514975" y="1952625"/>
                    </a:cubicBezTo>
                    <a:cubicBezTo>
                      <a:pt x="5534750" y="1960535"/>
                      <a:pt x="5552109" y="1973921"/>
                      <a:pt x="5572125" y="1981200"/>
                    </a:cubicBezTo>
                    <a:cubicBezTo>
                      <a:pt x="5587340" y="1986733"/>
                      <a:pt x="5603946" y="1987213"/>
                      <a:pt x="5619750" y="1990725"/>
                    </a:cubicBezTo>
                    <a:cubicBezTo>
                      <a:pt x="5632529" y="1993565"/>
                      <a:pt x="5645593" y="1995653"/>
                      <a:pt x="5657850" y="2000250"/>
                    </a:cubicBezTo>
                    <a:cubicBezTo>
                      <a:pt x="5671145" y="2005236"/>
                      <a:pt x="5682767" y="2014027"/>
                      <a:pt x="5695950" y="2019300"/>
                    </a:cubicBezTo>
                    <a:cubicBezTo>
                      <a:pt x="5714594" y="2026758"/>
                      <a:pt x="5736392" y="2027211"/>
                      <a:pt x="5753100" y="2038350"/>
                    </a:cubicBezTo>
                    <a:cubicBezTo>
                      <a:pt x="5762625" y="2044700"/>
                      <a:pt x="5771736" y="2051720"/>
                      <a:pt x="5781675" y="2057400"/>
                    </a:cubicBezTo>
                    <a:cubicBezTo>
                      <a:pt x="5799106" y="2067361"/>
                      <a:pt x="5832879" y="2080029"/>
                      <a:pt x="5848350" y="2095500"/>
                    </a:cubicBezTo>
                    <a:cubicBezTo>
                      <a:pt x="5859575" y="2106725"/>
                      <a:pt x="5865060" y="2123053"/>
                      <a:pt x="5876925" y="2133600"/>
                    </a:cubicBezTo>
                    <a:cubicBezTo>
                      <a:pt x="5927615" y="2178658"/>
                      <a:pt x="5930495" y="2171103"/>
                      <a:pt x="5991225" y="2181225"/>
                    </a:cubicBezTo>
                    <a:cubicBezTo>
                      <a:pt x="6010275" y="2190750"/>
                      <a:pt x="6029757" y="2199457"/>
                      <a:pt x="6048375" y="2209800"/>
                    </a:cubicBezTo>
                    <a:cubicBezTo>
                      <a:pt x="6068578" y="2221024"/>
                      <a:pt x="6097719" y="2245046"/>
                      <a:pt x="6115050" y="2257425"/>
                    </a:cubicBezTo>
                    <a:cubicBezTo>
                      <a:pt x="6124365" y="2264079"/>
                      <a:pt x="6133103" y="2271966"/>
                      <a:pt x="6143625" y="2276475"/>
                    </a:cubicBezTo>
                    <a:cubicBezTo>
                      <a:pt x="6155657" y="2281632"/>
                      <a:pt x="6169025" y="2282825"/>
                      <a:pt x="6181725" y="2286000"/>
                    </a:cubicBezTo>
                    <a:cubicBezTo>
                      <a:pt x="6194425" y="2295525"/>
                      <a:pt x="6205626" y="2307475"/>
                      <a:pt x="6219825" y="2314575"/>
                    </a:cubicBezTo>
                    <a:cubicBezTo>
                      <a:pt x="6231534" y="2320429"/>
                      <a:pt x="6245668" y="2319503"/>
                      <a:pt x="6257925" y="2324100"/>
                    </a:cubicBezTo>
                    <a:cubicBezTo>
                      <a:pt x="6271220" y="2329086"/>
                      <a:pt x="6283050" y="2337383"/>
                      <a:pt x="6296025" y="2343150"/>
                    </a:cubicBezTo>
                    <a:cubicBezTo>
                      <a:pt x="6311649" y="2350094"/>
                      <a:pt x="6327641" y="2356197"/>
                      <a:pt x="6343650" y="2362200"/>
                    </a:cubicBezTo>
                    <a:cubicBezTo>
                      <a:pt x="6353051" y="2365725"/>
                      <a:pt x="6363245" y="2367235"/>
                      <a:pt x="6372225" y="2371725"/>
                    </a:cubicBezTo>
                    <a:cubicBezTo>
                      <a:pt x="6388784" y="2380004"/>
                      <a:pt x="6402932" y="2392781"/>
                      <a:pt x="6419850" y="2400300"/>
                    </a:cubicBezTo>
                    <a:cubicBezTo>
                      <a:pt x="6430856" y="2405191"/>
                      <a:pt x="6498044" y="2417844"/>
                      <a:pt x="6505575" y="2419350"/>
                    </a:cubicBezTo>
                    <a:cubicBezTo>
                      <a:pt x="6573481" y="2453303"/>
                      <a:pt x="6514241" y="2428703"/>
                      <a:pt x="6610350" y="2447925"/>
                    </a:cubicBezTo>
                    <a:cubicBezTo>
                      <a:pt x="6715964" y="2469048"/>
                      <a:pt x="6555115" y="2442785"/>
                      <a:pt x="6667500" y="2476500"/>
                    </a:cubicBezTo>
                    <a:cubicBezTo>
                      <a:pt x="6689004" y="2482951"/>
                      <a:pt x="6711985" y="2482611"/>
                      <a:pt x="6734175" y="2486025"/>
                    </a:cubicBezTo>
                    <a:cubicBezTo>
                      <a:pt x="6753263" y="2488962"/>
                      <a:pt x="6772387" y="2491762"/>
                      <a:pt x="6791325" y="2495550"/>
                    </a:cubicBezTo>
                    <a:cubicBezTo>
                      <a:pt x="6820029" y="2501291"/>
                      <a:pt x="6848346" y="2508859"/>
                      <a:pt x="6877050" y="2514600"/>
                    </a:cubicBezTo>
                    <a:cubicBezTo>
                      <a:pt x="6936133" y="2526417"/>
                      <a:pt x="6963791" y="2527084"/>
                      <a:pt x="7029450" y="2533650"/>
                    </a:cubicBezTo>
                    <a:cubicBezTo>
                      <a:pt x="7054850" y="2540000"/>
                      <a:pt x="7080812" y="2544421"/>
                      <a:pt x="7105650" y="2552700"/>
                    </a:cubicBezTo>
                    <a:cubicBezTo>
                      <a:pt x="7115175" y="2555875"/>
                      <a:pt x="7124571" y="2559467"/>
                      <a:pt x="7134225" y="2562225"/>
                    </a:cubicBezTo>
                    <a:cubicBezTo>
                      <a:pt x="7165612" y="2571193"/>
                      <a:pt x="7187214" y="2574728"/>
                      <a:pt x="7219950" y="2581275"/>
                    </a:cubicBezTo>
                    <a:cubicBezTo>
                      <a:pt x="7229475" y="2587625"/>
                      <a:pt x="7238286" y="2595205"/>
                      <a:pt x="7248525" y="2600325"/>
                    </a:cubicBezTo>
                    <a:cubicBezTo>
                      <a:pt x="7271552" y="2611839"/>
                      <a:pt x="7290785" y="2610220"/>
                      <a:pt x="7315200" y="2619375"/>
                    </a:cubicBezTo>
                    <a:cubicBezTo>
                      <a:pt x="7405338" y="2653177"/>
                      <a:pt x="7296555" y="2627076"/>
                      <a:pt x="7400925" y="2647950"/>
                    </a:cubicBezTo>
                    <a:cubicBezTo>
                      <a:pt x="7460112" y="2677543"/>
                      <a:pt x="7416604" y="2659233"/>
                      <a:pt x="7477125" y="2676525"/>
                    </a:cubicBezTo>
                    <a:cubicBezTo>
                      <a:pt x="7513977" y="2687054"/>
                      <a:pt x="7493995" y="2686050"/>
                      <a:pt x="7515225" y="2686050"/>
                    </a:cubicBezTo>
                  </a:path>
                </a:pathLst>
              </a:custGeom>
              <a:noFill/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14" name="Oval 13"/>
              <p:cNvSpPr/>
              <p:nvPr/>
            </p:nvSpPr>
            <p:spPr bwMode="auto">
              <a:xfrm>
                <a:off x="9658887" y="4408150"/>
                <a:ext cx="207209" cy="21296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cxnSp>
            <p:nvCxnSpPr>
              <p:cNvPr id="17" name="Straight Connector 16"/>
              <p:cNvCxnSpPr/>
              <p:nvPr/>
            </p:nvCxnSpPr>
            <p:spPr bwMode="auto">
              <a:xfrm>
                <a:off x="1881646" y="1362221"/>
                <a:ext cx="0" cy="4123111"/>
              </a:xfrm>
              <a:prstGeom prst="lin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8" name="Straight Connector 17"/>
              <p:cNvCxnSpPr/>
              <p:nvPr/>
            </p:nvCxnSpPr>
            <p:spPr bwMode="auto">
              <a:xfrm flipV="1">
                <a:off x="1860335" y="5468560"/>
                <a:ext cx="9046239" cy="17807"/>
              </a:xfrm>
              <a:prstGeom prst="lin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19" name="Group 18"/>
              <p:cNvGrpSpPr/>
              <p:nvPr/>
            </p:nvGrpSpPr>
            <p:grpSpPr>
              <a:xfrm>
                <a:off x="2530643" y="5347935"/>
                <a:ext cx="7304789" cy="218873"/>
                <a:chOff x="2122618" y="3878486"/>
                <a:chExt cx="5742519" cy="136026"/>
              </a:xfrm>
            </p:grpSpPr>
            <p:grpSp>
              <p:nvGrpSpPr>
                <p:cNvPr id="57" name="Group 56"/>
                <p:cNvGrpSpPr/>
                <p:nvPr/>
              </p:nvGrpSpPr>
              <p:grpSpPr>
                <a:xfrm>
                  <a:off x="2122618" y="3878486"/>
                  <a:ext cx="1104263" cy="136026"/>
                  <a:chOff x="1751136" y="3891868"/>
                  <a:chExt cx="357961" cy="136026"/>
                </a:xfrm>
              </p:grpSpPr>
              <p:grpSp>
                <p:nvGrpSpPr>
                  <p:cNvPr id="162" name="Group 161"/>
                  <p:cNvGrpSpPr/>
                  <p:nvPr/>
                </p:nvGrpSpPr>
                <p:grpSpPr>
                  <a:xfrm>
                    <a:off x="1751136" y="3891868"/>
                    <a:ext cx="176673" cy="136026"/>
                    <a:chOff x="1751136" y="3891868"/>
                    <a:chExt cx="176673" cy="136026"/>
                  </a:xfrm>
                </p:grpSpPr>
                <p:cxnSp>
                  <p:nvCxnSpPr>
                    <p:cNvPr id="164" name="Straight Connector 163"/>
                    <p:cNvCxnSpPr/>
                    <p:nvPr/>
                  </p:nvCxnSpPr>
                  <p:spPr bwMode="auto">
                    <a:xfrm>
                      <a:off x="1751136" y="3891868"/>
                      <a:ext cx="0" cy="136026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65" name="Straight Connector 164"/>
                    <p:cNvCxnSpPr/>
                    <p:nvPr/>
                  </p:nvCxnSpPr>
                  <p:spPr bwMode="auto">
                    <a:xfrm>
                      <a:off x="1927809" y="3891868"/>
                      <a:ext cx="0" cy="136026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cxnSp>
                <p:nvCxnSpPr>
                  <p:cNvPr id="163" name="Straight Connector 162"/>
                  <p:cNvCxnSpPr/>
                  <p:nvPr/>
                </p:nvCxnSpPr>
                <p:spPr bwMode="auto">
                  <a:xfrm>
                    <a:off x="2109097" y="3891868"/>
                    <a:ext cx="0" cy="136026"/>
                  </a:xfrm>
                  <a:prstGeom prst="line">
                    <a:avLst/>
                  </a:prstGeom>
                  <a:solidFill>
                    <a:schemeClr val="accent1"/>
                  </a:solidFill>
                  <a:ln w="1905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grpSp>
              <p:nvGrpSpPr>
                <p:cNvPr id="58" name="Group 57"/>
                <p:cNvGrpSpPr/>
                <p:nvPr/>
              </p:nvGrpSpPr>
              <p:grpSpPr>
                <a:xfrm>
                  <a:off x="3518558" y="3878486"/>
                  <a:ext cx="4346579" cy="136026"/>
                  <a:chOff x="3518558" y="3878486"/>
                  <a:chExt cx="4346579" cy="136026"/>
                </a:xfrm>
              </p:grpSpPr>
              <p:grpSp>
                <p:nvGrpSpPr>
                  <p:cNvPr id="59" name="Group 58"/>
                  <p:cNvGrpSpPr/>
                  <p:nvPr/>
                </p:nvGrpSpPr>
                <p:grpSpPr>
                  <a:xfrm>
                    <a:off x="3518558" y="3878486"/>
                    <a:ext cx="2737005" cy="136026"/>
                    <a:chOff x="3567794" y="3878486"/>
                    <a:chExt cx="3736754" cy="136026"/>
                  </a:xfrm>
                </p:grpSpPr>
                <p:grpSp>
                  <p:nvGrpSpPr>
                    <p:cNvPr id="115" name="Group 114"/>
                    <p:cNvGrpSpPr/>
                    <p:nvPr/>
                  </p:nvGrpSpPr>
                  <p:grpSpPr>
                    <a:xfrm>
                      <a:off x="3567794" y="3878486"/>
                      <a:ext cx="1672100" cy="136026"/>
                      <a:chOff x="3567794" y="3878486"/>
                      <a:chExt cx="1672100" cy="136026"/>
                    </a:xfrm>
                  </p:grpSpPr>
                  <p:grpSp>
                    <p:nvGrpSpPr>
                      <p:cNvPr id="146" name="Group 145"/>
                      <p:cNvGrpSpPr/>
                      <p:nvPr/>
                    </p:nvGrpSpPr>
                    <p:grpSpPr>
                      <a:xfrm>
                        <a:off x="3567794" y="3878486"/>
                        <a:ext cx="301072" cy="136026"/>
                        <a:chOff x="3567794" y="3878486"/>
                        <a:chExt cx="301072" cy="136026"/>
                      </a:xfrm>
                    </p:grpSpPr>
                    <p:cxnSp>
                      <p:nvCxnSpPr>
                        <p:cNvPr id="160" name="Straight Connector 159"/>
                        <p:cNvCxnSpPr/>
                        <p:nvPr/>
                      </p:nvCxnSpPr>
                      <p:spPr bwMode="auto">
                        <a:xfrm>
                          <a:off x="386886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61" name="Straight Connector 160"/>
                        <p:cNvCxnSpPr/>
                        <p:nvPr/>
                      </p:nvCxnSpPr>
                      <p:spPr bwMode="auto">
                        <a:xfrm>
                          <a:off x="356779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47" name="Group 146"/>
                      <p:cNvGrpSpPr/>
                      <p:nvPr/>
                    </p:nvGrpSpPr>
                    <p:grpSpPr>
                      <a:xfrm>
                        <a:off x="4043548" y="3878486"/>
                        <a:ext cx="511112" cy="136026"/>
                        <a:chOff x="3357754" y="3878486"/>
                        <a:chExt cx="511112" cy="136026"/>
                      </a:xfrm>
                    </p:grpSpPr>
                    <p:cxnSp>
                      <p:nvCxnSpPr>
                        <p:cNvPr id="156" name="Straight Connector 155"/>
                        <p:cNvCxnSpPr/>
                        <p:nvPr/>
                      </p:nvCxnSpPr>
                      <p:spPr bwMode="auto">
                        <a:xfrm>
                          <a:off x="386886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7" name="Straight Connector 156"/>
                        <p:cNvCxnSpPr/>
                        <p:nvPr/>
                      </p:nvCxnSpPr>
                      <p:spPr bwMode="auto">
                        <a:xfrm>
                          <a:off x="370932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8" name="Straight Connector 157"/>
                        <p:cNvCxnSpPr/>
                        <p:nvPr/>
                      </p:nvCxnSpPr>
                      <p:spPr bwMode="auto">
                        <a:xfrm>
                          <a:off x="3528782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9" name="Straight Connector 158"/>
                        <p:cNvCxnSpPr/>
                        <p:nvPr/>
                      </p:nvCxnSpPr>
                      <p:spPr bwMode="auto">
                        <a:xfrm>
                          <a:off x="335775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48" name="Group 147"/>
                      <p:cNvGrpSpPr/>
                      <p:nvPr/>
                    </p:nvGrpSpPr>
                    <p:grpSpPr>
                      <a:xfrm>
                        <a:off x="4694102" y="3878486"/>
                        <a:ext cx="545792" cy="136026"/>
                        <a:chOff x="3340414" y="3878486"/>
                        <a:chExt cx="545792" cy="136026"/>
                      </a:xfrm>
                    </p:grpSpPr>
                    <p:cxnSp>
                      <p:nvCxnSpPr>
                        <p:cNvPr id="149" name="Straight Connector 148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0" name="Straight Connector 149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1" name="Straight Connector 150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2" name="Straight Connector 151"/>
                        <p:cNvCxnSpPr/>
                        <p:nvPr/>
                      </p:nvCxnSpPr>
                      <p:spPr bwMode="auto">
                        <a:xfrm>
                          <a:off x="334041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3" name="Straight Connector 152"/>
                        <p:cNvCxnSpPr/>
                        <p:nvPr/>
                      </p:nvCxnSpPr>
                      <p:spPr bwMode="auto">
                        <a:xfrm>
                          <a:off x="345075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4" name="Straight Connector 153"/>
                        <p:cNvCxnSpPr/>
                        <p:nvPr/>
                      </p:nvCxnSpPr>
                      <p:spPr bwMode="auto">
                        <a:xfrm>
                          <a:off x="3648637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55" name="Straight Connector 154"/>
                        <p:cNvCxnSpPr/>
                        <p:nvPr/>
                      </p:nvCxnSpPr>
                      <p:spPr bwMode="auto">
                        <a:xfrm>
                          <a:off x="3801330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  <p:grpSp>
                  <p:nvGrpSpPr>
                    <p:cNvPr id="116" name="Group 115"/>
                    <p:cNvGrpSpPr/>
                    <p:nvPr/>
                  </p:nvGrpSpPr>
                  <p:grpSpPr>
                    <a:xfrm>
                      <a:off x="5322648" y="3878486"/>
                      <a:ext cx="1981900" cy="136026"/>
                      <a:chOff x="3296998" y="3878486"/>
                      <a:chExt cx="1981900" cy="136026"/>
                    </a:xfrm>
                  </p:grpSpPr>
                  <p:grpSp>
                    <p:nvGrpSpPr>
                      <p:cNvPr id="117" name="Group 116"/>
                      <p:cNvGrpSpPr/>
                      <p:nvPr/>
                    </p:nvGrpSpPr>
                    <p:grpSpPr>
                      <a:xfrm>
                        <a:off x="3296998" y="3878486"/>
                        <a:ext cx="671568" cy="136026"/>
                        <a:chOff x="3296998" y="3878486"/>
                        <a:chExt cx="671568" cy="136026"/>
                      </a:xfrm>
                    </p:grpSpPr>
                    <p:cxnSp>
                      <p:nvCxnSpPr>
                        <p:cNvPr id="137" name="Straight Connector 136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8" name="Straight Connector 137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9" name="Straight Connector 138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0" name="Straight Connector 139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1" name="Straight Connector 140"/>
                        <p:cNvCxnSpPr/>
                        <p:nvPr/>
                      </p:nvCxnSpPr>
                      <p:spPr bwMode="auto">
                        <a:xfrm>
                          <a:off x="3296998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2" name="Straight Connector 141"/>
                        <p:cNvCxnSpPr/>
                        <p:nvPr/>
                      </p:nvCxnSpPr>
                      <p:spPr bwMode="auto">
                        <a:xfrm>
                          <a:off x="396856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3" name="Straight Connector 142"/>
                        <p:cNvCxnSpPr/>
                        <p:nvPr/>
                      </p:nvCxnSpPr>
                      <p:spPr bwMode="auto">
                        <a:xfrm>
                          <a:off x="380902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4" name="Straight Connector 143"/>
                        <p:cNvCxnSpPr/>
                        <p:nvPr/>
                      </p:nvCxnSpPr>
                      <p:spPr bwMode="auto">
                        <a:xfrm>
                          <a:off x="363281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45" name="Straight Connector 144"/>
                        <p:cNvCxnSpPr/>
                        <p:nvPr/>
                      </p:nvCxnSpPr>
                      <p:spPr bwMode="auto">
                        <a:xfrm>
                          <a:off x="346809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18" name="Group 117"/>
                      <p:cNvGrpSpPr/>
                      <p:nvPr/>
                    </p:nvGrpSpPr>
                    <p:grpSpPr>
                      <a:xfrm>
                        <a:off x="4069558" y="3878486"/>
                        <a:ext cx="1011534" cy="136026"/>
                        <a:chOff x="3383764" y="3878486"/>
                        <a:chExt cx="1011534" cy="136026"/>
                      </a:xfrm>
                    </p:grpSpPr>
                    <p:cxnSp>
                      <p:nvCxnSpPr>
                        <p:cNvPr id="126" name="Straight Connector 125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7" name="Straight Connector 126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8" name="Straight Connector 127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9" name="Straight Connector 128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0" name="Straight Connector 129"/>
                        <p:cNvCxnSpPr/>
                        <p:nvPr/>
                      </p:nvCxnSpPr>
                      <p:spPr bwMode="auto">
                        <a:xfrm>
                          <a:off x="412979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1" name="Straight Connector 130"/>
                        <p:cNvCxnSpPr/>
                        <p:nvPr/>
                      </p:nvCxnSpPr>
                      <p:spPr bwMode="auto">
                        <a:xfrm>
                          <a:off x="426092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2" name="Straight Connector 131"/>
                        <p:cNvCxnSpPr/>
                        <p:nvPr/>
                      </p:nvCxnSpPr>
                      <p:spPr bwMode="auto">
                        <a:xfrm>
                          <a:off x="4395298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3" name="Straight Connector 132"/>
                        <p:cNvCxnSpPr/>
                        <p:nvPr/>
                      </p:nvCxnSpPr>
                      <p:spPr bwMode="auto">
                        <a:xfrm>
                          <a:off x="397454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4" name="Straight Connector 133"/>
                        <p:cNvCxnSpPr/>
                        <p:nvPr/>
                      </p:nvCxnSpPr>
                      <p:spPr bwMode="auto">
                        <a:xfrm>
                          <a:off x="381251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5" name="Straight Connector 134"/>
                        <p:cNvCxnSpPr/>
                        <p:nvPr/>
                      </p:nvCxnSpPr>
                      <p:spPr bwMode="auto">
                        <a:xfrm>
                          <a:off x="363281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36" name="Straight Connector 135"/>
                        <p:cNvCxnSpPr/>
                        <p:nvPr/>
                      </p:nvCxnSpPr>
                      <p:spPr bwMode="auto">
                        <a:xfrm>
                          <a:off x="346612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19" name="Group 118"/>
                      <p:cNvGrpSpPr/>
                      <p:nvPr/>
                    </p:nvGrpSpPr>
                    <p:grpSpPr>
                      <a:xfrm>
                        <a:off x="4737452" y="3878486"/>
                        <a:ext cx="541446" cy="136026"/>
                        <a:chOff x="3383764" y="3878486"/>
                        <a:chExt cx="541446" cy="136026"/>
                      </a:xfrm>
                    </p:grpSpPr>
                    <p:cxnSp>
                      <p:nvCxnSpPr>
                        <p:cNvPr id="120" name="Straight Connector 119"/>
                        <p:cNvCxnSpPr/>
                        <p:nvPr/>
                      </p:nvCxnSpPr>
                      <p:spPr bwMode="auto">
                        <a:xfrm>
                          <a:off x="3798429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1" name="Straight Connector 120"/>
                        <p:cNvCxnSpPr/>
                        <p:nvPr/>
                      </p:nvCxnSpPr>
                      <p:spPr bwMode="auto">
                        <a:xfrm>
                          <a:off x="3661648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2" name="Straight Connector 121"/>
                        <p:cNvCxnSpPr/>
                        <p:nvPr/>
                      </p:nvCxnSpPr>
                      <p:spPr bwMode="auto">
                        <a:xfrm>
                          <a:off x="3527700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3" name="Straight Connector 122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4" name="Straight Connector 123"/>
                        <p:cNvCxnSpPr/>
                        <p:nvPr/>
                      </p:nvCxnSpPr>
                      <p:spPr bwMode="auto">
                        <a:xfrm>
                          <a:off x="386994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25" name="Straight Connector 124"/>
                        <p:cNvCxnSpPr/>
                        <p:nvPr/>
                      </p:nvCxnSpPr>
                      <p:spPr bwMode="auto">
                        <a:xfrm>
                          <a:off x="3925210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</p:grpSp>
              <p:grpSp>
                <p:nvGrpSpPr>
                  <p:cNvPr id="60" name="Group 59"/>
                  <p:cNvGrpSpPr/>
                  <p:nvPr/>
                </p:nvGrpSpPr>
                <p:grpSpPr>
                  <a:xfrm>
                    <a:off x="6300551" y="3878486"/>
                    <a:ext cx="917635" cy="136026"/>
                    <a:chOff x="3383764" y="3878486"/>
                    <a:chExt cx="3881780" cy="136026"/>
                  </a:xfrm>
                </p:grpSpPr>
                <p:grpSp>
                  <p:nvGrpSpPr>
                    <p:cNvPr id="83" name="Group 82"/>
                    <p:cNvGrpSpPr/>
                    <p:nvPr/>
                  </p:nvGrpSpPr>
                  <p:grpSpPr>
                    <a:xfrm>
                      <a:off x="3383764" y="3878486"/>
                      <a:ext cx="1856130" cy="136026"/>
                      <a:chOff x="3383764" y="3878486"/>
                      <a:chExt cx="1856130" cy="136026"/>
                    </a:xfrm>
                  </p:grpSpPr>
                  <p:grpSp>
                    <p:nvGrpSpPr>
                      <p:cNvPr id="100" name="Group 99"/>
                      <p:cNvGrpSpPr/>
                      <p:nvPr/>
                    </p:nvGrpSpPr>
                    <p:grpSpPr>
                      <a:xfrm>
                        <a:off x="3383764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111" name="Straight Connector 110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2" name="Straight Connector 111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3" name="Straight Connector 112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4" name="Straight Connector 113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01" name="Group 100"/>
                      <p:cNvGrpSpPr/>
                      <p:nvPr/>
                    </p:nvGrpSpPr>
                    <p:grpSpPr>
                      <a:xfrm>
                        <a:off x="4069558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107" name="Straight Connector 106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8" name="Straight Connector 107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9" name="Straight Connector 108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10" name="Straight Connector 109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102" name="Group 101"/>
                      <p:cNvGrpSpPr/>
                      <p:nvPr/>
                    </p:nvGrpSpPr>
                    <p:grpSpPr>
                      <a:xfrm>
                        <a:off x="4737452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103" name="Straight Connector 102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4" name="Straight Connector 103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5" name="Straight Connector 104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106" name="Straight Connector 105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  <p:grpSp>
                  <p:nvGrpSpPr>
                    <p:cNvPr id="84" name="Group 83"/>
                    <p:cNvGrpSpPr/>
                    <p:nvPr/>
                  </p:nvGrpSpPr>
                  <p:grpSpPr>
                    <a:xfrm>
                      <a:off x="5409414" y="3878486"/>
                      <a:ext cx="1856130" cy="136026"/>
                      <a:chOff x="3383764" y="3878486"/>
                      <a:chExt cx="1856130" cy="136026"/>
                    </a:xfrm>
                  </p:grpSpPr>
                  <p:grpSp>
                    <p:nvGrpSpPr>
                      <p:cNvPr id="85" name="Group 84"/>
                      <p:cNvGrpSpPr/>
                      <p:nvPr/>
                    </p:nvGrpSpPr>
                    <p:grpSpPr>
                      <a:xfrm>
                        <a:off x="3383764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96" name="Straight Connector 95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7" name="Straight Connector 96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8" name="Straight Connector 97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9" name="Straight Connector 98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86" name="Group 85"/>
                      <p:cNvGrpSpPr/>
                      <p:nvPr/>
                    </p:nvGrpSpPr>
                    <p:grpSpPr>
                      <a:xfrm>
                        <a:off x="4069558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92" name="Straight Connector 91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3" name="Straight Connector 92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4" name="Straight Connector 93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5" name="Straight Connector 94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87" name="Group 86"/>
                      <p:cNvGrpSpPr/>
                      <p:nvPr/>
                    </p:nvGrpSpPr>
                    <p:grpSpPr>
                      <a:xfrm>
                        <a:off x="4737452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88" name="Straight Connector 87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89" name="Straight Connector 88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0" name="Straight Connector 89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91" name="Straight Connector 90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</p:grpSp>
              <p:grpSp>
                <p:nvGrpSpPr>
                  <p:cNvPr id="61" name="Group 60"/>
                  <p:cNvGrpSpPr/>
                  <p:nvPr/>
                </p:nvGrpSpPr>
                <p:grpSpPr>
                  <a:xfrm>
                    <a:off x="7267508" y="3878486"/>
                    <a:ext cx="597629" cy="136026"/>
                    <a:chOff x="3383764" y="3878486"/>
                    <a:chExt cx="2528092" cy="136026"/>
                  </a:xfrm>
                </p:grpSpPr>
                <p:grpSp>
                  <p:nvGrpSpPr>
                    <p:cNvPr id="62" name="Group 61"/>
                    <p:cNvGrpSpPr/>
                    <p:nvPr/>
                  </p:nvGrpSpPr>
                  <p:grpSpPr>
                    <a:xfrm>
                      <a:off x="3383764" y="3878486"/>
                      <a:ext cx="1856130" cy="136026"/>
                      <a:chOff x="3383764" y="3878486"/>
                      <a:chExt cx="1856130" cy="136026"/>
                    </a:xfrm>
                  </p:grpSpPr>
                  <p:grpSp>
                    <p:nvGrpSpPr>
                      <p:cNvPr id="68" name="Group 67"/>
                      <p:cNvGrpSpPr/>
                      <p:nvPr/>
                    </p:nvGrpSpPr>
                    <p:grpSpPr>
                      <a:xfrm>
                        <a:off x="3383764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79" name="Straight Connector 78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80" name="Straight Connector 79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81" name="Straight Connector 80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82" name="Straight Connector 81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69" name="Group 68"/>
                      <p:cNvGrpSpPr/>
                      <p:nvPr/>
                    </p:nvGrpSpPr>
                    <p:grpSpPr>
                      <a:xfrm>
                        <a:off x="4069558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75" name="Straight Connector 74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6" name="Straight Connector 75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7" name="Straight Connector 76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8" name="Straight Connector 77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  <p:grpSp>
                    <p:nvGrpSpPr>
                      <p:cNvPr id="70" name="Group 69"/>
                      <p:cNvGrpSpPr/>
                      <p:nvPr/>
                    </p:nvGrpSpPr>
                    <p:grpSpPr>
                      <a:xfrm>
                        <a:off x="4737452" y="3878486"/>
                        <a:ext cx="502442" cy="136026"/>
                        <a:chOff x="3383764" y="3878486"/>
                        <a:chExt cx="502442" cy="136026"/>
                      </a:xfrm>
                    </p:grpSpPr>
                    <p:cxnSp>
                      <p:nvCxnSpPr>
                        <p:cNvPr id="71" name="Straight Connector 70"/>
                        <p:cNvCxnSpPr/>
                        <p:nvPr/>
                      </p:nvCxnSpPr>
                      <p:spPr bwMode="auto">
                        <a:xfrm>
                          <a:off x="3886206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2" name="Straight Connector 71"/>
                        <p:cNvCxnSpPr/>
                        <p:nvPr/>
                      </p:nvCxnSpPr>
                      <p:spPr bwMode="auto">
                        <a:xfrm>
                          <a:off x="3726663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3" name="Straight Connector 72"/>
                        <p:cNvCxnSpPr/>
                        <p:nvPr/>
                      </p:nvCxnSpPr>
                      <p:spPr bwMode="auto">
                        <a:xfrm>
                          <a:off x="3550455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  <p:cxnSp>
                      <p:nvCxnSpPr>
                        <p:cNvPr id="74" name="Straight Connector 73"/>
                        <p:cNvCxnSpPr/>
                        <p:nvPr/>
                      </p:nvCxnSpPr>
                      <p:spPr bwMode="auto">
                        <a:xfrm>
                          <a:off x="3383764" y="3878486"/>
                          <a:ext cx="0" cy="136026"/>
                        </a:xfrm>
                        <a:prstGeom prst="line">
                          <a:avLst/>
                        </a:prstGeom>
                        <a:solidFill>
                          <a:schemeClr val="accent1"/>
                        </a:solidFill>
                        <a:ln w="19050" cap="flat" cmpd="sng" algn="ctr">
                          <a:solidFill>
                            <a:schemeClr val="bg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>
                        <a:effectLst/>
                        <a:extLs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cxnSp>
                  </p:grpSp>
                </p:grpSp>
                <p:grpSp>
                  <p:nvGrpSpPr>
                    <p:cNvPr id="63" name="Group 62"/>
                    <p:cNvGrpSpPr/>
                    <p:nvPr/>
                  </p:nvGrpSpPr>
                  <p:grpSpPr>
                    <a:xfrm>
                      <a:off x="5409414" y="3878486"/>
                      <a:ext cx="502442" cy="136026"/>
                      <a:chOff x="3383764" y="3878486"/>
                      <a:chExt cx="502442" cy="136026"/>
                    </a:xfrm>
                  </p:grpSpPr>
                  <p:cxnSp>
                    <p:nvCxnSpPr>
                      <p:cNvPr id="64" name="Straight Connector 63"/>
                      <p:cNvCxnSpPr/>
                      <p:nvPr/>
                    </p:nvCxnSpPr>
                    <p:spPr bwMode="auto">
                      <a:xfrm>
                        <a:off x="3886206" y="3878486"/>
                        <a:ext cx="0" cy="136026"/>
                      </a:xfrm>
                      <a:prstGeom prst="line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  <p:cxnSp>
                    <p:nvCxnSpPr>
                      <p:cNvPr id="65" name="Straight Connector 64"/>
                      <p:cNvCxnSpPr/>
                      <p:nvPr/>
                    </p:nvCxnSpPr>
                    <p:spPr bwMode="auto">
                      <a:xfrm>
                        <a:off x="3726663" y="3878486"/>
                        <a:ext cx="0" cy="136026"/>
                      </a:xfrm>
                      <a:prstGeom prst="line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  <p:cxnSp>
                    <p:nvCxnSpPr>
                      <p:cNvPr id="66" name="Straight Connector 65"/>
                      <p:cNvCxnSpPr/>
                      <p:nvPr/>
                    </p:nvCxnSpPr>
                    <p:spPr bwMode="auto">
                      <a:xfrm>
                        <a:off x="3550455" y="3878486"/>
                        <a:ext cx="0" cy="136026"/>
                      </a:xfrm>
                      <a:prstGeom prst="line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  <p:cxnSp>
                    <p:nvCxnSpPr>
                      <p:cNvPr id="67" name="Straight Connector 66"/>
                      <p:cNvCxnSpPr/>
                      <p:nvPr/>
                    </p:nvCxnSpPr>
                    <p:spPr bwMode="auto">
                      <a:xfrm>
                        <a:off x="3383764" y="3878486"/>
                        <a:ext cx="0" cy="136026"/>
                      </a:xfrm>
                      <a:prstGeom prst="line">
                        <a:avLst/>
                      </a:prstGeom>
                      <a:solidFill>
                        <a:schemeClr val="accent1"/>
                      </a:solidFill>
                      <a:ln w="1905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</p:grpSp>
            </p:grpSp>
          </p:grpSp>
          <p:grpSp>
            <p:nvGrpSpPr>
              <p:cNvPr id="20" name="Group 19"/>
              <p:cNvGrpSpPr/>
              <p:nvPr/>
            </p:nvGrpSpPr>
            <p:grpSpPr>
              <a:xfrm>
                <a:off x="9882511" y="5347935"/>
                <a:ext cx="250039" cy="218875"/>
                <a:chOff x="7236322" y="4015525"/>
                <a:chExt cx="180448" cy="124874"/>
              </a:xfrm>
            </p:grpSpPr>
            <p:cxnSp>
              <p:nvCxnSpPr>
                <p:cNvPr id="51" name="Straight Connector 50"/>
                <p:cNvCxnSpPr/>
                <p:nvPr/>
              </p:nvCxnSpPr>
              <p:spPr bwMode="auto">
                <a:xfrm>
                  <a:off x="7270945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2" name="Straight Connector 51"/>
                <p:cNvCxnSpPr/>
                <p:nvPr/>
              </p:nvCxnSpPr>
              <p:spPr bwMode="auto">
                <a:xfrm>
                  <a:off x="7236322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3" name="Straight Connector 52"/>
                <p:cNvCxnSpPr/>
                <p:nvPr/>
              </p:nvCxnSpPr>
              <p:spPr bwMode="auto">
                <a:xfrm>
                  <a:off x="7416770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4" name="Straight Connector 53"/>
                <p:cNvCxnSpPr/>
                <p:nvPr/>
              </p:nvCxnSpPr>
              <p:spPr bwMode="auto">
                <a:xfrm>
                  <a:off x="738214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5" name="Straight Connector 54"/>
                <p:cNvCxnSpPr/>
                <p:nvPr/>
              </p:nvCxnSpPr>
              <p:spPr bwMode="auto">
                <a:xfrm>
                  <a:off x="734390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6" name="Straight Connector 55"/>
                <p:cNvCxnSpPr/>
                <p:nvPr/>
              </p:nvCxnSpPr>
              <p:spPr bwMode="auto">
                <a:xfrm>
                  <a:off x="7307733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cxnSp>
            <p:nvCxnSpPr>
              <p:cNvPr id="21" name="Straight Connector 20"/>
              <p:cNvCxnSpPr/>
              <p:nvPr/>
            </p:nvCxnSpPr>
            <p:spPr bwMode="auto">
              <a:xfrm>
                <a:off x="10226158" y="5347935"/>
                <a:ext cx="0" cy="218875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2" name="Straight Connector 21"/>
              <p:cNvCxnSpPr/>
              <p:nvPr/>
            </p:nvCxnSpPr>
            <p:spPr bwMode="auto">
              <a:xfrm>
                <a:off x="10178183" y="5347935"/>
                <a:ext cx="0" cy="218875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3" name="Straight Connector 22"/>
              <p:cNvCxnSpPr/>
              <p:nvPr/>
            </p:nvCxnSpPr>
            <p:spPr bwMode="auto">
              <a:xfrm>
                <a:off x="10327259" y="5347935"/>
                <a:ext cx="0" cy="218875"/>
              </a:xfrm>
              <a:prstGeom prst="line">
                <a:avLst/>
              </a:prstGeom>
              <a:solidFill>
                <a:schemeClr val="accent1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24" name="Straight Connector 23"/>
              <p:cNvCxnSpPr/>
              <p:nvPr/>
            </p:nvCxnSpPr>
            <p:spPr bwMode="auto">
              <a:xfrm>
                <a:off x="10277133" y="5347935"/>
                <a:ext cx="0" cy="218875"/>
              </a:xfrm>
              <a:prstGeom prst="line">
                <a:avLst/>
              </a:prstGeom>
              <a:solidFill>
                <a:schemeClr val="accent1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25" name="U-Turn Arrow 24"/>
              <p:cNvSpPr/>
              <p:nvPr/>
            </p:nvSpPr>
            <p:spPr bwMode="auto">
              <a:xfrm rot="10800000">
                <a:off x="3249963" y="4830101"/>
                <a:ext cx="6640679" cy="1608326"/>
              </a:xfrm>
              <a:prstGeom prst="uturnArrow">
                <a:avLst>
                  <a:gd name="adj1" fmla="val 15835"/>
                  <a:gd name="adj2" fmla="val 17502"/>
                  <a:gd name="adj3" fmla="val 23334"/>
                  <a:gd name="adj4" fmla="val 50000"/>
                  <a:gd name="adj5" fmla="val 75000"/>
                </a:avLst>
              </a:prstGeom>
              <a:solidFill>
                <a:srgbClr val="00B050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schemeClr val="accent1">
                    <a:alpha val="40000"/>
                  </a:schemeClr>
                </a:outerShdw>
              </a:effectLst>
            </p:spPr>
            <p:txBody>
              <a:bodyPr vert="horz" wrap="square" lIns="107287" tIns="53643" rIns="107287" bIns="53643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107286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300" b="1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6" name="Group 25"/>
              <p:cNvGrpSpPr/>
              <p:nvPr/>
            </p:nvGrpSpPr>
            <p:grpSpPr>
              <a:xfrm>
                <a:off x="10379826" y="5347935"/>
                <a:ext cx="250039" cy="218875"/>
                <a:chOff x="7236322" y="4015525"/>
                <a:chExt cx="180448" cy="124874"/>
              </a:xfrm>
            </p:grpSpPr>
            <p:cxnSp>
              <p:nvCxnSpPr>
                <p:cNvPr id="45" name="Straight Connector 44"/>
                <p:cNvCxnSpPr/>
                <p:nvPr/>
              </p:nvCxnSpPr>
              <p:spPr bwMode="auto">
                <a:xfrm>
                  <a:off x="7270945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6" name="Straight Connector 45"/>
                <p:cNvCxnSpPr/>
                <p:nvPr/>
              </p:nvCxnSpPr>
              <p:spPr bwMode="auto">
                <a:xfrm>
                  <a:off x="7236322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7" name="Straight Connector 46"/>
                <p:cNvCxnSpPr/>
                <p:nvPr/>
              </p:nvCxnSpPr>
              <p:spPr bwMode="auto">
                <a:xfrm>
                  <a:off x="7416770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8" name="Straight Connector 47"/>
                <p:cNvCxnSpPr/>
                <p:nvPr/>
              </p:nvCxnSpPr>
              <p:spPr bwMode="auto">
                <a:xfrm>
                  <a:off x="738214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9" name="Straight Connector 48"/>
                <p:cNvCxnSpPr/>
                <p:nvPr/>
              </p:nvCxnSpPr>
              <p:spPr bwMode="auto">
                <a:xfrm>
                  <a:off x="734390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50" name="Straight Connector 49"/>
                <p:cNvCxnSpPr/>
                <p:nvPr/>
              </p:nvCxnSpPr>
              <p:spPr bwMode="auto">
                <a:xfrm>
                  <a:off x="7307733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27" name="Group 26"/>
              <p:cNvGrpSpPr/>
              <p:nvPr/>
            </p:nvGrpSpPr>
            <p:grpSpPr>
              <a:xfrm>
                <a:off x="10683354" y="5347931"/>
                <a:ext cx="250039" cy="218875"/>
                <a:chOff x="7236322" y="4015525"/>
                <a:chExt cx="180448" cy="124874"/>
              </a:xfrm>
            </p:grpSpPr>
            <p:cxnSp>
              <p:nvCxnSpPr>
                <p:cNvPr id="39" name="Straight Connector 38"/>
                <p:cNvCxnSpPr/>
                <p:nvPr/>
              </p:nvCxnSpPr>
              <p:spPr bwMode="auto">
                <a:xfrm>
                  <a:off x="7270945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0" name="Straight Connector 39"/>
                <p:cNvCxnSpPr/>
                <p:nvPr/>
              </p:nvCxnSpPr>
              <p:spPr bwMode="auto">
                <a:xfrm>
                  <a:off x="7236322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1" name="Straight Connector 40"/>
                <p:cNvCxnSpPr/>
                <p:nvPr/>
              </p:nvCxnSpPr>
              <p:spPr bwMode="auto">
                <a:xfrm>
                  <a:off x="7416770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2" name="Straight Connector 41"/>
                <p:cNvCxnSpPr/>
                <p:nvPr/>
              </p:nvCxnSpPr>
              <p:spPr bwMode="auto">
                <a:xfrm>
                  <a:off x="738214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3" name="Straight Connector 42"/>
                <p:cNvCxnSpPr/>
                <p:nvPr/>
              </p:nvCxnSpPr>
              <p:spPr bwMode="auto">
                <a:xfrm>
                  <a:off x="7343907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4" name="Straight Connector 43"/>
                <p:cNvCxnSpPr/>
                <p:nvPr/>
              </p:nvCxnSpPr>
              <p:spPr bwMode="auto">
                <a:xfrm>
                  <a:off x="7307733" y="4015525"/>
                  <a:ext cx="0" cy="124874"/>
                </a:xfrm>
                <a:prstGeom prst="line">
                  <a:avLst/>
                </a:prstGeom>
                <a:solidFill>
                  <a:schemeClr val="accent1"/>
                </a:solidFill>
                <a:ln w="19050" cap="flat" cmpd="sng" algn="ctr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28" name="Down Arrow 27"/>
              <p:cNvSpPr/>
              <p:nvPr/>
            </p:nvSpPr>
            <p:spPr bwMode="auto">
              <a:xfrm>
                <a:off x="9593901" y="2043445"/>
                <a:ext cx="257261" cy="1800000"/>
              </a:xfrm>
              <a:prstGeom prst="downArrow">
                <a:avLst/>
              </a:prstGeom>
              <a:solidFill>
                <a:srgbClr val="FFFFFF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287" tIns="53643" rIns="107287" bIns="53643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29" name="Down Arrow 28"/>
              <p:cNvSpPr/>
              <p:nvPr/>
            </p:nvSpPr>
            <p:spPr bwMode="auto">
              <a:xfrm>
                <a:off x="6400280" y="2043445"/>
                <a:ext cx="257261" cy="1800000"/>
              </a:xfrm>
              <a:prstGeom prst="downArrow">
                <a:avLst/>
              </a:prstGeom>
              <a:solidFill>
                <a:srgbClr val="FFFFFF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287" tIns="53643" rIns="107287" bIns="53643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solidFill>
                      <a:srgbClr val="000000"/>
                    </a:solidFill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sp>
            <p:nvSpPr>
              <p:cNvPr id="30" name="Down Arrow 29"/>
              <p:cNvSpPr/>
              <p:nvPr/>
            </p:nvSpPr>
            <p:spPr bwMode="auto">
              <a:xfrm>
                <a:off x="3380002" y="2043445"/>
                <a:ext cx="257261" cy="1800000"/>
              </a:xfrm>
              <a:prstGeom prst="downArrow">
                <a:avLst/>
              </a:prstGeom>
              <a:solidFill>
                <a:srgbClr val="FFFFFF"/>
              </a:solidFill>
              <a:ln w="127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107287" tIns="53643" rIns="107287" bIns="53643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72866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l-BE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endParaRPr>
              </a:p>
            </p:txBody>
          </p:sp>
          <p:pic>
            <p:nvPicPr>
              <p:cNvPr id="31" name="Picture 3" descr="O:\DOKUMENT\Diensten\COM\MPR\mpr\Presentations\MYRRHA\images\radioactive.png"/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9123" y="696182"/>
                <a:ext cx="906470" cy="76333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" name="Picture 2" descr="O:\DOKUMENT\Diensten\COM\MPR\mpr\Presentations\MYRRHA\images\time.png"/>
              <p:cNvPicPr>
                <a:picLocks noChangeAspect="1" noChangeArrowheads="1"/>
              </p:cNvPicPr>
              <p:nvPr/>
            </p:nvPicPr>
            <p:blipFill>
              <a:blip r:embed="rId5" cstate="email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59428" y="5065600"/>
                <a:ext cx="770898" cy="79229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3" name="Content Placeholder 2"/>
              <p:cNvSpPr txBox="1">
                <a:spLocks/>
              </p:cNvSpPr>
              <p:nvPr/>
            </p:nvSpPr>
            <p:spPr>
              <a:xfrm>
                <a:off x="5214829" y="1162482"/>
                <a:ext cx="2628163" cy="60204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anchor="ctr"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indent="0" algn="ctr" eaLnBrk="0" hangingPunct="0">
                  <a:spcBef>
                    <a:spcPct val="0"/>
                  </a:spcBef>
                  <a:buNone/>
                </a:pPr>
                <a:r>
                  <a:rPr lang="nl-BE" sz="1800" b="1" dirty="0" err="1">
                    <a:solidFill>
                      <a:srgbClr val="FFC000"/>
                    </a:solidFill>
                    <a:latin typeface="Arial" charset="0"/>
                  </a:rPr>
                  <a:t>Todays</a:t>
                </a:r>
                <a:r>
                  <a:rPr lang="nl-BE" sz="1800" b="1" dirty="0">
                    <a:solidFill>
                      <a:srgbClr val="FFC000"/>
                    </a:solidFill>
                    <a:latin typeface="Arial" charset="0"/>
                  </a:rPr>
                  <a:t> Recycling</a:t>
                </a:r>
              </a:p>
              <a:p>
                <a:pPr marL="0" indent="0" algn="ctr" eaLnBrk="0" hangingPunct="0">
                  <a:spcBef>
                    <a:spcPct val="0"/>
                  </a:spcBef>
                  <a:buNone/>
                </a:pPr>
                <a:r>
                  <a:rPr lang="nl-BE" sz="1800" b="1" dirty="0">
                    <a:solidFill>
                      <a:srgbClr val="FFC000"/>
                    </a:solidFill>
                    <a:latin typeface="Arial" charset="0"/>
                  </a:rPr>
                  <a:t>PUREX</a:t>
                </a:r>
              </a:p>
            </p:txBody>
          </p:sp>
          <p:sp>
            <p:nvSpPr>
              <p:cNvPr id="34" name="Content Placeholder 2"/>
              <p:cNvSpPr txBox="1">
                <a:spLocks/>
              </p:cNvSpPr>
              <p:nvPr/>
            </p:nvSpPr>
            <p:spPr>
              <a:xfrm>
                <a:off x="8687650" y="1163471"/>
                <a:ext cx="2069763" cy="60204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anchor="ctr"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marR="0" lvl="0" indent="0" algn="ctr" defTabSz="6858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3E8FCD"/>
                  </a:buClr>
                  <a:buSzPct val="100000"/>
                  <a:buFont typeface="Wingdings" pitchFamily="2" charset="2"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 w="3175"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Segoe UI" pitchFamily="34" charset="0"/>
                    <a:cs typeface="Segoe UI" pitchFamily="34" charset="0"/>
                  </a:rPr>
                  <a:t>Once through</a:t>
                </a:r>
                <a:endParaRPr kumimoji="0" lang="en-US" sz="1800" b="1" i="0" u="none" strike="noStrike" kern="0" cap="none" spc="0" normalizeH="0" baseline="0" noProof="0" dirty="0">
                  <a:ln w="3175"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Segoe UI" pitchFamily="34" charset="0"/>
                  <a:cs typeface="Segoe UI" pitchFamily="34" charset="0"/>
                </a:endParaRPr>
              </a:p>
              <a:p>
                <a:pPr marL="0" marR="0" lvl="0" indent="0" algn="ctr" defTabSz="6858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>
                    <a:srgbClr val="3E8FCD"/>
                  </a:buClr>
                  <a:buSzPct val="100000"/>
                  <a:buFont typeface="Wingdings" pitchFamily="2" charset="2"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>
                    <a:ln w="3175"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Segoe UI" pitchFamily="34" charset="0"/>
                    <a:cs typeface="Segoe UI" pitchFamily="34" charset="0"/>
                  </a:rPr>
                  <a:t>no </a:t>
                </a:r>
                <a:r>
                  <a:rPr kumimoji="0" lang="en-US" sz="1800" b="1" i="0" u="none" strike="noStrike" kern="0" cap="none" spc="0" normalizeH="0" baseline="0" noProof="0" dirty="0" smtClean="0">
                    <a:ln w="3175"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Segoe UI" pitchFamily="34" charset="0"/>
                    <a:cs typeface="Segoe UI" pitchFamily="34" charset="0"/>
                  </a:rPr>
                  <a:t>reprocessing</a:t>
                </a:r>
                <a:endParaRPr kumimoji="0" lang="nl-BE" sz="1800" b="1" i="0" u="none" strike="noStrike" kern="0" cap="none" spc="0" normalizeH="0" baseline="0" noProof="0" dirty="0">
                  <a:ln w="3175"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5" name="Content Placeholder 2"/>
              <p:cNvSpPr txBox="1">
                <a:spLocks/>
              </p:cNvSpPr>
              <p:nvPr/>
            </p:nvSpPr>
            <p:spPr>
              <a:xfrm rot="16200000">
                <a:off x="608952" y="2964440"/>
                <a:ext cx="1919585" cy="381533"/>
              </a:xfrm>
              <a:prstGeom prst="rect">
                <a:avLst/>
              </a:prstGeom>
              <a:noFill/>
            </p:spPr>
            <p:txBody>
              <a:bodyPr/>
              <a:lstStyle>
                <a:lvl1pPr marL="309563" indent="-309563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007DC3"/>
                  </a:buClr>
                  <a:buSzPct val="100000"/>
                  <a:buFont typeface="Wingdings" pitchFamily="2" charset="2"/>
                  <a:buChar char="l"/>
                  <a:defRPr sz="22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1pPr>
                <a:lvl2pPr marL="666750" indent="-2444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11AAFF"/>
                  </a:buClr>
                  <a:buSzPct val="100000"/>
                  <a:buFont typeface="Wingdings" pitchFamily="2" charset="2"/>
                  <a:buChar char="l"/>
                  <a:defRPr sz="2000"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2pPr>
                <a:lvl3pPr marL="1028700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lr>
                    <a:srgbClr val="8FD7FF"/>
                  </a:buClr>
                  <a:buSzPct val="100000"/>
                  <a:buFont typeface="Wingdings" pitchFamily="2" charset="2"/>
                  <a:buChar char="l"/>
                  <a:defRPr>
                    <a:solidFill>
                      <a:schemeClr val="tx1"/>
                    </a:solidFill>
                    <a:latin typeface="Segoe UI" pitchFamily="34" charset="0"/>
                    <a:ea typeface="Segoe UI" pitchFamily="34" charset="0"/>
                    <a:cs typeface="Segoe UI" pitchFamily="34" charset="0"/>
                  </a:defRPr>
                </a:lvl3pPr>
                <a:lvl4pPr marL="1439863" indent="-204788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–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4pPr>
                <a:lvl5pPr marL="18526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5pPr>
                <a:lvl6pPr marL="23098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6pPr>
                <a:lvl7pPr marL="27670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7pPr>
                <a:lvl8pPr marL="32242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8pPr>
                <a:lvl9pPr marL="3681413" indent="-206375" algn="l" defTabSz="685800" rtl="0" eaLnBrk="1" fontAlgn="base" hangingPunct="1">
                  <a:spcBef>
                    <a:spcPct val="20000"/>
                  </a:spcBef>
                  <a:spcAft>
                    <a:spcPct val="0"/>
                  </a:spcAft>
                  <a:buChar char="»"/>
                  <a:defRPr sz="1900">
                    <a:solidFill>
                      <a:schemeClr val="tx1"/>
                    </a:solidFill>
                    <a:latin typeface="Times New Roman" pitchFamily="18" charset="0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" pitchFamily="2" charset="2"/>
                  <a:buNone/>
                  <a:tabLst/>
                  <a:defRPr/>
                </a:pPr>
                <a:r>
                  <a:rPr kumimoji="0" lang="en-US" sz="2000" b="1" i="0" u="none" strike="noStrike" kern="1200" cap="none" spc="0" normalizeH="0" baseline="0" noProof="0" dirty="0">
                    <a:ln w="3175"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 pitchFamily="34" charset="0"/>
                    <a:cs typeface="Segoe UI" pitchFamily="34" charset="0"/>
                  </a:rPr>
                  <a:t>Radiotoxicity</a:t>
                </a:r>
              </a:p>
            </p:txBody>
          </p:sp>
          <p:sp>
            <p:nvSpPr>
              <p:cNvPr id="36" name="TextBox 35"/>
              <p:cNvSpPr txBox="1">
                <a:spLocks noChangeArrowheads="1"/>
              </p:cNvSpPr>
              <p:nvPr/>
            </p:nvSpPr>
            <p:spPr bwMode="auto">
              <a:xfrm>
                <a:off x="2505253" y="1173881"/>
                <a:ext cx="2006759" cy="646331"/>
              </a:xfrm>
              <a:prstGeom prst="rect">
                <a:avLst/>
              </a:prstGeom>
              <a:noFill/>
              <a:ln>
                <a:noFill/>
              </a:ln>
              <a:effectLst>
                <a:outerShdw blurRad="50800" dist="50800" dir="5400000" algn="ctr" rotWithShape="0">
                  <a:schemeClr val="bg1">
                    <a:alpha val="90000"/>
                  </a:schemeClr>
                </a:outerShdw>
              </a:effectLst>
            </p:spPr>
            <p:txBody>
              <a:bodyPr wrap="square"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pitchFamily="34" charset="-128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l-BE" sz="1800" b="1" dirty="0">
                    <a:solidFill>
                      <a:srgbClr val="00B050"/>
                    </a:solidFill>
                  </a:rPr>
                  <a:t>Advance Recycling (P&amp;T)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391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722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68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722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9352" tIns="39676" rIns="79352" bIns="39676">
            <a:noAutofit/>
          </a:bodyPr>
          <a:lstStyle/>
          <a:p>
            <a:pPr marL="0" indent="0" algn="just" defTabSz="1214438">
              <a:spcBef>
                <a:spcPct val="30000"/>
              </a:spcBef>
              <a:buClr>
                <a:srgbClr val="000099"/>
              </a:buClr>
              <a:buNone/>
              <a:tabLst>
                <a:tab pos="1239838" algn="l"/>
                <a:tab pos="3338513" algn="l"/>
                <a:tab pos="5053013" algn="l"/>
                <a:tab pos="6767513" algn="l"/>
              </a:tabLst>
            </a:pPr>
            <a:r>
              <a:rPr lang="en-US" sz="1400" b="1" u="sng" dirty="0">
                <a:cs typeface="Times New Roman" pitchFamily="18" charset="0"/>
              </a:rPr>
              <a:t>EU P&amp;T Strategy 2005: </a:t>
            </a:r>
            <a:r>
              <a:rPr lang="en-US" sz="1400" i="1" dirty="0">
                <a:cs typeface="Times New Roman" pitchFamily="18" charset="0"/>
              </a:rPr>
              <a:t>“The </a:t>
            </a:r>
            <a:r>
              <a:rPr lang="en-US" sz="1400" b="1" i="1" dirty="0">
                <a:cs typeface="Times New Roman" pitchFamily="18" charset="0"/>
              </a:rPr>
              <a:t>implementation of P&amp;T </a:t>
            </a:r>
            <a:r>
              <a:rPr lang="en-US" sz="1400" i="1" dirty="0">
                <a:cs typeface="Times New Roman" pitchFamily="18" charset="0"/>
              </a:rPr>
              <a:t>of a large part of the high-level nuclear </a:t>
            </a:r>
            <a:r>
              <a:rPr lang="en-US" sz="1400" i="1" dirty="0" smtClean="0">
                <a:cs typeface="Times New Roman" pitchFamily="18" charset="0"/>
              </a:rPr>
              <a:t>wastes </a:t>
            </a:r>
            <a:r>
              <a:rPr lang="en-US" sz="1400" b="1" i="1" dirty="0">
                <a:cs typeface="Times New Roman" pitchFamily="18" charset="0"/>
              </a:rPr>
              <a:t>in Europe needs the demonstration of its feasibility at an “engineering” level</a:t>
            </a:r>
            <a:r>
              <a:rPr lang="en-US" sz="1400" i="1" dirty="0">
                <a:cs typeface="Times New Roman" pitchFamily="18" charset="0"/>
              </a:rPr>
              <a:t>. The respective </a:t>
            </a:r>
            <a:r>
              <a:rPr lang="en-US" sz="1400" b="1" i="1" dirty="0" smtClean="0">
                <a:cs typeface="Times New Roman" pitchFamily="18" charset="0"/>
              </a:rPr>
              <a:t>R&amp;D</a:t>
            </a:r>
            <a:r>
              <a:rPr lang="en-US" sz="1400" i="1" dirty="0" smtClean="0">
                <a:cs typeface="Times New Roman" pitchFamily="18" charset="0"/>
              </a:rPr>
              <a:t> </a:t>
            </a:r>
            <a:r>
              <a:rPr lang="en-US" sz="1400" i="1" dirty="0">
                <a:cs typeface="Times New Roman" pitchFamily="18" charset="0"/>
              </a:rPr>
              <a:t>activities could be </a:t>
            </a:r>
            <a:r>
              <a:rPr lang="en-US" sz="1400" b="1" i="1" dirty="0">
                <a:cs typeface="Times New Roman" pitchFamily="18" charset="0"/>
              </a:rPr>
              <a:t>arranged in four “building blocks”</a:t>
            </a:r>
            <a:r>
              <a:rPr lang="en-US" sz="1400" i="1" dirty="0">
                <a:cs typeface="Times New Roman" pitchFamily="18" charset="0"/>
              </a:rPr>
              <a:t>:</a:t>
            </a:r>
            <a:r>
              <a:rPr lang="en-US" sz="1400" i="1" dirty="0"/>
              <a:t> </a:t>
            </a:r>
          </a:p>
        </p:txBody>
      </p:sp>
      <p:sp>
        <p:nvSpPr>
          <p:cNvPr id="6" name="Footer Placeholder 5"/>
          <p:cNvSpPr txBox="1">
            <a:spLocks/>
          </p:cNvSpPr>
          <p:nvPr/>
        </p:nvSpPr>
        <p:spPr>
          <a:xfrm>
            <a:off x="1571498" y="6355125"/>
            <a:ext cx="8053200" cy="434248"/>
          </a:xfrm>
          <a:prstGeom prst="rect">
            <a:avLst/>
          </a:prstGeom>
        </p:spPr>
        <p:txBody>
          <a:bodyPr vert="horz" lIns="107287" tIns="53643" rIns="107287" bIns="53643" rtlCol="0" anchor="b"/>
          <a:lstStyle>
            <a:defPPr>
              <a:defRPr lang="nl-BE"/>
            </a:defPPr>
            <a:lvl1pPr>
              <a:defRPr sz="700" i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nl-BE" dirty="0"/>
              <a:t>Source: European </a:t>
            </a:r>
            <a:r>
              <a:rPr lang="nl-BE" dirty="0" err="1"/>
              <a:t>Commission</a:t>
            </a:r>
            <a:r>
              <a:rPr lang="nl-BE" dirty="0"/>
              <a:t> </a:t>
            </a:r>
            <a:r>
              <a:rPr lang="nl-BE" dirty="0" err="1"/>
              <a:t>Strategy</a:t>
            </a:r>
            <a:r>
              <a:rPr lang="nl-BE" dirty="0"/>
              <a:t> Paper on </a:t>
            </a:r>
            <a:r>
              <a:rPr lang="nl-BE" dirty="0" err="1"/>
              <a:t>Partitioning</a:t>
            </a:r>
            <a:r>
              <a:rPr lang="nl-BE" dirty="0"/>
              <a:t> &amp; </a:t>
            </a:r>
            <a:r>
              <a:rPr lang="nl-BE" dirty="0" err="1"/>
              <a:t>Transmutation</a:t>
            </a:r>
            <a:r>
              <a:rPr lang="nl-BE" dirty="0"/>
              <a:t> (2005)</a:t>
            </a:r>
          </a:p>
        </p:txBody>
      </p:sp>
      <p:graphicFrame>
        <p:nvGraphicFramePr>
          <p:cNvPr id="36" name="Inhaltsplatzhalter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2247225"/>
              </p:ext>
            </p:extLst>
          </p:nvPr>
        </p:nvGraphicFramePr>
        <p:xfrm>
          <a:off x="1415480" y="1772815"/>
          <a:ext cx="9937104" cy="3783993"/>
        </p:xfrm>
        <a:graphic>
          <a:graphicData uri="http://schemas.openxmlformats.org/drawingml/2006/table">
            <a:tbl>
              <a:tblPr firstRow="1" bandRow="1"/>
              <a:tblGrid>
                <a:gridCol w="2880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42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036636">
                  <a:extLst>
                    <a:ext uri="{9D8B030D-6E8A-4147-A177-3AD203B41FA5}">
                      <a16:colId xmlns:a16="http://schemas.microsoft.com/office/drawing/2014/main" val="3628047943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7135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b="1" dirty="0" err="1" smtClean="0">
                          <a:solidFill>
                            <a:schemeClr val="bg2"/>
                          </a:solidFill>
                          <a:latin typeface="+mj-lt"/>
                          <a:cs typeface="Arial" panose="020B0604020202020204" pitchFamily="34" charset="0"/>
                        </a:rPr>
                        <a:t>P&amp;T</a:t>
                      </a:r>
                      <a:r>
                        <a:rPr lang="en-US" sz="1400" b="1" dirty="0" smtClean="0">
                          <a:solidFill>
                            <a:schemeClr val="bg2"/>
                          </a:solidFill>
                          <a:latin typeface="+mj-lt"/>
                          <a:cs typeface="Arial" panose="020B0604020202020204" pitchFamily="34" charset="0"/>
                        </a:rPr>
                        <a:t> building</a:t>
                      </a:r>
                      <a:r>
                        <a:rPr lang="en-US" sz="1400" b="1" baseline="0" dirty="0" smtClean="0">
                          <a:solidFill>
                            <a:schemeClr val="bg2"/>
                          </a:solidFill>
                          <a:latin typeface="+mj-lt"/>
                          <a:cs typeface="Arial" panose="020B0604020202020204" pitchFamily="34" charset="0"/>
                        </a:rPr>
                        <a:t> blocks</a:t>
                      </a:r>
                      <a:endParaRPr lang="en-US" sz="1400" b="1" dirty="0">
                        <a:solidFill>
                          <a:schemeClr val="bg2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6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bg2"/>
                          </a:solidFill>
                          <a:latin typeface="+mj-lt"/>
                          <a:cs typeface="Arial" panose="020B0604020202020204" pitchFamily="34" charset="0"/>
                        </a:rPr>
                        <a:t>Description</a:t>
                      </a:r>
                      <a:endParaRPr lang="en-US" sz="1400" b="1" dirty="0">
                        <a:solidFill>
                          <a:schemeClr val="bg2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6A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b="1" dirty="0" smtClean="0">
                          <a:solidFill>
                            <a:schemeClr val="bg2"/>
                          </a:solidFill>
                          <a:latin typeface="+mj-lt"/>
                          <a:cs typeface="Arial" panose="020B0604020202020204" pitchFamily="34" charset="0"/>
                        </a:rPr>
                        <a:t>Name &amp; Location</a:t>
                      </a:r>
                      <a:endParaRPr lang="en-US" sz="1400" b="1" dirty="0">
                        <a:solidFill>
                          <a:schemeClr val="bg2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D6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66046">
                <a:tc>
                  <a:txBody>
                    <a:bodyPr/>
                    <a:lstStyle/>
                    <a:p>
                      <a:endParaRPr lang="en-US" sz="1400" b="1" dirty="0">
                        <a:latin typeface="+mj-lt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0" dirty="0" smtClean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Partitioning</a:t>
                      </a:r>
                      <a:endParaRPr lang="en-US" sz="1400" b="1" i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17475" indent="-117475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Demonstrate capability to process a sizable amount of </a:t>
                      </a:r>
                      <a:r>
                        <a:rPr lang="en-US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pent fuel</a:t>
                      </a:r>
                      <a:r>
                        <a:rPr lang="en-US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from commercial Light Water Reactors to </a:t>
                      </a:r>
                      <a:r>
                        <a:rPr lang="en-US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eparate </a:t>
                      </a:r>
                      <a:r>
                        <a:rPr lang="en-US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plutonium, uranium and minor actinides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i="0" u="none" strike="noStrike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Atalante (FR)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66046">
                <a:tc>
                  <a:txBody>
                    <a:bodyPr/>
                    <a:lstStyle/>
                    <a:p>
                      <a:endParaRPr lang="en-US" sz="1400" b="1" dirty="0">
                        <a:latin typeface="+mj-lt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0" dirty="0" smtClean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Fuel</a:t>
                      </a:r>
                      <a:r>
                        <a:rPr lang="en-US" sz="1400" b="1" i="0" baseline="0" dirty="0" smtClean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production</a:t>
                      </a:r>
                      <a:endParaRPr lang="en-US" sz="1400" b="1" i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17475" indent="-117475" algn="l" defTabSz="914400" rtl="0" eaLnBrk="1" fontAlgn="b" latinLnBrk="0" hangingPunct="1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smtClean="0">
                          <a:cs typeface="Times New Roman" pitchFamily="18" charset="0"/>
                        </a:rPr>
                        <a:t>Demonstrate the capability </a:t>
                      </a:r>
                      <a:r>
                        <a:rPr lang="en-US" sz="1400" b="1" dirty="0" smtClean="0">
                          <a:cs typeface="Times New Roman" pitchFamily="18" charset="0"/>
                        </a:rPr>
                        <a:t>to fabricate </a:t>
                      </a:r>
                      <a:r>
                        <a:rPr lang="en-US" sz="1400" dirty="0" smtClean="0">
                          <a:cs typeface="Times New Roman" pitchFamily="18" charset="0"/>
                        </a:rPr>
                        <a:t>at a semi-industrial level the </a:t>
                      </a:r>
                      <a:r>
                        <a:rPr lang="en-US" sz="1400" b="1" dirty="0" smtClean="0">
                          <a:cs typeface="Times New Roman" pitchFamily="18" charset="0"/>
                        </a:rPr>
                        <a:t>dedicated fuel </a:t>
                      </a:r>
                      <a:r>
                        <a:rPr lang="en-US" sz="1400" dirty="0" smtClean="0">
                          <a:cs typeface="Times New Roman" pitchFamily="18" charset="0"/>
                        </a:rPr>
                        <a:t>needed to load in a dedicated </a:t>
                      </a:r>
                      <a:r>
                        <a:rPr lang="en-US" sz="1400" dirty="0" err="1" smtClean="0">
                          <a:cs typeface="Times New Roman" pitchFamily="18" charset="0"/>
                        </a:rPr>
                        <a:t>transmuter</a:t>
                      </a:r>
                      <a:endParaRPr lang="en-US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 err="1" smtClean="0">
                          <a:cs typeface="Times New Roman" pitchFamily="18" charset="0"/>
                        </a:rPr>
                        <a:t>JRC-ITU</a:t>
                      </a:r>
                      <a:r>
                        <a:rPr lang="en-US" sz="1400" baseline="0" dirty="0" smtClean="0">
                          <a:cs typeface="Times New Roman" pitchFamily="18" charset="0"/>
                        </a:rPr>
                        <a:t> (</a:t>
                      </a:r>
                      <a:r>
                        <a:rPr lang="en-US" sz="1400" dirty="0" smtClean="0">
                          <a:cs typeface="Times New Roman" pitchFamily="18" charset="0"/>
                        </a:rPr>
                        <a:t>EU)</a:t>
                      </a: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2635357"/>
                  </a:ext>
                </a:extLst>
              </a:tr>
              <a:tr h="387135">
                <a:tc>
                  <a:txBody>
                    <a:bodyPr/>
                    <a:lstStyle/>
                    <a:p>
                      <a:endParaRPr lang="en-US" sz="14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FC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0" dirty="0" smtClean="0">
                          <a:solidFill>
                            <a:schemeClr val="bg1"/>
                          </a:solidFill>
                          <a:latin typeface="+mj-lt"/>
                          <a:cs typeface="Arial" panose="020B0604020202020204" pitchFamily="34" charset="0"/>
                        </a:rPr>
                        <a:t>Transmutation</a:t>
                      </a:r>
                      <a:endParaRPr lang="en-US" sz="1400" b="1" i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FCD"/>
                    </a:solidFill>
                  </a:tcPr>
                </a:tc>
                <a:tc>
                  <a:txBody>
                    <a:bodyPr/>
                    <a:lstStyle/>
                    <a:p>
                      <a:pPr marL="117475" marR="0" lvl="0" indent="-11747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Design and construct one or more dedicated </a:t>
                      </a:r>
                      <a:r>
                        <a:rPr lang="en-US" sz="1400" b="1" kern="1200" dirty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transmuters</a:t>
                      </a:r>
                      <a:endParaRPr lang="en-US" sz="14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FCD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MYRRHA (BE)</a:t>
                      </a:r>
                    </a:p>
                    <a:p>
                      <a:pPr marL="285750" indent="-2857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en-US" sz="14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ASTRID (FR)</a:t>
                      </a:r>
                      <a:endParaRPr lang="en-US" sz="1400" b="1" i="0" u="none" strike="noStrike" dirty="0">
                        <a:solidFill>
                          <a:srgbClr val="FF0000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E8FC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9737072"/>
                  </a:ext>
                </a:extLst>
              </a:tr>
              <a:tr h="966046">
                <a:tc>
                  <a:txBody>
                    <a:bodyPr/>
                    <a:lstStyle/>
                    <a:p>
                      <a:endParaRPr lang="en-US" sz="1400" b="1" dirty="0">
                        <a:latin typeface="+mj-lt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0" dirty="0" smtClean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MA Fuel Partitioning</a:t>
                      </a:r>
                      <a:endParaRPr lang="en-US" sz="1400" b="1" i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117475" marR="0" lvl="0" indent="-11747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Specific installation to process fuel unloaded from </a:t>
                      </a:r>
                      <a:r>
                        <a:rPr lang="en-US" sz="140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transmuter</a:t>
                      </a:r>
                      <a:endParaRPr lang="en-US" sz="14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  <a:p>
                      <a:pPr marL="117475" marR="0" lvl="0" indent="-117475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Not</a:t>
                      </a: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 pitchFamily="18" charset="0"/>
                        </a:rPr>
                        <a:t> necessarily the same as type to process original spent fuel unloaded from commercial power plants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Times New Roman" pitchFamily="18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endParaRPr lang="en-US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8" name="Rectangle 3"/>
          <p:cNvSpPr txBox="1">
            <a:spLocks noChangeArrowheads="1"/>
          </p:cNvSpPr>
          <p:nvPr/>
        </p:nvSpPr>
        <p:spPr bwMode="auto">
          <a:xfrm>
            <a:off x="1415480" y="5842918"/>
            <a:ext cx="9937103" cy="538410"/>
          </a:xfrm>
          <a:prstGeom prst="rect">
            <a:avLst/>
          </a:prstGeom>
          <a:solidFill>
            <a:srgbClr val="3E8FCD"/>
          </a:solidFill>
          <a:ln>
            <a:noFill/>
          </a:ln>
          <a:effectLst/>
          <a:extLst/>
        </p:spPr>
        <p:txBody>
          <a:bodyPr vert="horz" lIns="79352" tIns="39676" rIns="79352" bIns="39676" rtlCol="0" anchor="t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4438">
              <a:spcBef>
                <a:spcPct val="30000"/>
              </a:spcBef>
              <a:buClr>
                <a:srgbClr val="000099"/>
              </a:buClr>
              <a:buNone/>
              <a:tabLst>
                <a:tab pos="1239838" algn="l"/>
                <a:tab pos="3338513" algn="l"/>
                <a:tab pos="5053013" algn="l"/>
                <a:tab pos="6767513" algn="l"/>
              </a:tabLst>
            </a:pPr>
            <a:r>
              <a:rPr lang="en-US" sz="1800" dirty="0">
                <a:solidFill>
                  <a:schemeClr val="bg1"/>
                </a:solidFill>
                <a:cs typeface="Times New Roman" pitchFamily="18" charset="0"/>
              </a:rPr>
              <a:t>The European Commission contributes to the 4 building blocks and fosters the national </a:t>
            </a:r>
            <a:r>
              <a:rPr lang="en-US" sz="1800" dirty="0" err="1">
                <a:solidFill>
                  <a:schemeClr val="bg1"/>
                </a:solidFill>
                <a:cs typeface="Times New Roman" pitchFamily="18" charset="0"/>
              </a:rPr>
              <a:t>programmes</a:t>
            </a:r>
            <a:r>
              <a:rPr lang="en-US" sz="1800" dirty="0">
                <a:solidFill>
                  <a:schemeClr val="bg1"/>
                </a:solidFill>
                <a:cs typeface="Times New Roman" pitchFamily="18" charset="0"/>
              </a:rPr>
              <a:t> towards this strategy for </a:t>
            </a:r>
            <a:r>
              <a:rPr lang="en-US" sz="1800" b="1" dirty="0">
                <a:solidFill>
                  <a:schemeClr val="bg1"/>
                </a:solidFill>
                <a:cs typeface="Times New Roman" pitchFamily="18" charset="0"/>
              </a:rPr>
              <a:t>demonstration at engineering level</a:t>
            </a:r>
            <a:r>
              <a:rPr lang="en-US" sz="1800" dirty="0">
                <a:solidFill>
                  <a:schemeClr val="bg1"/>
                </a:solidFill>
                <a:cs typeface="Times New Roman" pitchFamily="18" charset="0"/>
              </a:rPr>
              <a:t>.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endParaRPr lang="en-GB" sz="1800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39" name="Isosceles Triangle 38"/>
          <p:cNvSpPr/>
          <p:nvPr/>
        </p:nvSpPr>
        <p:spPr bwMode="auto">
          <a:xfrm flipV="1">
            <a:off x="4763851" y="5626894"/>
            <a:ext cx="3240360" cy="198344"/>
          </a:xfrm>
          <a:prstGeom prst="triangle">
            <a:avLst/>
          </a:prstGeom>
          <a:solidFill>
            <a:srgbClr val="3E8FCD"/>
          </a:solidFill>
          <a:ln w="12700" cap="flat" cmpd="sng" algn="ctr">
            <a:solidFill>
              <a:srgbClr val="3E8FC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endParaRPr lang="nl-BE" sz="1400">
              <a:latin typeface="Arial" charset="0"/>
            </a:endParaRPr>
          </a:p>
        </p:txBody>
      </p:sp>
      <p:sp>
        <p:nvSpPr>
          <p:cNvPr id="40" name="Ellipse 70"/>
          <p:cNvSpPr/>
          <p:nvPr/>
        </p:nvSpPr>
        <p:spPr>
          <a:xfrm>
            <a:off x="983464" y="2492896"/>
            <a:ext cx="288000" cy="288000"/>
          </a:xfrm>
          <a:prstGeom prst="ellipse">
            <a:avLst/>
          </a:prstGeom>
          <a:solidFill>
            <a:srgbClr val="FFC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1" name="Ellipse 70"/>
          <p:cNvSpPr/>
          <p:nvPr/>
        </p:nvSpPr>
        <p:spPr>
          <a:xfrm>
            <a:off x="983464" y="3501040"/>
            <a:ext cx="288000" cy="288000"/>
          </a:xfrm>
          <a:prstGeom prst="ellipse">
            <a:avLst/>
          </a:prstGeom>
          <a:solidFill>
            <a:srgbClr val="FFC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42" name="Ellipse 70"/>
          <p:cNvSpPr/>
          <p:nvPr/>
        </p:nvSpPr>
        <p:spPr>
          <a:xfrm>
            <a:off x="983464" y="4149112"/>
            <a:ext cx="288000" cy="288000"/>
          </a:xfrm>
          <a:prstGeom prst="ellipse">
            <a:avLst/>
          </a:prstGeom>
          <a:solidFill>
            <a:srgbClr val="FFC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43" name="Ellipse 70"/>
          <p:cNvSpPr/>
          <p:nvPr/>
        </p:nvSpPr>
        <p:spPr>
          <a:xfrm>
            <a:off x="983464" y="4797152"/>
            <a:ext cx="288000" cy="288000"/>
          </a:xfrm>
          <a:prstGeom prst="ellipse">
            <a:avLst/>
          </a:prstGeom>
          <a:solidFill>
            <a:srgbClr val="FFC000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rIns="0" rtlCol="0" anchor="ctr"/>
          <a:lstStyle/>
          <a:p>
            <a:pPr algn="ctr"/>
            <a:r>
              <a:rPr lang="en-GB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3E8FCD"/>
                </a:solidFill>
              </a:rPr>
              <a:t>European Strategy for P&amp;T (2005</a:t>
            </a:r>
            <a:r>
              <a:rPr lang="en-GB" dirty="0" smtClean="0">
                <a:solidFill>
                  <a:srgbClr val="3E8FCD"/>
                </a:solidFill>
              </a:rPr>
              <a:t>)</a:t>
            </a:r>
            <a:br>
              <a:rPr lang="en-GB" dirty="0" smtClean="0">
                <a:solidFill>
                  <a:srgbClr val="3E8FCD"/>
                </a:solidFill>
              </a:rPr>
            </a:br>
            <a:r>
              <a:rPr lang="en-GB" dirty="0" smtClean="0">
                <a:solidFill>
                  <a:srgbClr val="3E8FCD"/>
                </a:solidFill>
              </a:rPr>
              <a:t>with objective of possible industrialisation from 2040</a:t>
            </a:r>
            <a:endParaRPr lang="nl-BE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58" y="20622"/>
            <a:ext cx="1730492" cy="960107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7063299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-%m-%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4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5.50933305550389995631E+00&quot;&gt;&lt;m_msothmcolidx val=&quot;0&quot;/&gt;&lt;m_rgb r=&quot;FF&quot; g=&quot;C5&quot; b=&quot;45&quot;/&gt;&lt;m_nBrightness val=&quot;0&quot;/&gt;&lt;/elem&gt;&lt;elem m_fUsage=&quot;1.98034801682310868109E+00&quot;&gt;&lt;m_msothmcolidx val=&quot;0&quot;/&gt;&lt;m_rgb r=&quot;F3&quot; g=&quot;6D&quot; b=&quot;47&quot;/&gt;&lt;m_nBrightness val=&quot;0&quot;/&gt;&lt;/elem&gt;&lt;elem m_fUsage=&quot;1.15946721000000030344E+00&quot;&gt;&lt;m_msothmcolidx val=&quot;0&quot;/&gt;&lt;m_rgb r=&quot;92&quot; g=&quot;D0&quot; b=&quot;50&quot;/&gt;&lt;m_nBrightness val=&quot;0&quot;/&gt;&lt;/elem&gt;&lt;elem m_fUsage=&quot;1.35085171767299283552E-01&quot;&gt;&lt;m_msothmcolidx val=&quot;0&quot;/&gt;&lt;m_rgb r=&quot;FB&quot; g=&quot;97&quot; b=&quot;6C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dbVV4XRkyHPY1TG6LM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MYRRHA">
      <a:dk1>
        <a:srgbClr val="000000"/>
      </a:dk1>
      <a:lt1>
        <a:srgbClr val="FFFFFF"/>
      </a:lt1>
      <a:dk2>
        <a:srgbClr val="98C3E4"/>
      </a:dk2>
      <a:lt2>
        <a:srgbClr val="FFFFFF"/>
      </a:lt2>
      <a:accent1>
        <a:srgbClr val="3E8FCD"/>
      </a:accent1>
      <a:accent2>
        <a:srgbClr val="73AEDB"/>
      </a:accent2>
      <a:accent3>
        <a:srgbClr val="98C3E4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73AEDB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SCKCEN">
      <a:dk1>
        <a:srgbClr val="000000"/>
      </a:dk1>
      <a:lt1>
        <a:srgbClr val="FFFFFF"/>
      </a:lt1>
      <a:dk2>
        <a:srgbClr val="D9F1FF"/>
      </a:dk2>
      <a:lt2>
        <a:srgbClr val="FFFFFF"/>
      </a:lt2>
      <a:accent1>
        <a:srgbClr val="00517E"/>
      </a:accent1>
      <a:accent2>
        <a:srgbClr val="007DC3"/>
      </a:accent2>
      <a:accent3>
        <a:srgbClr val="0DA9FF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69C9FF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Alexandria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Office Theme">
  <a:themeElements>
    <a:clrScheme name="MYRRHA">
      <a:dk1>
        <a:srgbClr val="000000"/>
      </a:dk1>
      <a:lt1>
        <a:srgbClr val="FFFFFF"/>
      </a:lt1>
      <a:dk2>
        <a:srgbClr val="98C3E4"/>
      </a:dk2>
      <a:lt2>
        <a:srgbClr val="FFFFFF"/>
      </a:lt2>
      <a:accent1>
        <a:srgbClr val="3E8FCD"/>
      </a:accent1>
      <a:accent2>
        <a:srgbClr val="73AEDB"/>
      </a:accent2>
      <a:accent3>
        <a:srgbClr val="98C3E4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73AEDB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3_Office Theme">
  <a:themeElements>
    <a:clrScheme name="SCK•CEN 2020">
      <a:dk1>
        <a:sysClr val="windowText" lastClr="000000"/>
      </a:dk1>
      <a:lt1>
        <a:sysClr val="window" lastClr="FFFFFF"/>
      </a:lt1>
      <a:dk2>
        <a:srgbClr val="515151"/>
      </a:dk2>
      <a:lt2>
        <a:srgbClr val="E7E6E6"/>
      </a:lt2>
      <a:accent1>
        <a:srgbClr val="562873"/>
      </a:accent1>
      <a:accent2>
        <a:srgbClr val="984A9C"/>
      </a:accent2>
      <a:accent3>
        <a:srgbClr val="8ED8F8"/>
      </a:accent3>
      <a:accent4>
        <a:srgbClr val="034694"/>
      </a:accent4>
      <a:accent5>
        <a:srgbClr val="CACCD0"/>
      </a:accent5>
      <a:accent6>
        <a:srgbClr val="DFE0E2"/>
      </a:accent6>
      <a:hlink>
        <a:srgbClr val="BC58AE"/>
      </a:hlink>
      <a:folHlink>
        <a:srgbClr val="501D53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Office Theme">
  <a:themeElements>
    <a:clrScheme name="MYRRHA">
      <a:dk1>
        <a:srgbClr val="000000"/>
      </a:dk1>
      <a:lt1>
        <a:srgbClr val="FFFFFF"/>
      </a:lt1>
      <a:dk2>
        <a:srgbClr val="98C3E4"/>
      </a:dk2>
      <a:lt2>
        <a:srgbClr val="FFFFFF"/>
      </a:lt2>
      <a:accent1>
        <a:srgbClr val="3E8FCD"/>
      </a:accent1>
      <a:accent2>
        <a:srgbClr val="73AEDB"/>
      </a:accent2>
      <a:accent3>
        <a:srgbClr val="98C3E4"/>
      </a:accent3>
      <a:accent4>
        <a:srgbClr val="69C9FF"/>
      </a:accent4>
      <a:accent5>
        <a:srgbClr val="ABE1FF"/>
      </a:accent5>
      <a:accent6>
        <a:srgbClr val="D9F1FF"/>
      </a:accent6>
      <a:hlink>
        <a:srgbClr val="007DC3"/>
      </a:hlink>
      <a:folHlink>
        <a:srgbClr val="73AEDB"/>
      </a:folHlink>
    </a:clrScheme>
    <a:fontScheme name="sckcen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b="1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987</TotalTime>
  <Words>2676</Words>
  <Application>Microsoft Office PowerPoint</Application>
  <PresentationFormat>Widescreen</PresentationFormat>
  <Paragraphs>532</Paragraphs>
  <Slides>37</Slides>
  <Notes>16</Notes>
  <HiddenSlides>0</HiddenSlides>
  <MMClips>1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58" baseType="lpstr">
      <vt:lpstr>ＭＳ Ｐゴシック</vt:lpstr>
      <vt:lpstr>Arial</vt:lpstr>
      <vt:lpstr>Calibri</vt:lpstr>
      <vt:lpstr>Calibri Light</vt:lpstr>
      <vt:lpstr>Courier New</vt:lpstr>
      <vt:lpstr>Georgia</vt:lpstr>
      <vt:lpstr>Gill Sans</vt:lpstr>
      <vt:lpstr>Segoe UI</vt:lpstr>
      <vt:lpstr>Segoe UI Black</vt:lpstr>
      <vt:lpstr>Segoe UI Semibold</vt:lpstr>
      <vt:lpstr>Tahoma</vt:lpstr>
      <vt:lpstr>Times New Roman</vt:lpstr>
      <vt:lpstr>Wingdings</vt:lpstr>
      <vt:lpstr>Office Theme</vt:lpstr>
      <vt:lpstr>1_Office Theme</vt:lpstr>
      <vt:lpstr>Alexandria Master</vt:lpstr>
      <vt:lpstr>2_Office Theme</vt:lpstr>
      <vt:lpstr>3_Office Theme</vt:lpstr>
      <vt:lpstr>4_Office Theme</vt:lpstr>
      <vt:lpstr>5_Office Theme</vt:lpstr>
      <vt:lpstr>think-cell Slide</vt:lpstr>
      <vt:lpstr>PowerPoint Presentation</vt:lpstr>
      <vt:lpstr>Accelerator Driven System: intrinsic safety</vt:lpstr>
      <vt:lpstr>Fission generates high level radioactive waste</vt:lpstr>
      <vt:lpstr>Partitioning &amp; Transmutation</vt:lpstr>
      <vt:lpstr>Possible Fuel Cycles for High Level Waste treatment</vt:lpstr>
      <vt:lpstr>Possible Fuel Cycles for High Level Waste treatment</vt:lpstr>
      <vt:lpstr>Possible Fuel Cycles for High Level Waste treatment</vt:lpstr>
      <vt:lpstr>PowerPoint Presentation</vt:lpstr>
      <vt:lpstr>European Strategy for P&amp;T (2005) with objective of possible industrialisation from 2040</vt:lpstr>
      <vt:lpstr>Technology Readiness Level (TRL)</vt:lpstr>
      <vt:lpstr>Three options for Minor Actinide (MA) transmutation</vt:lpstr>
      <vt:lpstr>PowerPoint Presentation</vt:lpstr>
      <vt:lpstr>Transport issues of MA-Fuels FR vs ADS</vt:lpstr>
      <vt:lpstr>Even with completely different national NE policies European solution for HLW works with ADS</vt:lpstr>
      <vt:lpstr>National context evolution (3) 2015 -&gt; Today (National Program on waste management) </vt:lpstr>
      <vt:lpstr>Belgian geological repository: impact on gallery length (km)</vt:lpstr>
      <vt:lpstr>Belgian geological repository: impact on footprint (km²)</vt:lpstr>
      <vt:lpstr>PowerPoint Presentation</vt:lpstr>
      <vt:lpstr>PowerPoint Presentation</vt:lpstr>
      <vt:lpstr>PowerPoint Presentation</vt:lpstr>
      <vt:lpstr>MINERVA implementation by 2026</vt:lpstr>
      <vt:lpstr>PowerPoint Presentation</vt:lpstr>
      <vt:lpstr>PowerPoint Presentation</vt:lpstr>
      <vt:lpstr>SC single spoke cavities &amp; cryo module</vt:lpstr>
      <vt:lpstr>PowerPoint Presentation</vt:lpstr>
      <vt:lpstr>PowerPoint Presentation</vt:lpstr>
      <vt:lpstr>PowerPoint Presentation</vt:lpstr>
      <vt:lpstr>MYRRHA reactor primary design Rev. 1.8, frozen end 2020</vt:lpstr>
      <vt:lpstr>MYRRHA Core design for multipurpose R&amp;D : Subcritical core layout</vt:lpstr>
      <vt:lpstr>MYRRHA: World Class Technology complex  to serve HLM SMR development</vt:lpstr>
      <vt:lpstr>Belgian Government decision of 7 September 2018 Confirmed on 23 July 2021 (+ creation of MYRRHA NPO)</vt:lpstr>
      <vt:lpstr> How to participate in MYRRHA</vt:lpstr>
      <vt:lpstr>MYRRHA AISBL/IVZW official from 16 December 2021 </vt:lpstr>
      <vt:lpstr>PowerPoint Presentation</vt:lpstr>
      <vt:lpstr>MYRRHA AISBL/IVZW: Membership</vt:lpstr>
      <vt:lpstr>Conclusions</vt:lpstr>
      <vt:lpstr>PowerPoint Presentation</vt:lpstr>
    </vt:vector>
  </TitlesOfParts>
  <Company>SCK-C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dillen</dc:creator>
  <cp:lastModifiedBy>Aït Abderrahim Hamid</cp:lastModifiedBy>
  <cp:revision>1314</cp:revision>
  <cp:lastPrinted>2017-03-14T10:05:26Z</cp:lastPrinted>
  <dcterms:created xsi:type="dcterms:W3CDTF">2016-08-30T09:17:11Z</dcterms:created>
  <dcterms:modified xsi:type="dcterms:W3CDTF">2022-07-18T12:4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D">
    <vt:i4>43764911</vt:i4>
  </property>
  <property fmtid="{D5CDD505-2E9C-101B-9397-08002B2CF9AE}" pid="3" name="Name">
    <vt:lpwstr>2021-05-18 HAA_MYRRHA - Visit Minister van BiZ Annelies Verlinden &amp; delegatie.pptx</vt:lpwstr>
  </property>
  <property fmtid="{D5CDD505-2E9C-101B-9397-08002B2CF9AE}" pid="4" name="Common Attributes_Reference Number">
    <vt:lpwstr>SCK CEN/43764911</vt:lpwstr>
  </property>
  <property fmtid="{D5CDD505-2E9C-101B-9397-08002B2CF9AE}" pid="5" name="Common Attributes_Short Reference">
    <vt:lpwstr>SCK CEN/43764911</vt:lpwstr>
  </property>
  <property fmtid="{D5CDD505-2E9C-101B-9397-08002B2CF9AE}" pid="6" name="Common Attributes_Alternative Reference">
    <vt:lpwstr> </vt:lpwstr>
  </property>
  <property fmtid="{D5CDD505-2E9C-101B-9397-08002B2CF9AE}" pid="7" name="Common Attributes_Document Type">
    <vt:lpwstr> </vt:lpwstr>
  </property>
  <property fmtid="{D5CDD505-2E9C-101B-9397-08002B2CF9AE}" pid="8" name="Common Attributes_Author_Author Name">
    <vt:lpwstr>Nancy Van der Borgt</vt:lpwstr>
  </property>
  <property fmtid="{D5CDD505-2E9C-101B-9397-08002B2CF9AE}" pid="9" name="Common Attributes_Author_Author Affiliation">
    <vt:lpwstr>SCK CEN</vt:lpwstr>
  </property>
  <property fmtid="{D5CDD505-2E9C-101B-9397-08002B2CF9AE}" pid="10" name="Common Attributes_Information Security Classification">
    <vt:lpwstr>Restricted</vt:lpwstr>
  </property>
  <property fmtid="{D5CDD505-2E9C-101B-9397-08002B2CF9AE}" pid="11" name="MYRRHA Attributes_ACCL Version Number">
    <vt:lpwstr/>
  </property>
  <property fmtid="{D5CDD505-2E9C-101B-9397-08002B2CF9AE}" pid="12" name="MYRRHA Attributes_BOP Version Number">
    <vt:lpwstr/>
  </property>
  <property fmtid="{D5CDD505-2E9C-101B-9397-08002B2CF9AE}" pid="13" name="MYRRHA Attributes_PSD Version Number">
    <vt:lpwstr/>
  </property>
  <property fmtid="{D5CDD505-2E9C-101B-9397-08002B2CF9AE}" pid="14" name="Event Attributes_Event_Event Type">
    <vt:lpwstr/>
  </property>
  <property fmtid="{D5CDD505-2E9C-101B-9397-08002B2CF9AE}" pid="15" name="Event Attributes_Event_Event Name">
    <vt:lpwstr/>
  </property>
  <property fmtid="{D5CDD505-2E9C-101B-9397-08002B2CF9AE}" pid="16" name="Event Attributes_Event_Event Start Date">
    <vt:lpwstr/>
  </property>
  <property fmtid="{D5CDD505-2E9C-101B-9397-08002B2CF9AE}" pid="17" name="Event Attributes_Event_Event End Date">
    <vt:lpwstr/>
  </property>
  <property fmtid="{D5CDD505-2E9C-101B-9397-08002B2CF9AE}" pid="18" name="Event Attributes_Event_Event Location">
    <vt:lpwstr/>
  </property>
  <property fmtid="{D5CDD505-2E9C-101B-9397-08002B2CF9AE}" pid="19" name="SuppMarkings">
    <vt:lpwstr> </vt:lpwstr>
  </property>
  <property fmtid="{D5CDD505-2E9C-101B-9397-08002B2CF9AE}" pid="20" name="Security Clearance">
    <vt:lpwstr> </vt:lpwstr>
  </property>
  <property fmtid="{D5CDD505-2E9C-101B-9397-08002B2CF9AE}" pid="21" name="HyperLink">
    <vt:lpwstr>https://ecm.sckcen.be/OTCS/llisapi.dll/open/43764911</vt:lpwstr>
  </property>
  <property fmtid="{D5CDD505-2E9C-101B-9397-08002B2CF9AE}" pid="22" name="AlexandriaPath">
    <vt:lpwstr/>
  </property>
  <property fmtid="{D5CDD505-2E9C-101B-9397-08002B2CF9AE}" pid="23" name="Common Attributes_ISC Motivation">
    <vt:lpwstr>ISC was automatically assigned.</vt:lpwstr>
  </property>
  <property fmtid="{D5CDD505-2E9C-101B-9397-08002B2CF9AE}" pid="24" name="Common Attributes_ISC Subtype">
    <vt:lpwstr/>
  </property>
  <property fmtid="{D5CDD505-2E9C-101B-9397-08002B2CF9AE}" pid="25" name="ISC_Subtype">
    <vt:lpwstr>-</vt:lpwstr>
  </property>
  <property fmtid="{D5CDD505-2E9C-101B-9397-08002B2CF9AE}" pid="26" name="SecClear-NL">
    <vt:lpwstr>-</vt:lpwstr>
  </property>
  <property fmtid="{D5CDD505-2E9C-101B-9397-08002B2CF9AE}" pid="27" name="SecClear-EN">
    <vt:lpwstr>-</vt:lpwstr>
  </property>
  <property fmtid="{D5CDD505-2E9C-101B-9397-08002B2CF9AE}" pid="28" name="CreateDate">
    <vt:filetime>2021-05-11T14:40:27Z</vt:filetime>
  </property>
</Properties>
</file>